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Default Extension="wmv" ContentType="video/x-ms-wmv"/>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media/image27.jpg" ContentType="image/jpg"/>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media/image67.jpg" ContentType="image/jpg"/>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4103" r:id="rId2"/>
  </p:sldMasterIdLst>
  <p:notesMasterIdLst>
    <p:notesMasterId r:id="rId59"/>
  </p:notesMasterIdLst>
  <p:handoutMasterIdLst>
    <p:handoutMasterId r:id="rId60"/>
  </p:handoutMasterIdLst>
  <p:sldIdLst>
    <p:sldId id="256" r:id="rId3"/>
    <p:sldId id="339" r:id="rId4"/>
    <p:sldId id="475" r:id="rId5"/>
    <p:sldId id="493" r:id="rId6"/>
    <p:sldId id="491" r:id="rId7"/>
    <p:sldId id="492" r:id="rId8"/>
    <p:sldId id="490" r:id="rId9"/>
    <p:sldId id="510" r:id="rId10"/>
    <p:sldId id="494" r:id="rId11"/>
    <p:sldId id="498" r:id="rId12"/>
    <p:sldId id="496" r:id="rId13"/>
    <p:sldId id="495" r:id="rId14"/>
    <p:sldId id="499" r:id="rId15"/>
    <p:sldId id="503" r:id="rId16"/>
    <p:sldId id="500" r:id="rId17"/>
    <p:sldId id="502" r:id="rId18"/>
    <p:sldId id="511" r:id="rId19"/>
    <p:sldId id="505" r:id="rId20"/>
    <p:sldId id="489" r:id="rId21"/>
    <p:sldId id="506" r:id="rId22"/>
    <p:sldId id="508" r:id="rId23"/>
    <p:sldId id="509" r:id="rId24"/>
    <p:sldId id="478" r:id="rId25"/>
    <p:sldId id="482" r:id="rId26"/>
    <p:sldId id="512" r:id="rId27"/>
    <p:sldId id="458" r:id="rId28"/>
    <p:sldId id="514" r:id="rId29"/>
    <p:sldId id="516" r:id="rId30"/>
    <p:sldId id="517" r:id="rId31"/>
    <p:sldId id="518" r:id="rId32"/>
    <p:sldId id="515" r:id="rId33"/>
    <p:sldId id="519" r:id="rId34"/>
    <p:sldId id="522" r:id="rId35"/>
    <p:sldId id="521" r:id="rId36"/>
    <p:sldId id="523" r:id="rId37"/>
    <p:sldId id="524" r:id="rId38"/>
    <p:sldId id="526" r:id="rId39"/>
    <p:sldId id="525" r:id="rId40"/>
    <p:sldId id="513" r:id="rId41"/>
    <p:sldId id="541" r:id="rId42"/>
    <p:sldId id="520" r:id="rId43"/>
    <p:sldId id="527" r:id="rId44"/>
    <p:sldId id="536" r:id="rId45"/>
    <p:sldId id="531" r:id="rId46"/>
    <p:sldId id="532" r:id="rId47"/>
    <p:sldId id="530" r:id="rId48"/>
    <p:sldId id="533" r:id="rId49"/>
    <p:sldId id="529" r:id="rId50"/>
    <p:sldId id="528" r:id="rId51"/>
    <p:sldId id="540" r:id="rId52"/>
    <p:sldId id="534" r:id="rId53"/>
    <p:sldId id="537" r:id="rId54"/>
    <p:sldId id="535" r:id="rId55"/>
    <p:sldId id="538" r:id="rId56"/>
    <p:sldId id="539" r:id="rId57"/>
    <p:sldId id="264" r:id="rId58"/>
  </p:sldIdLst>
  <p:sldSz cx="12192000" cy="6858000"/>
  <p:notesSz cx="6858000" cy="9144000"/>
  <p:custDataLst>
    <p:tags r:id="rId61"/>
  </p:custDataLst>
  <p:defaultTex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EBC"/>
    <a:srgbClr val="C29F3E"/>
    <a:srgbClr val="FFFFFF"/>
    <a:srgbClr val="EAEDEE"/>
    <a:srgbClr val="EBECED"/>
    <a:srgbClr val="0066FF"/>
    <a:srgbClr val="5258CA"/>
    <a:srgbClr val="152E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555" autoAdjust="0"/>
    <p:restoredTop sz="94280" autoAdjust="0"/>
  </p:normalViewPr>
  <p:slideViewPr>
    <p:cSldViewPr snapToGrid="0">
      <p:cViewPr varScale="1">
        <p:scale>
          <a:sx n="87" d="100"/>
          <a:sy n="87" d="100"/>
        </p:scale>
        <p:origin x="408" y="77"/>
      </p:cViewPr>
      <p:guideLst>
        <p:guide orient="horz" pos="2160"/>
        <p:guide pos="3840"/>
      </p:guideLst>
    </p:cSldViewPr>
  </p:slideViewPr>
  <p:notesTextViewPr>
    <p:cViewPr>
      <p:scale>
        <a:sx n="1" d="1"/>
        <a:sy n="1" d="1"/>
      </p:scale>
      <p:origin x="0" y="0"/>
    </p:cViewPr>
  </p:notesTextViewPr>
  <p:sorterViewPr>
    <p:cViewPr>
      <p:scale>
        <a:sx n="100" d="100"/>
        <a:sy n="100" d="100"/>
      </p:scale>
      <p:origin x="0" y="18336"/>
    </p:cViewPr>
  </p:sorterViewPr>
  <p:notesViewPr>
    <p:cSldViewPr snapToGrid="0">
      <p:cViewPr varScale="1">
        <p:scale>
          <a:sx n="66" d="100"/>
          <a:sy n="66" d="100"/>
        </p:scale>
        <p:origin x="2850"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0B41BA-BAC8-424C-89BD-28FC2178CDF1}"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1B7912BA-03D0-40F0-BA24-93832365455A}">
      <dgm:prSet phldrT="[文本]" custT="1"/>
      <dgm:spPr>
        <a:solidFill>
          <a:schemeClr val="bg1"/>
        </a:solidFill>
        <a:ln>
          <a:solidFill>
            <a:schemeClr val="bg1"/>
          </a:solidFill>
        </a:ln>
      </dgm:spPr>
      <dgm:t>
        <a:bodyPr/>
        <a:lstStyle/>
        <a:p>
          <a:r>
            <a:rPr lang="zh-CN" altLang="en-US" sz="2000" b="1" kern="1200" dirty="0">
              <a:solidFill>
                <a:srgbClr val="222A35"/>
              </a:solidFill>
              <a:latin typeface="微软雅黑" panose="020B0503020204020204" pitchFamily="34" charset="-122"/>
              <a:ea typeface="微软雅黑" panose="020B0503020204020204" pitchFamily="34" charset="-122"/>
              <a:cs typeface="+mn-cs"/>
            </a:rPr>
            <a:t>自感知</a:t>
          </a:r>
          <a:endParaRPr lang="en-US" sz="2000" b="1" kern="1200" dirty="0">
            <a:solidFill>
              <a:srgbClr val="222A35"/>
            </a:solidFill>
            <a:latin typeface="微软雅黑" panose="020B0503020204020204" pitchFamily="34" charset="-122"/>
            <a:ea typeface="微软雅黑" panose="020B0503020204020204" pitchFamily="34" charset="-122"/>
            <a:cs typeface="+mn-cs"/>
          </a:endParaRPr>
        </a:p>
      </dgm:t>
    </dgm:pt>
    <dgm:pt modelId="{2FB1C0CB-755F-4275-A3F1-4E0C995E1038}" type="parTrans" cxnId="{9955AD01-0DFC-4D71-827A-8783F858CB98}">
      <dgm:prSet/>
      <dgm:spPr/>
      <dgm:t>
        <a:bodyPr/>
        <a:lstStyle/>
        <a:p>
          <a:endParaRPr lang="en-US"/>
        </a:p>
      </dgm:t>
    </dgm:pt>
    <dgm:pt modelId="{C7549534-16E3-4F5E-8D5B-17D1CE904D17}" type="sibTrans" cxnId="{9955AD01-0DFC-4D71-827A-8783F858CB98}">
      <dgm:prSet/>
      <dgm:spPr/>
      <dgm:t>
        <a:bodyPr/>
        <a:lstStyle/>
        <a:p>
          <a:endParaRPr lang="en-US" sz="2000" b="0"/>
        </a:p>
      </dgm:t>
    </dgm:pt>
    <dgm:pt modelId="{9ADF76F5-1A21-4DF1-97DD-46A7DFABAB40}">
      <dgm:prSet phldrT="[文本]" custT="1"/>
      <dgm:spPr>
        <a:solidFill>
          <a:schemeClr val="bg1"/>
        </a:solidFill>
      </dgm:spPr>
      <dgm:t>
        <a:bodyPr/>
        <a:lstStyle/>
        <a:p>
          <a:r>
            <a:rPr lang="zh-CN" altLang="en-US" sz="2000" b="1" kern="1200" dirty="0">
              <a:solidFill>
                <a:srgbClr val="222A35"/>
              </a:solidFill>
              <a:latin typeface="微软雅黑" panose="020B0503020204020204" pitchFamily="34" charset="-122"/>
              <a:ea typeface="微软雅黑" panose="020B0503020204020204" pitchFamily="34" charset="-122"/>
              <a:cs typeface="+mn-cs"/>
            </a:rPr>
            <a:t>自学习</a:t>
          </a:r>
          <a:endParaRPr lang="en-US" sz="2000" b="1" kern="1200" dirty="0">
            <a:solidFill>
              <a:srgbClr val="222A35"/>
            </a:solidFill>
            <a:latin typeface="微软雅黑" panose="020B0503020204020204" pitchFamily="34" charset="-122"/>
            <a:ea typeface="微软雅黑" panose="020B0503020204020204" pitchFamily="34" charset="-122"/>
            <a:cs typeface="+mn-cs"/>
          </a:endParaRPr>
        </a:p>
      </dgm:t>
    </dgm:pt>
    <dgm:pt modelId="{D4D04884-DE7B-4FA5-8808-5BAD654A171F}" type="parTrans" cxnId="{1AA437C2-B2B0-41B6-970E-B7C64C31F74A}">
      <dgm:prSet/>
      <dgm:spPr/>
      <dgm:t>
        <a:bodyPr/>
        <a:lstStyle/>
        <a:p>
          <a:endParaRPr lang="en-US"/>
        </a:p>
      </dgm:t>
    </dgm:pt>
    <dgm:pt modelId="{641FE96D-A338-49E5-8274-C10A84466738}" type="sibTrans" cxnId="{1AA437C2-B2B0-41B6-970E-B7C64C31F74A}">
      <dgm:prSet/>
      <dgm:spPr/>
      <dgm:t>
        <a:bodyPr/>
        <a:lstStyle/>
        <a:p>
          <a:endParaRPr lang="en-US"/>
        </a:p>
      </dgm:t>
    </dgm:pt>
    <dgm:pt modelId="{2C0AD055-1918-424B-BDE8-5E268317199B}">
      <dgm:prSet phldrT="[文本]" custT="1"/>
      <dgm:spPr>
        <a:solidFill>
          <a:schemeClr val="bg1"/>
        </a:solidFill>
      </dgm:spPr>
      <dgm:t>
        <a:bodyPr/>
        <a:lstStyle/>
        <a:p>
          <a:r>
            <a:rPr lang="zh-CN" altLang="en-US" sz="2000" b="1" dirty="0">
              <a:solidFill>
                <a:schemeClr val="tx1"/>
              </a:solidFill>
              <a:latin typeface="微软雅黑" panose="020B0503020204020204" pitchFamily="34" charset="-122"/>
              <a:ea typeface="微软雅黑" panose="020B0503020204020204" pitchFamily="34" charset="-122"/>
            </a:rPr>
            <a:t>自决策</a:t>
          </a:r>
          <a:endParaRPr lang="en-US" sz="2000" b="1" dirty="0">
            <a:solidFill>
              <a:srgbClr val="FF0000"/>
            </a:solidFill>
            <a:latin typeface="微软雅黑" panose="020B0503020204020204" pitchFamily="34" charset="-122"/>
            <a:ea typeface="微软雅黑" panose="020B0503020204020204" pitchFamily="34" charset="-122"/>
          </a:endParaRPr>
        </a:p>
      </dgm:t>
    </dgm:pt>
    <dgm:pt modelId="{39D2CDEC-DDEF-411D-B445-3827345E1E29}" type="parTrans" cxnId="{C09EE867-BF01-49FE-A577-6F47824D2082}">
      <dgm:prSet/>
      <dgm:spPr/>
      <dgm:t>
        <a:bodyPr/>
        <a:lstStyle/>
        <a:p>
          <a:endParaRPr lang="en-US"/>
        </a:p>
      </dgm:t>
    </dgm:pt>
    <dgm:pt modelId="{8FDD8974-A1AD-48CC-AE5F-ED14E6E626C4}" type="sibTrans" cxnId="{C09EE867-BF01-49FE-A577-6F47824D2082}">
      <dgm:prSet/>
      <dgm:spPr/>
      <dgm:t>
        <a:bodyPr/>
        <a:lstStyle/>
        <a:p>
          <a:endParaRPr lang="en-US"/>
        </a:p>
      </dgm:t>
    </dgm:pt>
    <dgm:pt modelId="{50C3F4D3-8557-4EE5-8FE2-97B494F47DE7}">
      <dgm:prSet phldrT="[文本]" custT="1"/>
      <dgm:spPr>
        <a:solidFill>
          <a:schemeClr val="bg1"/>
        </a:solidFill>
      </dgm:spPr>
      <dgm:t>
        <a:bodyPr/>
        <a:lstStyle/>
        <a:p>
          <a:r>
            <a:rPr lang="zh-CN" altLang="en-US" sz="1800" b="1" kern="1200" dirty="0">
              <a:solidFill>
                <a:srgbClr val="222A35"/>
              </a:solidFill>
              <a:latin typeface="微软雅黑" panose="020B0503020204020204" pitchFamily="34" charset="-122"/>
              <a:ea typeface="微软雅黑" panose="020B0503020204020204" pitchFamily="34" charset="-122"/>
              <a:cs typeface="+mn-cs"/>
            </a:rPr>
            <a:t>自执行</a:t>
          </a:r>
          <a:endParaRPr lang="en-US" sz="1800" b="1" kern="1200" dirty="0">
            <a:solidFill>
              <a:srgbClr val="FF0000"/>
            </a:solidFill>
            <a:latin typeface="微软雅黑" panose="020B0503020204020204" pitchFamily="34" charset="-122"/>
            <a:ea typeface="微软雅黑" panose="020B0503020204020204" pitchFamily="34" charset="-122"/>
          </a:endParaRPr>
        </a:p>
      </dgm:t>
    </dgm:pt>
    <dgm:pt modelId="{2B71A3C7-9528-4153-B3CC-AB73401BA5F8}" type="parTrans" cxnId="{1E18ADC3-44D9-472E-A44A-2718BF380134}">
      <dgm:prSet/>
      <dgm:spPr/>
      <dgm:t>
        <a:bodyPr/>
        <a:lstStyle/>
        <a:p>
          <a:endParaRPr lang="zh-CN" altLang="en-US"/>
        </a:p>
      </dgm:t>
    </dgm:pt>
    <dgm:pt modelId="{9FAC8CB3-4B60-49F1-B025-BF26DB878486}" type="sibTrans" cxnId="{1E18ADC3-44D9-472E-A44A-2718BF380134}">
      <dgm:prSet/>
      <dgm:spPr/>
      <dgm:t>
        <a:bodyPr/>
        <a:lstStyle/>
        <a:p>
          <a:endParaRPr lang="zh-CN" altLang="en-US"/>
        </a:p>
      </dgm:t>
    </dgm:pt>
    <dgm:pt modelId="{311B571F-80A2-47EA-957C-9ED6FF81DFA9}" type="pres">
      <dgm:prSet presAssocID="{B90B41BA-BAC8-424C-89BD-28FC2178CDF1}" presName="Name0" presStyleCnt="0">
        <dgm:presLayoutVars>
          <dgm:chMax val="7"/>
          <dgm:chPref val="7"/>
          <dgm:dir/>
        </dgm:presLayoutVars>
      </dgm:prSet>
      <dgm:spPr/>
      <dgm:t>
        <a:bodyPr/>
        <a:lstStyle/>
        <a:p>
          <a:endParaRPr lang="zh-CN" altLang="en-US"/>
        </a:p>
      </dgm:t>
    </dgm:pt>
    <dgm:pt modelId="{076BEDDE-B37B-4607-A1B5-241C0CE31D97}" type="pres">
      <dgm:prSet presAssocID="{B90B41BA-BAC8-424C-89BD-28FC2178CDF1}" presName="Name1" presStyleCnt="0"/>
      <dgm:spPr/>
    </dgm:pt>
    <dgm:pt modelId="{B1420F03-FC5C-4602-AC38-15F6E602B9AD}" type="pres">
      <dgm:prSet presAssocID="{B90B41BA-BAC8-424C-89BD-28FC2178CDF1}" presName="cycle" presStyleCnt="0"/>
      <dgm:spPr/>
    </dgm:pt>
    <dgm:pt modelId="{55D27ECE-176B-4D61-9023-81208E21B910}" type="pres">
      <dgm:prSet presAssocID="{B90B41BA-BAC8-424C-89BD-28FC2178CDF1}" presName="srcNode" presStyleLbl="node1" presStyleIdx="0" presStyleCnt="4"/>
      <dgm:spPr/>
    </dgm:pt>
    <dgm:pt modelId="{3913BC3D-6E4F-4997-A866-9BFBB47B8BC2}" type="pres">
      <dgm:prSet presAssocID="{B90B41BA-BAC8-424C-89BD-28FC2178CDF1}" presName="conn" presStyleLbl="parChTrans1D2" presStyleIdx="0" presStyleCnt="1"/>
      <dgm:spPr/>
      <dgm:t>
        <a:bodyPr/>
        <a:lstStyle/>
        <a:p>
          <a:endParaRPr lang="zh-CN" altLang="en-US"/>
        </a:p>
      </dgm:t>
    </dgm:pt>
    <dgm:pt modelId="{673A3855-D89A-4AE6-B6D2-EF07F755B32F}" type="pres">
      <dgm:prSet presAssocID="{B90B41BA-BAC8-424C-89BD-28FC2178CDF1}" presName="extraNode" presStyleLbl="node1" presStyleIdx="0" presStyleCnt="4"/>
      <dgm:spPr/>
    </dgm:pt>
    <dgm:pt modelId="{F49F5F20-BC57-49D4-9481-16515F44673D}" type="pres">
      <dgm:prSet presAssocID="{B90B41BA-BAC8-424C-89BD-28FC2178CDF1}" presName="dstNode" presStyleLbl="node1" presStyleIdx="0" presStyleCnt="4"/>
      <dgm:spPr/>
    </dgm:pt>
    <dgm:pt modelId="{79AF487D-3106-4B0D-91FB-419DD4EE3955}" type="pres">
      <dgm:prSet presAssocID="{1B7912BA-03D0-40F0-BA24-93832365455A}" presName="text_1" presStyleLbl="node1" presStyleIdx="0" presStyleCnt="4" custScaleX="101029" custScaleY="116266" custLinFactNeighborX="-641" custLinFactNeighborY="-1214">
        <dgm:presLayoutVars>
          <dgm:bulletEnabled val="1"/>
        </dgm:presLayoutVars>
      </dgm:prSet>
      <dgm:spPr/>
      <dgm:t>
        <a:bodyPr/>
        <a:lstStyle/>
        <a:p>
          <a:endParaRPr lang="zh-CN" altLang="en-US"/>
        </a:p>
      </dgm:t>
    </dgm:pt>
    <dgm:pt modelId="{5FC31B3F-C210-4473-8FDB-30221719A50A}" type="pres">
      <dgm:prSet presAssocID="{1B7912BA-03D0-40F0-BA24-93832365455A}" presName="accent_1" presStyleCnt="0"/>
      <dgm:spPr/>
    </dgm:pt>
    <dgm:pt modelId="{480B618C-B1B1-4458-98B0-12D3E138F490}" type="pres">
      <dgm:prSet presAssocID="{1B7912BA-03D0-40F0-BA24-93832365455A}" presName="accentRepeatNode" presStyleLbl="solidFgAcc1" presStyleIdx="0" presStyleCnt="4"/>
      <dgm:spPr/>
    </dgm:pt>
    <dgm:pt modelId="{AADC10F9-8DF8-4FCF-BB7A-3F737714E113}" type="pres">
      <dgm:prSet presAssocID="{9ADF76F5-1A21-4DF1-97DD-46A7DFABAB40}" presName="text_2" presStyleLbl="node1" presStyleIdx="1" presStyleCnt="4" custScaleY="128601" custLinFactNeighborX="1272" custLinFactNeighborY="-11180">
        <dgm:presLayoutVars>
          <dgm:bulletEnabled val="1"/>
        </dgm:presLayoutVars>
      </dgm:prSet>
      <dgm:spPr/>
      <dgm:t>
        <a:bodyPr/>
        <a:lstStyle/>
        <a:p>
          <a:endParaRPr lang="zh-CN" altLang="en-US"/>
        </a:p>
      </dgm:t>
    </dgm:pt>
    <dgm:pt modelId="{E17E44D8-74F6-46A7-BC42-F673022D5327}" type="pres">
      <dgm:prSet presAssocID="{9ADF76F5-1A21-4DF1-97DD-46A7DFABAB40}" presName="accent_2" presStyleCnt="0"/>
      <dgm:spPr/>
    </dgm:pt>
    <dgm:pt modelId="{D50DFE19-FA5D-4BC5-9F75-EE1975CB5ADC}" type="pres">
      <dgm:prSet presAssocID="{9ADF76F5-1A21-4DF1-97DD-46A7DFABAB40}" presName="accentRepeatNode" presStyleLbl="solidFgAcc1" presStyleIdx="1" presStyleCnt="4" custLinFactNeighborX="2809" custLinFactNeighborY="-12840"/>
      <dgm:spPr/>
    </dgm:pt>
    <dgm:pt modelId="{4F122F74-A3F1-4137-9CFD-8394E5FD0BA8}" type="pres">
      <dgm:prSet presAssocID="{2C0AD055-1918-424B-BDE8-5E268317199B}" presName="text_3" presStyleLbl="node1" presStyleIdx="2" presStyleCnt="4" custScaleY="114047" custLinFactNeighborX="338" custLinFactNeighborY="-22412">
        <dgm:presLayoutVars>
          <dgm:bulletEnabled val="1"/>
        </dgm:presLayoutVars>
      </dgm:prSet>
      <dgm:spPr/>
      <dgm:t>
        <a:bodyPr/>
        <a:lstStyle/>
        <a:p>
          <a:endParaRPr lang="zh-CN" altLang="en-US"/>
        </a:p>
      </dgm:t>
    </dgm:pt>
    <dgm:pt modelId="{9A681F80-C6F7-4D37-B9C8-7C139176FB11}" type="pres">
      <dgm:prSet presAssocID="{2C0AD055-1918-424B-BDE8-5E268317199B}" presName="accent_3" presStyleCnt="0"/>
      <dgm:spPr/>
    </dgm:pt>
    <dgm:pt modelId="{33F329EC-A83F-4D06-B56B-8A1F41ACF9A3}" type="pres">
      <dgm:prSet presAssocID="{2C0AD055-1918-424B-BDE8-5E268317199B}" presName="accentRepeatNode" presStyleLbl="solidFgAcc1" presStyleIdx="2" presStyleCnt="4" custLinFactNeighborX="3087" custLinFactNeighborY="-19728"/>
      <dgm:spPr/>
    </dgm:pt>
    <dgm:pt modelId="{D658D98B-4D6A-42AA-878B-F14F5F0C0716}" type="pres">
      <dgm:prSet presAssocID="{50C3F4D3-8557-4EE5-8FE2-97B494F47DE7}" presName="text_4" presStyleLbl="node1" presStyleIdx="3" presStyleCnt="4" custScaleY="118695" custLinFactNeighborX="21" custLinFactNeighborY="-3638">
        <dgm:presLayoutVars>
          <dgm:bulletEnabled val="1"/>
        </dgm:presLayoutVars>
      </dgm:prSet>
      <dgm:spPr/>
      <dgm:t>
        <a:bodyPr/>
        <a:lstStyle/>
        <a:p>
          <a:endParaRPr lang="zh-CN" altLang="en-US"/>
        </a:p>
      </dgm:t>
    </dgm:pt>
    <dgm:pt modelId="{BA4D5F47-7E36-45DC-B15B-FAB50F6FFD04}" type="pres">
      <dgm:prSet presAssocID="{50C3F4D3-8557-4EE5-8FE2-97B494F47DE7}" presName="accent_4" presStyleCnt="0"/>
      <dgm:spPr/>
    </dgm:pt>
    <dgm:pt modelId="{03F3AB35-71D3-4F66-B542-DFAE2294D9DA}" type="pres">
      <dgm:prSet presAssocID="{50C3F4D3-8557-4EE5-8FE2-97B494F47DE7}" presName="accentRepeatNode" presStyleLbl="solidFgAcc1" presStyleIdx="3" presStyleCnt="4"/>
      <dgm:spPr/>
    </dgm:pt>
  </dgm:ptLst>
  <dgm:cxnLst>
    <dgm:cxn modelId="{50C7C570-F89A-45BB-92F5-617D871A9D68}" type="presOf" srcId="{50C3F4D3-8557-4EE5-8FE2-97B494F47DE7}" destId="{D658D98B-4D6A-42AA-878B-F14F5F0C0716}" srcOrd="0" destOrd="0" presId="urn:microsoft.com/office/officeart/2008/layout/VerticalCurvedList"/>
    <dgm:cxn modelId="{1E18ADC3-44D9-472E-A44A-2718BF380134}" srcId="{B90B41BA-BAC8-424C-89BD-28FC2178CDF1}" destId="{50C3F4D3-8557-4EE5-8FE2-97B494F47DE7}" srcOrd="3" destOrd="0" parTransId="{2B71A3C7-9528-4153-B3CC-AB73401BA5F8}" sibTransId="{9FAC8CB3-4B60-49F1-B025-BF26DB878486}"/>
    <dgm:cxn modelId="{EC70D77A-50FC-4D45-8A51-03965ED18F64}" type="presOf" srcId="{B90B41BA-BAC8-424C-89BD-28FC2178CDF1}" destId="{311B571F-80A2-47EA-957C-9ED6FF81DFA9}" srcOrd="0" destOrd="0" presId="urn:microsoft.com/office/officeart/2008/layout/VerticalCurvedList"/>
    <dgm:cxn modelId="{DBF00AB6-6296-4BFF-AC7D-F92E741BE46C}" type="presOf" srcId="{9ADF76F5-1A21-4DF1-97DD-46A7DFABAB40}" destId="{AADC10F9-8DF8-4FCF-BB7A-3F737714E113}" srcOrd="0" destOrd="0" presId="urn:microsoft.com/office/officeart/2008/layout/VerticalCurvedList"/>
    <dgm:cxn modelId="{1AA437C2-B2B0-41B6-970E-B7C64C31F74A}" srcId="{B90B41BA-BAC8-424C-89BD-28FC2178CDF1}" destId="{9ADF76F5-1A21-4DF1-97DD-46A7DFABAB40}" srcOrd="1" destOrd="0" parTransId="{D4D04884-DE7B-4FA5-8808-5BAD654A171F}" sibTransId="{641FE96D-A338-49E5-8274-C10A84466738}"/>
    <dgm:cxn modelId="{9955AD01-0DFC-4D71-827A-8783F858CB98}" srcId="{B90B41BA-BAC8-424C-89BD-28FC2178CDF1}" destId="{1B7912BA-03D0-40F0-BA24-93832365455A}" srcOrd="0" destOrd="0" parTransId="{2FB1C0CB-755F-4275-A3F1-4E0C995E1038}" sibTransId="{C7549534-16E3-4F5E-8D5B-17D1CE904D17}"/>
    <dgm:cxn modelId="{C09EE867-BF01-49FE-A577-6F47824D2082}" srcId="{B90B41BA-BAC8-424C-89BD-28FC2178CDF1}" destId="{2C0AD055-1918-424B-BDE8-5E268317199B}" srcOrd="2" destOrd="0" parTransId="{39D2CDEC-DDEF-411D-B445-3827345E1E29}" sibTransId="{8FDD8974-A1AD-48CC-AE5F-ED14E6E626C4}"/>
    <dgm:cxn modelId="{EE8BB565-ED81-4F38-B9BF-406297508877}" type="presOf" srcId="{2C0AD055-1918-424B-BDE8-5E268317199B}" destId="{4F122F74-A3F1-4137-9CFD-8394E5FD0BA8}" srcOrd="0" destOrd="0" presId="urn:microsoft.com/office/officeart/2008/layout/VerticalCurvedList"/>
    <dgm:cxn modelId="{AC3C48F5-7661-47D2-9AFB-9C06723A1055}" type="presOf" srcId="{1B7912BA-03D0-40F0-BA24-93832365455A}" destId="{79AF487D-3106-4B0D-91FB-419DD4EE3955}" srcOrd="0" destOrd="0" presId="urn:microsoft.com/office/officeart/2008/layout/VerticalCurvedList"/>
    <dgm:cxn modelId="{29FD5D65-2295-4665-A6B8-73514CB22E8B}" type="presOf" srcId="{C7549534-16E3-4F5E-8D5B-17D1CE904D17}" destId="{3913BC3D-6E4F-4997-A866-9BFBB47B8BC2}" srcOrd="0" destOrd="0" presId="urn:microsoft.com/office/officeart/2008/layout/VerticalCurvedList"/>
    <dgm:cxn modelId="{97793647-1E1B-405D-A0F0-C276F2C3F33E}" type="presParOf" srcId="{311B571F-80A2-47EA-957C-9ED6FF81DFA9}" destId="{076BEDDE-B37B-4607-A1B5-241C0CE31D97}" srcOrd="0" destOrd="0" presId="urn:microsoft.com/office/officeart/2008/layout/VerticalCurvedList"/>
    <dgm:cxn modelId="{BDD33540-DC35-4D0D-BBC3-4E1F7C4275F4}" type="presParOf" srcId="{076BEDDE-B37B-4607-A1B5-241C0CE31D97}" destId="{B1420F03-FC5C-4602-AC38-15F6E602B9AD}" srcOrd="0" destOrd="0" presId="urn:microsoft.com/office/officeart/2008/layout/VerticalCurvedList"/>
    <dgm:cxn modelId="{1CE2FC12-B752-4AE2-9F6A-A07DF2C14485}" type="presParOf" srcId="{B1420F03-FC5C-4602-AC38-15F6E602B9AD}" destId="{55D27ECE-176B-4D61-9023-81208E21B910}" srcOrd="0" destOrd="0" presId="urn:microsoft.com/office/officeart/2008/layout/VerticalCurvedList"/>
    <dgm:cxn modelId="{F9804C95-712D-473C-91DC-5D0D18E583FD}" type="presParOf" srcId="{B1420F03-FC5C-4602-AC38-15F6E602B9AD}" destId="{3913BC3D-6E4F-4997-A866-9BFBB47B8BC2}" srcOrd="1" destOrd="0" presId="urn:microsoft.com/office/officeart/2008/layout/VerticalCurvedList"/>
    <dgm:cxn modelId="{DE4E8B75-9B79-4988-BF36-097D22208D33}" type="presParOf" srcId="{B1420F03-FC5C-4602-AC38-15F6E602B9AD}" destId="{673A3855-D89A-4AE6-B6D2-EF07F755B32F}" srcOrd="2" destOrd="0" presId="urn:microsoft.com/office/officeart/2008/layout/VerticalCurvedList"/>
    <dgm:cxn modelId="{40519113-CCA8-4080-BD8D-1BEE9F5B3345}" type="presParOf" srcId="{B1420F03-FC5C-4602-AC38-15F6E602B9AD}" destId="{F49F5F20-BC57-49D4-9481-16515F44673D}" srcOrd="3" destOrd="0" presId="urn:microsoft.com/office/officeart/2008/layout/VerticalCurvedList"/>
    <dgm:cxn modelId="{66E44ABF-E31D-41FF-B12B-2225DE657287}" type="presParOf" srcId="{076BEDDE-B37B-4607-A1B5-241C0CE31D97}" destId="{79AF487D-3106-4B0D-91FB-419DD4EE3955}" srcOrd="1" destOrd="0" presId="urn:microsoft.com/office/officeart/2008/layout/VerticalCurvedList"/>
    <dgm:cxn modelId="{DD21BE4A-24FB-4A2E-BC48-6E9BC4107A76}" type="presParOf" srcId="{076BEDDE-B37B-4607-A1B5-241C0CE31D97}" destId="{5FC31B3F-C210-4473-8FDB-30221719A50A}" srcOrd="2" destOrd="0" presId="urn:microsoft.com/office/officeart/2008/layout/VerticalCurvedList"/>
    <dgm:cxn modelId="{B14798F7-267D-420A-B212-5BC2B6E163B4}" type="presParOf" srcId="{5FC31B3F-C210-4473-8FDB-30221719A50A}" destId="{480B618C-B1B1-4458-98B0-12D3E138F490}" srcOrd="0" destOrd="0" presId="urn:microsoft.com/office/officeart/2008/layout/VerticalCurvedList"/>
    <dgm:cxn modelId="{BB00EDC9-D8CE-44D8-9C8E-7A45003C25C4}" type="presParOf" srcId="{076BEDDE-B37B-4607-A1B5-241C0CE31D97}" destId="{AADC10F9-8DF8-4FCF-BB7A-3F737714E113}" srcOrd="3" destOrd="0" presId="urn:microsoft.com/office/officeart/2008/layout/VerticalCurvedList"/>
    <dgm:cxn modelId="{F45AE7FD-3431-4BF0-A87B-FD7BA89EDBF6}" type="presParOf" srcId="{076BEDDE-B37B-4607-A1B5-241C0CE31D97}" destId="{E17E44D8-74F6-46A7-BC42-F673022D5327}" srcOrd="4" destOrd="0" presId="urn:microsoft.com/office/officeart/2008/layout/VerticalCurvedList"/>
    <dgm:cxn modelId="{2B5C8EF8-C0A7-47B3-A1D5-F07D2FD73964}" type="presParOf" srcId="{E17E44D8-74F6-46A7-BC42-F673022D5327}" destId="{D50DFE19-FA5D-4BC5-9F75-EE1975CB5ADC}" srcOrd="0" destOrd="0" presId="urn:microsoft.com/office/officeart/2008/layout/VerticalCurvedList"/>
    <dgm:cxn modelId="{C6CDEBF9-D87E-44E6-8EFA-8E3D97313212}" type="presParOf" srcId="{076BEDDE-B37B-4607-A1B5-241C0CE31D97}" destId="{4F122F74-A3F1-4137-9CFD-8394E5FD0BA8}" srcOrd="5" destOrd="0" presId="urn:microsoft.com/office/officeart/2008/layout/VerticalCurvedList"/>
    <dgm:cxn modelId="{64ED239E-50DF-4EC2-95E6-F0CD85F94F20}" type="presParOf" srcId="{076BEDDE-B37B-4607-A1B5-241C0CE31D97}" destId="{9A681F80-C6F7-4D37-B9C8-7C139176FB11}" srcOrd="6" destOrd="0" presId="urn:microsoft.com/office/officeart/2008/layout/VerticalCurvedList"/>
    <dgm:cxn modelId="{ADE1ECFD-0A08-49A8-9B07-042D0DD23DDB}" type="presParOf" srcId="{9A681F80-C6F7-4D37-B9C8-7C139176FB11}" destId="{33F329EC-A83F-4D06-B56B-8A1F41ACF9A3}" srcOrd="0" destOrd="0" presId="urn:microsoft.com/office/officeart/2008/layout/VerticalCurvedList"/>
    <dgm:cxn modelId="{2E73C4A1-6D96-4818-9BCD-A88686D9656C}" type="presParOf" srcId="{076BEDDE-B37B-4607-A1B5-241C0CE31D97}" destId="{D658D98B-4D6A-42AA-878B-F14F5F0C0716}" srcOrd="7" destOrd="0" presId="urn:microsoft.com/office/officeart/2008/layout/VerticalCurvedList"/>
    <dgm:cxn modelId="{A6DF530F-3EA7-4072-8FD4-966BDD773552}" type="presParOf" srcId="{076BEDDE-B37B-4607-A1B5-241C0CE31D97}" destId="{BA4D5F47-7E36-45DC-B15B-FAB50F6FFD04}" srcOrd="8" destOrd="0" presId="urn:microsoft.com/office/officeart/2008/layout/VerticalCurvedList"/>
    <dgm:cxn modelId="{7CA91D22-F697-455D-A9E5-5B9402126806}" type="presParOf" srcId="{BA4D5F47-7E36-45DC-B15B-FAB50F6FFD04}" destId="{03F3AB35-71D3-4F66-B542-DFAE2294D9DA}"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13BC3D-6E4F-4997-A866-9BFBB47B8BC2}">
      <dsp:nvSpPr>
        <dsp:cNvPr id="0" name=""/>
        <dsp:cNvSpPr/>
      </dsp:nvSpPr>
      <dsp:spPr>
        <a:xfrm>
          <a:off x="-5232237" y="-798064"/>
          <a:ext cx="6204640" cy="6204640"/>
        </a:xfrm>
        <a:prstGeom prst="blockArc">
          <a:avLst>
            <a:gd name="adj1" fmla="val 18900000"/>
            <a:gd name="adj2" fmla="val 2700000"/>
            <a:gd name="adj3" fmla="val 348"/>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9AF487D-3106-4B0D-91FB-419DD4EE3955}">
      <dsp:nvSpPr>
        <dsp:cNvPr id="0" name=""/>
        <dsp:cNvSpPr/>
      </dsp:nvSpPr>
      <dsp:spPr>
        <a:xfrm>
          <a:off x="400575" y="288034"/>
          <a:ext cx="8581248" cy="824295"/>
        </a:xfrm>
        <a:prstGeom prst="rect">
          <a:avLst/>
        </a:prstGeom>
        <a:solidFill>
          <a:schemeClr val="bg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2748" tIns="50800" rIns="50800" bIns="50800" numCol="1" spcCol="1270" anchor="ctr" anchorCtr="0">
          <a:noAutofit/>
        </a:bodyPr>
        <a:lstStyle/>
        <a:p>
          <a:pPr lvl="0" algn="l" defTabSz="889000">
            <a:lnSpc>
              <a:spcPct val="90000"/>
            </a:lnSpc>
            <a:spcBef>
              <a:spcPct val="0"/>
            </a:spcBef>
            <a:spcAft>
              <a:spcPct val="35000"/>
            </a:spcAft>
          </a:pPr>
          <a:r>
            <a:rPr lang="zh-CN" altLang="en-US" sz="2000" b="1" kern="1200" dirty="0">
              <a:solidFill>
                <a:srgbClr val="222A35"/>
              </a:solidFill>
              <a:latin typeface="微软雅黑" panose="020B0503020204020204" pitchFamily="34" charset="-122"/>
              <a:ea typeface="微软雅黑" panose="020B0503020204020204" pitchFamily="34" charset="-122"/>
              <a:cs typeface="+mn-cs"/>
            </a:rPr>
            <a:t>自感知</a:t>
          </a:r>
          <a:endParaRPr lang="en-US" sz="2000" b="1" kern="1200" dirty="0">
            <a:solidFill>
              <a:srgbClr val="222A35"/>
            </a:solidFill>
            <a:latin typeface="微软雅黑" panose="020B0503020204020204" pitchFamily="34" charset="-122"/>
            <a:ea typeface="微软雅黑" panose="020B0503020204020204" pitchFamily="34" charset="-122"/>
            <a:cs typeface="+mn-cs"/>
          </a:endParaRPr>
        </a:p>
      </dsp:txBody>
      <dsp:txXfrm>
        <a:off x="400575" y="288034"/>
        <a:ext cx="8581248" cy="824295"/>
      </dsp:txXfrm>
    </dsp:sp>
    <dsp:sp modelId="{480B618C-B1B1-4458-98B0-12D3E138F490}">
      <dsp:nvSpPr>
        <dsp:cNvPr id="0" name=""/>
        <dsp:cNvSpPr/>
      </dsp:nvSpPr>
      <dsp:spPr>
        <a:xfrm>
          <a:off x="55613" y="265680"/>
          <a:ext cx="886216" cy="88621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ADC10F9-8DF8-4FCF-BB7A-3F737714E113}">
      <dsp:nvSpPr>
        <dsp:cNvPr id="0" name=""/>
        <dsp:cNvSpPr/>
      </dsp:nvSpPr>
      <dsp:spPr>
        <a:xfrm>
          <a:off x="990830" y="1237296"/>
          <a:ext cx="8087375" cy="911746"/>
        </a:xfrm>
        <a:prstGeom prst="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2748" tIns="50800" rIns="50800" bIns="50800" numCol="1" spcCol="1270" anchor="ctr" anchorCtr="0">
          <a:noAutofit/>
        </a:bodyPr>
        <a:lstStyle/>
        <a:p>
          <a:pPr lvl="0" algn="l" defTabSz="889000">
            <a:lnSpc>
              <a:spcPct val="90000"/>
            </a:lnSpc>
            <a:spcBef>
              <a:spcPct val="0"/>
            </a:spcBef>
            <a:spcAft>
              <a:spcPct val="35000"/>
            </a:spcAft>
          </a:pPr>
          <a:r>
            <a:rPr lang="zh-CN" altLang="en-US" sz="2000" b="1" kern="1200" dirty="0">
              <a:solidFill>
                <a:srgbClr val="222A35"/>
              </a:solidFill>
              <a:latin typeface="微软雅黑" panose="020B0503020204020204" pitchFamily="34" charset="-122"/>
              <a:ea typeface="微软雅黑" panose="020B0503020204020204" pitchFamily="34" charset="-122"/>
              <a:cs typeface="+mn-cs"/>
            </a:rPr>
            <a:t>自学习</a:t>
          </a:r>
          <a:endParaRPr lang="en-US" sz="2000" b="1" kern="1200" dirty="0">
            <a:solidFill>
              <a:srgbClr val="222A35"/>
            </a:solidFill>
            <a:latin typeface="微软雅黑" panose="020B0503020204020204" pitchFamily="34" charset="-122"/>
            <a:ea typeface="微软雅黑" panose="020B0503020204020204" pitchFamily="34" charset="-122"/>
            <a:cs typeface="+mn-cs"/>
          </a:endParaRPr>
        </a:p>
      </dsp:txBody>
      <dsp:txXfrm>
        <a:off x="990830" y="1237296"/>
        <a:ext cx="8087375" cy="911746"/>
      </dsp:txXfrm>
    </dsp:sp>
    <dsp:sp modelId="{D50DFE19-FA5D-4BC5-9F75-EE1975CB5ADC}">
      <dsp:nvSpPr>
        <dsp:cNvPr id="0" name=""/>
        <dsp:cNvSpPr/>
      </dsp:nvSpPr>
      <dsp:spPr>
        <a:xfrm>
          <a:off x="486978" y="1215535"/>
          <a:ext cx="886216" cy="88621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F122F74-A3F1-4137-9CFD-8394E5FD0BA8}">
      <dsp:nvSpPr>
        <dsp:cNvPr id="0" name=""/>
        <dsp:cNvSpPr/>
      </dsp:nvSpPr>
      <dsp:spPr>
        <a:xfrm>
          <a:off x="932528" y="2272901"/>
          <a:ext cx="8087375" cy="808562"/>
        </a:xfrm>
        <a:prstGeom prst="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2748" tIns="50800" rIns="50800" bIns="50800" numCol="1" spcCol="1270" anchor="ctr" anchorCtr="0">
          <a:noAutofit/>
        </a:bodyPr>
        <a:lstStyle/>
        <a:p>
          <a:pPr lvl="0" algn="l" defTabSz="889000">
            <a:lnSpc>
              <a:spcPct val="90000"/>
            </a:lnSpc>
            <a:spcBef>
              <a:spcPct val="0"/>
            </a:spcBef>
            <a:spcAft>
              <a:spcPct val="35000"/>
            </a:spcAft>
          </a:pPr>
          <a:r>
            <a:rPr lang="zh-CN" altLang="en-US" sz="2000" b="1" kern="1200" dirty="0">
              <a:solidFill>
                <a:schemeClr val="tx1"/>
              </a:solidFill>
              <a:latin typeface="微软雅黑" panose="020B0503020204020204" pitchFamily="34" charset="-122"/>
              <a:ea typeface="微软雅黑" panose="020B0503020204020204" pitchFamily="34" charset="-122"/>
            </a:rPr>
            <a:t>自决策</a:t>
          </a:r>
          <a:endParaRPr lang="en-US" sz="2000" b="1" kern="1200" dirty="0">
            <a:solidFill>
              <a:srgbClr val="FF0000"/>
            </a:solidFill>
            <a:latin typeface="微软雅黑" panose="020B0503020204020204" pitchFamily="34" charset="-122"/>
            <a:ea typeface="微软雅黑" panose="020B0503020204020204" pitchFamily="34" charset="-122"/>
          </a:endParaRPr>
        </a:p>
      </dsp:txBody>
      <dsp:txXfrm>
        <a:off x="932528" y="2272901"/>
        <a:ext cx="8087375" cy="808562"/>
      </dsp:txXfrm>
    </dsp:sp>
    <dsp:sp modelId="{33F329EC-A83F-4D06-B56B-8A1F41ACF9A3}">
      <dsp:nvSpPr>
        <dsp:cNvPr id="0" name=""/>
        <dsp:cNvSpPr/>
      </dsp:nvSpPr>
      <dsp:spPr>
        <a:xfrm>
          <a:off x="489442" y="2218136"/>
          <a:ext cx="886216" cy="88621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658D98B-4D6A-42AA-878B-F14F5F0C0716}">
      <dsp:nvSpPr>
        <dsp:cNvPr id="0" name=""/>
        <dsp:cNvSpPr/>
      </dsp:nvSpPr>
      <dsp:spPr>
        <a:xfrm>
          <a:off x="500506" y="3453172"/>
          <a:ext cx="8493846" cy="841516"/>
        </a:xfrm>
        <a:prstGeom prst="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2748" tIns="45720" rIns="45720" bIns="45720" numCol="1" spcCol="1270" anchor="ctr" anchorCtr="0">
          <a:noAutofit/>
        </a:bodyPr>
        <a:lstStyle/>
        <a:p>
          <a:pPr lvl="0" algn="l" defTabSz="800100">
            <a:lnSpc>
              <a:spcPct val="90000"/>
            </a:lnSpc>
            <a:spcBef>
              <a:spcPct val="0"/>
            </a:spcBef>
            <a:spcAft>
              <a:spcPct val="35000"/>
            </a:spcAft>
          </a:pPr>
          <a:r>
            <a:rPr lang="zh-CN" altLang="en-US" sz="1800" b="1" kern="1200" dirty="0">
              <a:solidFill>
                <a:srgbClr val="222A35"/>
              </a:solidFill>
              <a:latin typeface="微软雅黑" panose="020B0503020204020204" pitchFamily="34" charset="-122"/>
              <a:ea typeface="微软雅黑" panose="020B0503020204020204" pitchFamily="34" charset="-122"/>
              <a:cs typeface="+mn-cs"/>
            </a:rPr>
            <a:t>自执行</a:t>
          </a:r>
          <a:endParaRPr lang="en-US" sz="1800" b="1" kern="1200" dirty="0">
            <a:solidFill>
              <a:srgbClr val="FF0000"/>
            </a:solidFill>
            <a:latin typeface="微软雅黑" panose="020B0503020204020204" pitchFamily="34" charset="-122"/>
            <a:ea typeface="微软雅黑" panose="020B0503020204020204" pitchFamily="34" charset="-122"/>
          </a:endParaRPr>
        </a:p>
      </dsp:txBody>
      <dsp:txXfrm>
        <a:off x="500506" y="3453172"/>
        <a:ext cx="8493846" cy="841516"/>
      </dsp:txXfrm>
    </dsp:sp>
    <dsp:sp modelId="{03F3AB35-71D3-4F66-B542-DFAE2294D9DA}">
      <dsp:nvSpPr>
        <dsp:cNvPr id="0" name=""/>
        <dsp:cNvSpPr/>
      </dsp:nvSpPr>
      <dsp:spPr>
        <a:xfrm>
          <a:off x="55613" y="3456614"/>
          <a:ext cx="886216" cy="886216"/>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111.emf"/><Relationship Id="rId1" Type="http://schemas.openxmlformats.org/officeDocument/2006/relationships/image" Target="../media/image110.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eaLnBrk="0" hangingPunct="0">
              <a:defRPr sz="1200">
                <a:latin typeface="Arial" panose="020B0604020202020204" pitchFamily="34" charset="0"/>
                <a:ea typeface="微软雅黑" pitchFamily="34" charset="-122"/>
              </a:defRPr>
            </a:lvl1pPr>
          </a:lstStyle>
          <a:p>
            <a:pPr>
              <a:defRPr/>
            </a:pPr>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0" hangingPunct="0">
              <a:defRPr sz="1200">
                <a:latin typeface="Arial" panose="020B0604020202020204" pitchFamily="34" charset="0"/>
                <a:ea typeface="微软雅黑" pitchFamily="34" charset="-122"/>
              </a:defRPr>
            </a:lvl1pPr>
          </a:lstStyle>
          <a:p>
            <a:pPr>
              <a:defRPr/>
            </a:pPr>
            <a:fld id="{7A00D956-583E-4E0A-8091-4E6E7C1CC592}" type="datetimeFigureOut">
              <a:rPr lang="zh-CN" altLang="en-US"/>
              <a:pPr>
                <a:defRPr/>
              </a:pPr>
              <a:t>2019/2/25</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0" hangingPunct="0">
              <a:defRPr sz="1200">
                <a:latin typeface="Arial" panose="020B0604020202020204" pitchFamily="34" charset="0"/>
                <a:ea typeface="微软雅黑" pitchFamily="34" charset="-122"/>
              </a:defRPr>
            </a:lvl1pPr>
          </a:lstStyle>
          <a:p>
            <a:pPr>
              <a:defRPr/>
            </a:pPr>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0" hangingPunct="0">
              <a:defRPr sz="1200">
                <a:latin typeface="Arial" charset="0"/>
                <a:ea typeface="微软雅黑" pitchFamily="34" charset="-122"/>
              </a:defRPr>
            </a:lvl1pPr>
          </a:lstStyle>
          <a:p>
            <a:pPr>
              <a:defRPr/>
            </a:pPr>
            <a:fld id="{85B4D3CF-2658-42F5-9A27-76646D992251}"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defRPr>
            </a:lvl1pPr>
          </a:lstStyle>
          <a:p>
            <a:pPr>
              <a:defRPr/>
            </a:pPr>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ea typeface="+mn-ea"/>
              </a:defRPr>
            </a:lvl1pPr>
          </a:lstStyle>
          <a:p>
            <a:pPr>
              <a:defRPr/>
            </a:pPr>
            <a:fld id="{A2D02B17-C76A-4745-933B-65D3C5B43F9E}" type="datetimeFigureOut">
              <a:rPr lang="zh-CN" altLang="en-US"/>
              <a:pPr>
                <a:defRPr/>
              </a:pPr>
              <a:t>2019/2/2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noProof="0"/>
              <a:t>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defRPr>
            </a:lvl1pPr>
          </a:lstStyle>
          <a:p>
            <a:pPr>
              <a:defRPr/>
            </a:pPr>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等线" pitchFamily="2" charset="-122"/>
                <a:ea typeface="等线" pitchFamily="2" charset="-122"/>
              </a:defRPr>
            </a:lvl1pPr>
          </a:lstStyle>
          <a:p>
            <a:pPr>
              <a:defRPr/>
            </a:pPr>
            <a:fld id="{EC0507EA-DF11-468B-A87A-561729544AB1}"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等线"/>
      </a:defRPr>
    </a:lvl1pPr>
    <a:lvl2pPr marL="457200" algn="l" rtl="0" eaLnBrk="0" fontAlgn="base" hangingPunct="0">
      <a:spcBef>
        <a:spcPct val="30000"/>
      </a:spcBef>
      <a:spcAft>
        <a:spcPct val="0"/>
      </a:spcAft>
      <a:defRPr sz="1200" kern="1200">
        <a:solidFill>
          <a:schemeClr val="tx1"/>
        </a:solidFill>
        <a:latin typeface="+mn-lt"/>
        <a:ea typeface="+mn-ea"/>
        <a:cs typeface="等线"/>
      </a:defRPr>
    </a:lvl2pPr>
    <a:lvl3pPr marL="914400" algn="l" rtl="0" eaLnBrk="0" fontAlgn="base" hangingPunct="0">
      <a:spcBef>
        <a:spcPct val="30000"/>
      </a:spcBef>
      <a:spcAft>
        <a:spcPct val="0"/>
      </a:spcAft>
      <a:defRPr sz="1200" kern="1200">
        <a:solidFill>
          <a:schemeClr val="tx1"/>
        </a:solidFill>
        <a:latin typeface="+mn-lt"/>
        <a:ea typeface="+mn-ea"/>
        <a:cs typeface="等线"/>
      </a:defRPr>
    </a:lvl3pPr>
    <a:lvl4pPr marL="1371600" algn="l" rtl="0" eaLnBrk="0" fontAlgn="base" hangingPunct="0">
      <a:spcBef>
        <a:spcPct val="30000"/>
      </a:spcBef>
      <a:spcAft>
        <a:spcPct val="0"/>
      </a:spcAft>
      <a:defRPr sz="1200" kern="1200">
        <a:solidFill>
          <a:schemeClr val="tx1"/>
        </a:solidFill>
        <a:latin typeface="+mn-lt"/>
        <a:ea typeface="+mn-ea"/>
        <a:cs typeface="等线"/>
      </a:defRPr>
    </a:lvl4pPr>
    <a:lvl5pPr marL="1828800" algn="l" rtl="0" eaLnBrk="0" fontAlgn="base" hangingPunct="0">
      <a:spcBef>
        <a:spcPct val="30000"/>
      </a:spcBef>
      <a:spcAft>
        <a:spcPct val="0"/>
      </a:spcAft>
      <a:defRPr sz="1200" kern="1200">
        <a:solidFill>
          <a:schemeClr val="tx1"/>
        </a:solidFill>
        <a:latin typeface="+mn-lt"/>
        <a:ea typeface="+mn-ea"/>
        <a:cs typeface="等线"/>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幻灯片图像占位符 1"/>
          <p:cNvSpPr>
            <a:spLocks noGrp="1" noRot="1" noChangeAspect="1" noTextEdit="1"/>
          </p:cNvSpPr>
          <p:nvPr>
            <p:ph type="sldImg"/>
          </p:nvPr>
        </p:nvSpPr>
        <p:spPr bwMode="auto">
          <a:noFill/>
          <a:ln>
            <a:solidFill>
              <a:srgbClr val="000000"/>
            </a:solidFill>
            <a:miter lim="800000"/>
            <a:headEnd/>
            <a:tailEnd/>
          </a:ln>
        </p:spPr>
      </p:sp>
      <p:sp>
        <p:nvSpPr>
          <p:cNvPr id="106499" name="备注占位符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zh-CN" altLang="en-US"/>
          </a:p>
        </p:txBody>
      </p:sp>
      <p:sp>
        <p:nvSpPr>
          <p:cNvPr id="106500" name="灯片编号占位符 3"/>
          <p:cNvSpPr>
            <a:spLocks noGrp="1"/>
          </p:cNvSpPr>
          <p:nvPr>
            <p:ph type="sldNum" sz="quarter" idx="5"/>
          </p:nvPr>
        </p:nvSpPr>
        <p:spPr bwMode="auto">
          <a:noFill/>
          <a:ln>
            <a:miter lim="800000"/>
            <a:headEnd/>
            <a:tailEnd/>
          </a:ln>
        </p:spPr>
        <p:txBody>
          <a:bodyPr/>
          <a:lstStyle/>
          <a:p>
            <a:fld id="{A7659853-C670-4773-8C6F-D16353D68475}" type="slidenum">
              <a:rPr lang="zh-CN" altLang="en-US" smtClean="0">
                <a:latin typeface="等线"/>
                <a:ea typeface="等线"/>
                <a:cs typeface="等线"/>
              </a:rPr>
              <a:pPr/>
              <a:t>1</a:t>
            </a:fld>
            <a:endParaRPr lang="zh-CN" altLang="en-US">
              <a:latin typeface="等线"/>
              <a:ea typeface="等线"/>
              <a:cs typeface="等线"/>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EC0507EA-DF11-468B-A87A-561729544AB1}" type="slidenum">
              <a:rPr lang="zh-CN" altLang="en-US" smtClean="0"/>
              <a:pPr>
                <a:defRPr/>
              </a:pPr>
              <a:t>25</a:t>
            </a:fld>
            <a:endParaRPr lang="zh-CN" altLang="en-US"/>
          </a:p>
        </p:txBody>
      </p:sp>
    </p:spTree>
    <p:extLst>
      <p:ext uri="{BB962C8B-B14F-4D97-AF65-F5344CB8AC3E}">
        <p14:creationId xmlns:p14="http://schemas.microsoft.com/office/powerpoint/2010/main" val="30155188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a:t>项目的范围与深度</a:t>
            </a:r>
          </a:p>
        </p:txBody>
      </p:sp>
      <p:sp>
        <p:nvSpPr>
          <p:cNvPr id="4" name="灯片编号占位符 3"/>
          <p:cNvSpPr>
            <a:spLocks noGrp="1"/>
          </p:cNvSpPr>
          <p:nvPr>
            <p:ph type="sldNum" sz="quarter" idx="10"/>
          </p:nvPr>
        </p:nvSpPr>
        <p:spPr/>
        <p:txBody>
          <a:bodyPr/>
          <a:lstStyle/>
          <a:p>
            <a:pPr>
              <a:defRPr/>
            </a:pPr>
            <a:fld id="{EC0507EA-DF11-468B-A87A-561729544AB1}" type="slidenum">
              <a:rPr lang="zh-CN" altLang="en-US" smtClean="0"/>
              <a:pPr>
                <a:defRPr/>
              </a:pPr>
              <a:t>26</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幻灯片图像占位符 1"/>
          <p:cNvSpPr>
            <a:spLocks noGrp="1" noRot="1" noChangeAspect="1" noTextEdit="1"/>
          </p:cNvSpPr>
          <p:nvPr>
            <p:ph type="sldImg"/>
          </p:nvPr>
        </p:nvSpPr>
        <p:spPr bwMode="auto">
          <a:noFill/>
          <a:ln>
            <a:solidFill>
              <a:srgbClr val="000000"/>
            </a:solidFill>
            <a:miter lim="800000"/>
            <a:headEnd/>
            <a:tailEnd/>
          </a:ln>
        </p:spPr>
      </p:sp>
      <p:sp>
        <p:nvSpPr>
          <p:cNvPr id="107523" name="备注占位符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zh-CN" altLang="en-US"/>
          </a:p>
        </p:txBody>
      </p:sp>
      <p:sp>
        <p:nvSpPr>
          <p:cNvPr id="107524" name="灯片编号占位符 3"/>
          <p:cNvSpPr>
            <a:spLocks noGrp="1"/>
          </p:cNvSpPr>
          <p:nvPr>
            <p:ph type="sldNum" sz="quarter" idx="5"/>
          </p:nvPr>
        </p:nvSpPr>
        <p:spPr bwMode="auto">
          <a:noFill/>
          <a:ln>
            <a:miter lim="800000"/>
            <a:headEnd/>
            <a:tailEnd/>
          </a:ln>
        </p:spPr>
        <p:txBody>
          <a:bodyPr/>
          <a:lstStyle/>
          <a:p>
            <a:fld id="{38C69DD8-5904-43A3-A9D1-A2899E0D7141}" type="slidenum">
              <a:rPr lang="zh-CN" altLang="en-US" smtClean="0">
                <a:latin typeface="等线"/>
                <a:ea typeface="等线"/>
                <a:cs typeface="等线"/>
              </a:rPr>
              <a:pPr/>
              <a:t>2</a:t>
            </a:fld>
            <a:endParaRPr lang="zh-CN" altLang="en-US">
              <a:latin typeface="等线"/>
              <a:ea typeface="等线"/>
              <a:cs typeface="等线"/>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414712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23339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86647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90198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33994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57723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15640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33715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幻灯片图像占位符 1"/>
          <p:cNvSpPr>
            <a:spLocks noGrp="1" noRot="1" noChangeAspect="1" noTextEdit="1"/>
          </p:cNvSpPr>
          <p:nvPr>
            <p:ph type="sldImg"/>
          </p:nvPr>
        </p:nvSpPr>
        <p:spPr bwMode="auto">
          <a:noFill/>
          <a:ln>
            <a:solidFill>
              <a:srgbClr val="000000"/>
            </a:solidFill>
            <a:miter lim="800000"/>
            <a:headEnd/>
            <a:tailEnd/>
          </a:ln>
        </p:spPr>
      </p:sp>
      <p:sp>
        <p:nvSpPr>
          <p:cNvPr id="107523" name="备注占位符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zh-CN" altLang="en-US"/>
          </a:p>
        </p:txBody>
      </p:sp>
      <p:sp>
        <p:nvSpPr>
          <p:cNvPr id="107524" name="灯片编号占位符 3"/>
          <p:cNvSpPr>
            <a:spLocks noGrp="1"/>
          </p:cNvSpPr>
          <p:nvPr>
            <p:ph type="sldNum" sz="quarter" idx="5"/>
          </p:nvPr>
        </p:nvSpPr>
        <p:spPr bwMode="auto">
          <a:noFill/>
          <a:ln>
            <a:miter lim="800000"/>
            <a:headEnd/>
            <a:tailEnd/>
          </a:ln>
        </p:spPr>
        <p:txBody>
          <a:bodyPr/>
          <a:lstStyle/>
          <a:p>
            <a:fld id="{38C69DD8-5904-43A3-A9D1-A2899E0D7141}" type="slidenum">
              <a:rPr lang="zh-CN" altLang="en-US" smtClean="0">
                <a:latin typeface="等线"/>
                <a:ea typeface="等线"/>
                <a:cs typeface="等线"/>
              </a:rPr>
              <a:pPr/>
              <a:t>9</a:t>
            </a:fld>
            <a:endParaRPr lang="zh-CN" altLang="en-US">
              <a:latin typeface="等线"/>
              <a:ea typeface="等线"/>
              <a:cs typeface="等线"/>
            </a:endParaRPr>
          </a:p>
        </p:txBody>
      </p:sp>
    </p:spTree>
    <p:extLst>
      <p:ext uri="{BB962C8B-B14F-4D97-AF65-F5344CB8AC3E}">
        <p14:creationId xmlns:p14="http://schemas.microsoft.com/office/powerpoint/2010/main" val="33124919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895057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2930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15731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09951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0903478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788919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72543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9650086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569586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6338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EC0507EA-DF11-468B-A87A-561729544AB1}" type="slidenum">
              <a:rPr lang="zh-CN" altLang="en-US" smtClean="0"/>
              <a:pPr>
                <a:defRPr/>
              </a:pPr>
              <a:t>10</a:t>
            </a:fld>
            <a:endParaRPr lang="zh-CN" altLang="en-US"/>
          </a:p>
        </p:txBody>
      </p:sp>
    </p:spTree>
    <p:extLst>
      <p:ext uri="{BB962C8B-B14F-4D97-AF65-F5344CB8AC3E}">
        <p14:creationId xmlns:p14="http://schemas.microsoft.com/office/powerpoint/2010/main" val="31527993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173489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幻灯片图像占位符 1"/>
          <p:cNvSpPr>
            <a:spLocks noGrp="1" noRot="1" noChangeAspect="1" noTextEdit="1"/>
          </p:cNvSpPr>
          <p:nvPr>
            <p:ph type="sldImg"/>
          </p:nvPr>
        </p:nvSpPr>
        <p:spPr bwMode="auto">
          <a:noFill/>
          <a:ln>
            <a:solidFill>
              <a:srgbClr val="000000"/>
            </a:solidFill>
            <a:miter lim="800000"/>
            <a:headEnd/>
            <a:tailEnd/>
          </a:ln>
        </p:spPr>
      </p:sp>
      <p:sp>
        <p:nvSpPr>
          <p:cNvPr id="108547" name="备注占位符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zh-CN" altLang="en-US"/>
          </a:p>
        </p:txBody>
      </p:sp>
      <p:sp>
        <p:nvSpPr>
          <p:cNvPr id="108548" name="灯片编号占位符 3"/>
          <p:cNvSpPr>
            <a:spLocks noGrp="1"/>
          </p:cNvSpPr>
          <p:nvPr>
            <p:ph type="sldNum" sz="quarter" idx="5"/>
          </p:nvPr>
        </p:nvSpPr>
        <p:spPr bwMode="auto">
          <a:noFill/>
          <a:ln>
            <a:miter lim="800000"/>
            <a:headEnd/>
            <a:tailEnd/>
          </a:ln>
        </p:spPr>
        <p:txBody>
          <a:bodyPr/>
          <a:lstStyle/>
          <a:p>
            <a:fld id="{55D582E5-160A-4CBE-8D97-5CAB447BD6C2}" type="slidenum">
              <a:rPr lang="zh-CN" altLang="en-US" smtClean="0">
                <a:latin typeface="等线"/>
                <a:ea typeface="等线"/>
                <a:cs typeface="等线"/>
              </a:rPr>
              <a:pPr/>
              <a:t>56</a:t>
            </a:fld>
            <a:endParaRPr lang="zh-CN" altLang="en-US">
              <a:latin typeface="等线"/>
              <a:ea typeface="等线"/>
              <a:cs typeface="等线"/>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幻灯片图像占位符 1"/>
          <p:cNvSpPr>
            <a:spLocks noGrp="1" noRot="1" noChangeAspect="1" noTextEdit="1"/>
          </p:cNvSpPr>
          <p:nvPr>
            <p:ph type="sldImg"/>
          </p:nvPr>
        </p:nvSpPr>
        <p:spPr bwMode="auto">
          <a:noFill/>
          <a:ln>
            <a:solidFill>
              <a:srgbClr val="000000"/>
            </a:solidFill>
            <a:miter lim="800000"/>
            <a:headEnd/>
            <a:tailEnd/>
          </a:ln>
        </p:spPr>
      </p:sp>
      <p:sp>
        <p:nvSpPr>
          <p:cNvPr id="107523" name="备注占位符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zh-CN" altLang="en-US"/>
          </a:p>
        </p:txBody>
      </p:sp>
      <p:sp>
        <p:nvSpPr>
          <p:cNvPr id="107524" name="灯片编号占位符 3"/>
          <p:cNvSpPr>
            <a:spLocks noGrp="1"/>
          </p:cNvSpPr>
          <p:nvPr>
            <p:ph type="sldNum" sz="quarter" idx="5"/>
          </p:nvPr>
        </p:nvSpPr>
        <p:spPr bwMode="auto">
          <a:noFill/>
          <a:ln>
            <a:miter lim="800000"/>
            <a:headEnd/>
            <a:tailEnd/>
          </a:ln>
        </p:spPr>
        <p:txBody>
          <a:bodyPr/>
          <a:lstStyle/>
          <a:p>
            <a:fld id="{38C69DD8-5904-43A3-A9D1-A2899E0D7141}" type="slidenum">
              <a:rPr lang="zh-CN" altLang="en-US" smtClean="0">
                <a:latin typeface="等线"/>
                <a:ea typeface="等线"/>
                <a:cs typeface="等线"/>
              </a:rPr>
              <a:pPr/>
              <a:t>20</a:t>
            </a:fld>
            <a:endParaRPr lang="zh-CN" altLang="en-US">
              <a:latin typeface="等线"/>
              <a:ea typeface="等线"/>
              <a:cs typeface="等线"/>
            </a:endParaRPr>
          </a:p>
        </p:txBody>
      </p:sp>
    </p:spTree>
    <p:extLst>
      <p:ext uri="{BB962C8B-B14F-4D97-AF65-F5344CB8AC3E}">
        <p14:creationId xmlns:p14="http://schemas.microsoft.com/office/powerpoint/2010/main" val="33538204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a:t>问题与方案</a:t>
            </a:r>
          </a:p>
        </p:txBody>
      </p:sp>
      <p:sp>
        <p:nvSpPr>
          <p:cNvPr id="4" name="灯片编号占位符 3"/>
          <p:cNvSpPr>
            <a:spLocks noGrp="1"/>
          </p:cNvSpPr>
          <p:nvPr>
            <p:ph type="sldNum" sz="quarter" idx="10"/>
          </p:nvPr>
        </p:nvSpPr>
        <p:spPr/>
        <p:txBody>
          <a:bodyPr/>
          <a:lstStyle/>
          <a:p>
            <a:pPr>
              <a:defRPr/>
            </a:pPr>
            <a:fld id="{EC0507EA-DF11-468B-A87A-561729544AB1}" type="slidenum">
              <a:rPr lang="zh-CN" altLang="en-US" smtClean="0"/>
              <a:pPr>
                <a:defRPr/>
              </a:pPr>
              <a:t>21</a:t>
            </a:fld>
            <a:endParaRPr lang="zh-CN" altLang="en-US"/>
          </a:p>
        </p:txBody>
      </p:sp>
    </p:spTree>
    <p:extLst>
      <p:ext uri="{BB962C8B-B14F-4D97-AF65-F5344CB8AC3E}">
        <p14:creationId xmlns:p14="http://schemas.microsoft.com/office/powerpoint/2010/main" val="42676434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a:t>问题与方案</a:t>
            </a:r>
          </a:p>
        </p:txBody>
      </p:sp>
      <p:sp>
        <p:nvSpPr>
          <p:cNvPr id="4" name="灯片编号占位符 3"/>
          <p:cNvSpPr>
            <a:spLocks noGrp="1"/>
          </p:cNvSpPr>
          <p:nvPr>
            <p:ph type="sldNum" sz="quarter" idx="10"/>
          </p:nvPr>
        </p:nvSpPr>
        <p:spPr/>
        <p:txBody>
          <a:bodyPr/>
          <a:lstStyle/>
          <a:p>
            <a:pPr>
              <a:defRPr/>
            </a:pPr>
            <a:fld id="{EC0507EA-DF11-468B-A87A-561729544AB1}" type="slidenum">
              <a:rPr lang="zh-CN" altLang="en-US" smtClean="0"/>
              <a:pPr>
                <a:defRPr/>
              </a:pPr>
              <a:t>22</a:t>
            </a:fld>
            <a:endParaRPr lang="zh-CN" altLang="en-US"/>
          </a:p>
        </p:txBody>
      </p:sp>
    </p:spTree>
    <p:extLst>
      <p:ext uri="{BB962C8B-B14F-4D97-AF65-F5344CB8AC3E}">
        <p14:creationId xmlns:p14="http://schemas.microsoft.com/office/powerpoint/2010/main" val="15987789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a:t>问题与方案</a:t>
            </a:r>
          </a:p>
        </p:txBody>
      </p:sp>
      <p:sp>
        <p:nvSpPr>
          <p:cNvPr id="4" name="灯片编号占位符 3"/>
          <p:cNvSpPr>
            <a:spLocks noGrp="1"/>
          </p:cNvSpPr>
          <p:nvPr>
            <p:ph type="sldNum" sz="quarter" idx="10"/>
          </p:nvPr>
        </p:nvSpPr>
        <p:spPr/>
        <p:txBody>
          <a:bodyPr/>
          <a:lstStyle/>
          <a:p>
            <a:pPr>
              <a:defRPr/>
            </a:pPr>
            <a:fld id="{EC0507EA-DF11-468B-A87A-561729544AB1}" type="slidenum">
              <a:rPr lang="zh-CN" altLang="en-US" smtClean="0"/>
              <a:pPr>
                <a:defRPr/>
              </a:pPr>
              <a:t>23</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EC0507EA-DF11-468B-A87A-561729544AB1}" type="slidenum">
              <a:rPr lang="zh-CN" altLang="en-US" smtClean="0"/>
              <a:pPr>
                <a:defRPr/>
              </a:pPr>
              <a:t>24</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
        <p:nvSpPr>
          <p:cNvPr id="15" name="图片占位符 14">
            <a:extLst/>
          </p:cNvPr>
          <p:cNvSpPr>
            <a:spLocks noGrp="1"/>
          </p:cNvSpPr>
          <p:nvPr>
            <p:ph type="pic" sz="quarter" idx="10"/>
          </p:nvPr>
        </p:nvSpPr>
        <p:spPr>
          <a:xfrm>
            <a:off x="3261138" y="-7830"/>
            <a:ext cx="8944218" cy="6865831"/>
          </a:xfrm>
          <a:custGeom>
            <a:avLst/>
            <a:gdLst>
              <a:gd name="connsiteX0" fmla="*/ 17770 w 8944218"/>
              <a:gd name="connsiteY0" fmla="*/ 0 h 6865831"/>
              <a:gd name="connsiteX1" fmla="*/ 4931600 w 8944218"/>
              <a:gd name="connsiteY1" fmla="*/ 0 h 6865831"/>
              <a:gd name="connsiteX2" fmla="*/ 4938378 w 8944218"/>
              <a:gd name="connsiteY2" fmla="*/ 6778 h 6865831"/>
              <a:gd name="connsiteX3" fmla="*/ 4939431 w 8944218"/>
              <a:gd name="connsiteY3" fmla="*/ 5724 h 6865831"/>
              <a:gd name="connsiteX4" fmla="*/ 4940097 w 8944218"/>
              <a:gd name="connsiteY4" fmla="*/ 6390 h 6865831"/>
              <a:gd name="connsiteX5" fmla="*/ 4946486 w 8944218"/>
              <a:gd name="connsiteY5" fmla="*/ 0 h 6865831"/>
              <a:gd name="connsiteX6" fmla="*/ 8944218 w 8944218"/>
              <a:gd name="connsiteY6" fmla="*/ 0 h 6865831"/>
              <a:gd name="connsiteX7" fmla="*/ 8944218 w 8944218"/>
              <a:gd name="connsiteY7" fmla="*/ 938217 h 6865831"/>
              <a:gd name="connsiteX8" fmla="*/ 8944218 w 8944218"/>
              <a:gd name="connsiteY8" fmla="*/ 951638 h 6865831"/>
              <a:gd name="connsiteX9" fmla="*/ 8944218 w 8944218"/>
              <a:gd name="connsiteY9" fmla="*/ 4018388 h 6865831"/>
              <a:gd name="connsiteX10" fmla="*/ 8944217 w 8944218"/>
              <a:gd name="connsiteY10" fmla="*/ 4018387 h 6865831"/>
              <a:gd name="connsiteX11" fmla="*/ 8944217 w 8944218"/>
              <a:gd name="connsiteY11" fmla="*/ 5877695 h 6865831"/>
              <a:gd name="connsiteX12" fmla="*/ 7956081 w 8944218"/>
              <a:gd name="connsiteY12" fmla="*/ 6865831 h 6865831"/>
              <a:gd name="connsiteX13" fmla="*/ 6852273 w 8944218"/>
              <a:gd name="connsiteY13" fmla="*/ 6865831 h 6865831"/>
              <a:gd name="connsiteX14" fmla="*/ 4940484 w 8944218"/>
              <a:gd name="connsiteY14" fmla="*/ 4954043 h 6865831"/>
              <a:gd name="connsiteX15" fmla="*/ 4939431 w 8944218"/>
              <a:gd name="connsiteY15" fmla="*/ 4955095 h 6865831"/>
              <a:gd name="connsiteX16" fmla="*/ 2475739 w 8944218"/>
              <a:gd name="connsiteY16" fmla="*/ 2491403 h 6865831"/>
              <a:gd name="connsiteX17" fmla="*/ 2474685 w 8944218"/>
              <a:gd name="connsiteY17" fmla="*/ 2492455 h 6865831"/>
              <a:gd name="connsiteX18" fmla="*/ 0 w 8944218"/>
              <a:gd name="connsiteY18" fmla="*/ 17770 h 6865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44218" h="6865831">
                <a:moveTo>
                  <a:pt x="17770" y="0"/>
                </a:moveTo>
                <a:lnTo>
                  <a:pt x="4931600" y="0"/>
                </a:lnTo>
                <a:lnTo>
                  <a:pt x="4938378" y="6778"/>
                </a:lnTo>
                <a:lnTo>
                  <a:pt x="4939431" y="5724"/>
                </a:lnTo>
                <a:lnTo>
                  <a:pt x="4940097" y="6390"/>
                </a:lnTo>
                <a:lnTo>
                  <a:pt x="4946486" y="0"/>
                </a:lnTo>
                <a:lnTo>
                  <a:pt x="8944218" y="0"/>
                </a:lnTo>
                <a:lnTo>
                  <a:pt x="8944218" y="938217"/>
                </a:lnTo>
                <a:lnTo>
                  <a:pt x="8944218" y="951638"/>
                </a:lnTo>
                <a:lnTo>
                  <a:pt x="8944218" y="4018388"/>
                </a:lnTo>
                <a:lnTo>
                  <a:pt x="8944217" y="4018387"/>
                </a:lnTo>
                <a:lnTo>
                  <a:pt x="8944217" y="5877695"/>
                </a:lnTo>
                <a:lnTo>
                  <a:pt x="7956081" y="6865831"/>
                </a:lnTo>
                <a:lnTo>
                  <a:pt x="6852273" y="6865831"/>
                </a:lnTo>
                <a:lnTo>
                  <a:pt x="4940484" y="4954043"/>
                </a:lnTo>
                <a:lnTo>
                  <a:pt x="4939431" y="4955095"/>
                </a:lnTo>
                <a:lnTo>
                  <a:pt x="2475739" y="2491403"/>
                </a:lnTo>
                <a:lnTo>
                  <a:pt x="2474685" y="2492455"/>
                </a:lnTo>
                <a:lnTo>
                  <a:pt x="0" y="17770"/>
                </a:lnTo>
                <a:close/>
              </a:path>
            </a:pathLst>
          </a:custGeom>
        </p:spPr>
        <p:txBody>
          <a:bodyPr wrap="square">
            <a:noAutofit/>
          </a:bodyPr>
          <a:lstStyle/>
          <a:p>
            <a:pPr lvl="0"/>
            <a:endParaRPr lang="zh-CN" altLang="en-US" noProof="0"/>
          </a:p>
        </p:txBody>
      </p:sp>
    </p:spTree>
  </p:cSld>
  <p:clrMapOvr>
    <a:masterClrMapping/>
  </p:clrMapOvr>
  <p:transition spd="slow"/>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自定义版式">
    <p:spTree>
      <p:nvGrpSpPr>
        <p:cNvPr id="1" name=""/>
        <p:cNvGrpSpPr/>
        <p:nvPr/>
      </p:nvGrpSpPr>
      <p:grpSpPr>
        <a:xfrm>
          <a:off x="0" y="0"/>
          <a:ext cx="0" cy="0"/>
          <a:chOff x="0" y="0"/>
          <a:chExt cx="0" cy="0"/>
        </a:xfrm>
      </p:grpSpPr>
      <p:sp>
        <p:nvSpPr>
          <p:cNvPr id="12" name="图片占位符 11">
            <a:extLst/>
          </p:cNvPr>
          <p:cNvSpPr>
            <a:spLocks noGrp="1"/>
          </p:cNvSpPr>
          <p:nvPr>
            <p:ph type="pic" sz="quarter" idx="10"/>
          </p:nvPr>
        </p:nvSpPr>
        <p:spPr>
          <a:xfrm>
            <a:off x="874712" y="1616101"/>
            <a:ext cx="5116972" cy="1815135"/>
          </a:xfrm>
          <a:custGeom>
            <a:avLst/>
            <a:gdLst>
              <a:gd name="connsiteX0" fmla="*/ 0 w 5116972"/>
              <a:gd name="connsiteY0" fmla="*/ 0 h 1815135"/>
              <a:gd name="connsiteX1" fmla="*/ 5116972 w 5116972"/>
              <a:gd name="connsiteY1" fmla="*/ 0 h 1815135"/>
              <a:gd name="connsiteX2" fmla="*/ 5116972 w 5116972"/>
              <a:gd name="connsiteY2" fmla="*/ 1815135 h 1815135"/>
              <a:gd name="connsiteX3" fmla="*/ 0 w 5116972"/>
              <a:gd name="connsiteY3" fmla="*/ 1815135 h 1815135"/>
            </a:gdLst>
            <a:ahLst/>
            <a:cxnLst>
              <a:cxn ang="0">
                <a:pos x="connsiteX0" y="connsiteY0"/>
              </a:cxn>
              <a:cxn ang="0">
                <a:pos x="connsiteX1" y="connsiteY1"/>
              </a:cxn>
              <a:cxn ang="0">
                <a:pos x="connsiteX2" y="connsiteY2"/>
              </a:cxn>
              <a:cxn ang="0">
                <a:pos x="connsiteX3" y="connsiteY3"/>
              </a:cxn>
            </a:cxnLst>
            <a:rect l="l" t="t" r="r" b="b"/>
            <a:pathLst>
              <a:path w="5116972" h="1815135">
                <a:moveTo>
                  <a:pt x="0" y="0"/>
                </a:moveTo>
                <a:lnTo>
                  <a:pt x="5116972" y="0"/>
                </a:lnTo>
                <a:lnTo>
                  <a:pt x="5116972" y="1815135"/>
                </a:lnTo>
                <a:lnTo>
                  <a:pt x="0" y="1815135"/>
                </a:lnTo>
                <a:close/>
              </a:path>
            </a:pathLst>
          </a:custGeom>
        </p:spPr>
        <p:txBody>
          <a:bodyPr wrap="square">
            <a:noAutofit/>
          </a:bodyPr>
          <a:lstStyle/>
          <a:p>
            <a:pPr lvl="0"/>
            <a:endParaRPr lang="zh-CN" altLang="en-US" noProof="0"/>
          </a:p>
        </p:txBody>
      </p:sp>
      <p:sp>
        <p:nvSpPr>
          <p:cNvPr id="14" name="图片占位符 13">
            <a:extLst/>
          </p:cNvPr>
          <p:cNvSpPr>
            <a:spLocks noGrp="1"/>
          </p:cNvSpPr>
          <p:nvPr>
            <p:ph type="pic" sz="quarter" idx="11"/>
          </p:nvPr>
        </p:nvSpPr>
        <p:spPr>
          <a:xfrm>
            <a:off x="874712" y="3793785"/>
            <a:ext cx="5116972" cy="1815135"/>
          </a:xfrm>
          <a:custGeom>
            <a:avLst/>
            <a:gdLst>
              <a:gd name="connsiteX0" fmla="*/ 0 w 5116972"/>
              <a:gd name="connsiteY0" fmla="*/ 0 h 1815135"/>
              <a:gd name="connsiteX1" fmla="*/ 5116972 w 5116972"/>
              <a:gd name="connsiteY1" fmla="*/ 0 h 1815135"/>
              <a:gd name="connsiteX2" fmla="*/ 5116972 w 5116972"/>
              <a:gd name="connsiteY2" fmla="*/ 1815135 h 1815135"/>
              <a:gd name="connsiteX3" fmla="*/ 0 w 5116972"/>
              <a:gd name="connsiteY3" fmla="*/ 1815135 h 1815135"/>
            </a:gdLst>
            <a:ahLst/>
            <a:cxnLst>
              <a:cxn ang="0">
                <a:pos x="connsiteX0" y="connsiteY0"/>
              </a:cxn>
              <a:cxn ang="0">
                <a:pos x="connsiteX1" y="connsiteY1"/>
              </a:cxn>
              <a:cxn ang="0">
                <a:pos x="connsiteX2" y="connsiteY2"/>
              </a:cxn>
              <a:cxn ang="0">
                <a:pos x="connsiteX3" y="connsiteY3"/>
              </a:cxn>
            </a:cxnLst>
            <a:rect l="l" t="t" r="r" b="b"/>
            <a:pathLst>
              <a:path w="5116972" h="1815135">
                <a:moveTo>
                  <a:pt x="0" y="0"/>
                </a:moveTo>
                <a:lnTo>
                  <a:pt x="5116972" y="0"/>
                </a:lnTo>
                <a:lnTo>
                  <a:pt x="5116972" y="1815135"/>
                </a:lnTo>
                <a:lnTo>
                  <a:pt x="0" y="1815135"/>
                </a:lnTo>
                <a:close/>
              </a:path>
            </a:pathLst>
          </a:custGeom>
        </p:spPr>
        <p:txBody>
          <a:bodyPr wrap="square">
            <a:noAutofit/>
          </a:bodyPr>
          <a:lstStyle/>
          <a:p>
            <a:pPr lvl="0"/>
            <a:endParaRPr lang="zh-CN" altLang="en-US" noProof="0"/>
          </a:p>
        </p:txBody>
      </p:sp>
      <p:sp>
        <p:nvSpPr>
          <p:cNvPr id="13" name="图片占位符 12">
            <a:extLst/>
          </p:cNvPr>
          <p:cNvSpPr>
            <a:spLocks noGrp="1"/>
          </p:cNvSpPr>
          <p:nvPr>
            <p:ph type="pic" sz="quarter" idx="12"/>
          </p:nvPr>
        </p:nvSpPr>
        <p:spPr>
          <a:xfrm>
            <a:off x="6200315" y="1616101"/>
            <a:ext cx="5116972" cy="1815135"/>
          </a:xfrm>
          <a:custGeom>
            <a:avLst/>
            <a:gdLst>
              <a:gd name="connsiteX0" fmla="*/ 0 w 5116972"/>
              <a:gd name="connsiteY0" fmla="*/ 0 h 1815135"/>
              <a:gd name="connsiteX1" fmla="*/ 5116972 w 5116972"/>
              <a:gd name="connsiteY1" fmla="*/ 0 h 1815135"/>
              <a:gd name="connsiteX2" fmla="*/ 5116972 w 5116972"/>
              <a:gd name="connsiteY2" fmla="*/ 1815135 h 1815135"/>
              <a:gd name="connsiteX3" fmla="*/ 0 w 5116972"/>
              <a:gd name="connsiteY3" fmla="*/ 1815135 h 1815135"/>
            </a:gdLst>
            <a:ahLst/>
            <a:cxnLst>
              <a:cxn ang="0">
                <a:pos x="connsiteX0" y="connsiteY0"/>
              </a:cxn>
              <a:cxn ang="0">
                <a:pos x="connsiteX1" y="connsiteY1"/>
              </a:cxn>
              <a:cxn ang="0">
                <a:pos x="connsiteX2" y="connsiteY2"/>
              </a:cxn>
              <a:cxn ang="0">
                <a:pos x="connsiteX3" y="connsiteY3"/>
              </a:cxn>
            </a:cxnLst>
            <a:rect l="l" t="t" r="r" b="b"/>
            <a:pathLst>
              <a:path w="5116972" h="1815135">
                <a:moveTo>
                  <a:pt x="0" y="0"/>
                </a:moveTo>
                <a:lnTo>
                  <a:pt x="5116972" y="0"/>
                </a:lnTo>
                <a:lnTo>
                  <a:pt x="5116972" y="1815135"/>
                </a:lnTo>
                <a:lnTo>
                  <a:pt x="0" y="1815135"/>
                </a:lnTo>
                <a:close/>
              </a:path>
            </a:pathLst>
          </a:custGeom>
        </p:spPr>
        <p:txBody>
          <a:bodyPr wrap="square">
            <a:noAutofit/>
          </a:bodyPr>
          <a:lstStyle/>
          <a:p>
            <a:pPr lvl="0"/>
            <a:endParaRPr lang="zh-CN" altLang="en-US" noProof="0"/>
          </a:p>
        </p:txBody>
      </p:sp>
      <p:sp>
        <p:nvSpPr>
          <p:cNvPr id="15" name="图片占位符 14">
            <a:extLst/>
          </p:cNvPr>
          <p:cNvSpPr>
            <a:spLocks noGrp="1"/>
          </p:cNvSpPr>
          <p:nvPr>
            <p:ph type="pic" sz="quarter" idx="13"/>
          </p:nvPr>
        </p:nvSpPr>
        <p:spPr>
          <a:xfrm>
            <a:off x="6200315" y="3793785"/>
            <a:ext cx="5116972" cy="1815135"/>
          </a:xfrm>
          <a:custGeom>
            <a:avLst/>
            <a:gdLst>
              <a:gd name="connsiteX0" fmla="*/ 0 w 5116972"/>
              <a:gd name="connsiteY0" fmla="*/ 0 h 1815135"/>
              <a:gd name="connsiteX1" fmla="*/ 5116972 w 5116972"/>
              <a:gd name="connsiteY1" fmla="*/ 0 h 1815135"/>
              <a:gd name="connsiteX2" fmla="*/ 5116972 w 5116972"/>
              <a:gd name="connsiteY2" fmla="*/ 1815135 h 1815135"/>
              <a:gd name="connsiteX3" fmla="*/ 0 w 5116972"/>
              <a:gd name="connsiteY3" fmla="*/ 1815135 h 1815135"/>
            </a:gdLst>
            <a:ahLst/>
            <a:cxnLst>
              <a:cxn ang="0">
                <a:pos x="connsiteX0" y="connsiteY0"/>
              </a:cxn>
              <a:cxn ang="0">
                <a:pos x="connsiteX1" y="connsiteY1"/>
              </a:cxn>
              <a:cxn ang="0">
                <a:pos x="connsiteX2" y="connsiteY2"/>
              </a:cxn>
              <a:cxn ang="0">
                <a:pos x="connsiteX3" y="connsiteY3"/>
              </a:cxn>
            </a:cxnLst>
            <a:rect l="l" t="t" r="r" b="b"/>
            <a:pathLst>
              <a:path w="5116972" h="1815135">
                <a:moveTo>
                  <a:pt x="0" y="0"/>
                </a:moveTo>
                <a:lnTo>
                  <a:pt x="5116972" y="0"/>
                </a:lnTo>
                <a:lnTo>
                  <a:pt x="5116972" y="1815135"/>
                </a:lnTo>
                <a:lnTo>
                  <a:pt x="0" y="1815135"/>
                </a:lnTo>
                <a:close/>
              </a:path>
            </a:pathLst>
          </a:custGeom>
        </p:spPr>
        <p:txBody>
          <a:bodyPr wrap="square">
            <a:noAutofit/>
          </a:bodyPr>
          <a:lstStyle/>
          <a:p>
            <a:pPr lvl="0"/>
            <a:endParaRPr lang="zh-CN" altLang="en-US" noProof="0"/>
          </a:p>
        </p:txBody>
      </p:sp>
    </p:spTree>
  </p:cSld>
  <p:clrMapOvr>
    <a:masterClrMapping/>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自定义版式">
    <p:spTree>
      <p:nvGrpSpPr>
        <p:cNvPr id="1" name=""/>
        <p:cNvGrpSpPr/>
        <p:nvPr/>
      </p:nvGrpSpPr>
      <p:grpSpPr>
        <a:xfrm>
          <a:off x="0" y="0"/>
          <a:ext cx="0" cy="0"/>
          <a:chOff x="0" y="0"/>
          <a:chExt cx="0" cy="0"/>
        </a:xfrm>
      </p:grpSpPr>
      <p:sp>
        <p:nvSpPr>
          <p:cNvPr id="10" name="图片占位符 9">
            <a:extLst/>
          </p:cNvPr>
          <p:cNvSpPr>
            <a:spLocks noGrp="1"/>
          </p:cNvSpPr>
          <p:nvPr>
            <p:ph type="pic" sz="quarter" idx="10"/>
          </p:nvPr>
        </p:nvSpPr>
        <p:spPr>
          <a:xfrm>
            <a:off x="1413036" y="1986039"/>
            <a:ext cx="2864878" cy="2456948"/>
          </a:xfrm>
          <a:custGeom>
            <a:avLst/>
            <a:gdLst>
              <a:gd name="connsiteX0" fmla="*/ 614238 w 2864878"/>
              <a:gd name="connsiteY0" fmla="*/ 0 h 2456948"/>
              <a:gd name="connsiteX1" fmla="*/ 2250641 w 2864878"/>
              <a:gd name="connsiteY1" fmla="*/ 0 h 2456948"/>
              <a:gd name="connsiteX2" fmla="*/ 2864878 w 2864878"/>
              <a:gd name="connsiteY2" fmla="*/ 1228474 h 2456948"/>
              <a:gd name="connsiteX3" fmla="*/ 2250641 w 2864878"/>
              <a:gd name="connsiteY3" fmla="*/ 2456948 h 2456948"/>
              <a:gd name="connsiteX4" fmla="*/ 614238 w 2864878"/>
              <a:gd name="connsiteY4" fmla="*/ 2456948 h 2456948"/>
              <a:gd name="connsiteX5" fmla="*/ 0 w 2864878"/>
              <a:gd name="connsiteY5" fmla="*/ 1228474 h 2456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4878" h="2456948">
                <a:moveTo>
                  <a:pt x="614238" y="0"/>
                </a:moveTo>
                <a:lnTo>
                  <a:pt x="2250641" y="0"/>
                </a:lnTo>
                <a:lnTo>
                  <a:pt x="2864878" y="1228474"/>
                </a:lnTo>
                <a:lnTo>
                  <a:pt x="2250641" y="2456948"/>
                </a:lnTo>
                <a:lnTo>
                  <a:pt x="614238" y="2456948"/>
                </a:lnTo>
                <a:lnTo>
                  <a:pt x="0" y="1228474"/>
                </a:lnTo>
                <a:close/>
              </a:path>
            </a:pathLst>
          </a:custGeom>
        </p:spPr>
        <p:txBody>
          <a:bodyPr wrap="square">
            <a:noAutofit/>
          </a:bodyPr>
          <a:lstStyle/>
          <a:p>
            <a:pPr lvl="0"/>
            <a:endParaRPr lang="zh-CN" altLang="en-US" noProof="0"/>
          </a:p>
        </p:txBody>
      </p:sp>
      <p:sp>
        <p:nvSpPr>
          <p:cNvPr id="11" name="图片占位符 10">
            <a:extLst/>
          </p:cNvPr>
          <p:cNvSpPr>
            <a:spLocks noGrp="1"/>
          </p:cNvSpPr>
          <p:nvPr>
            <p:ph type="pic" sz="quarter" idx="11"/>
          </p:nvPr>
        </p:nvSpPr>
        <p:spPr>
          <a:xfrm>
            <a:off x="4670586" y="1986039"/>
            <a:ext cx="2864878" cy="2456948"/>
          </a:xfrm>
          <a:custGeom>
            <a:avLst/>
            <a:gdLst>
              <a:gd name="connsiteX0" fmla="*/ 614238 w 2864878"/>
              <a:gd name="connsiteY0" fmla="*/ 0 h 2456948"/>
              <a:gd name="connsiteX1" fmla="*/ 2250641 w 2864878"/>
              <a:gd name="connsiteY1" fmla="*/ 0 h 2456948"/>
              <a:gd name="connsiteX2" fmla="*/ 2864878 w 2864878"/>
              <a:gd name="connsiteY2" fmla="*/ 1228474 h 2456948"/>
              <a:gd name="connsiteX3" fmla="*/ 2250641 w 2864878"/>
              <a:gd name="connsiteY3" fmla="*/ 2456948 h 2456948"/>
              <a:gd name="connsiteX4" fmla="*/ 614238 w 2864878"/>
              <a:gd name="connsiteY4" fmla="*/ 2456948 h 2456948"/>
              <a:gd name="connsiteX5" fmla="*/ 0 w 2864878"/>
              <a:gd name="connsiteY5" fmla="*/ 1228474 h 2456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4878" h="2456948">
                <a:moveTo>
                  <a:pt x="614238" y="0"/>
                </a:moveTo>
                <a:lnTo>
                  <a:pt x="2250641" y="0"/>
                </a:lnTo>
                <a:lnTo>
                  <a:pt x="2864878" y="1228474"/>
                </a:lnTo>
                <a:lnTo>
                  <a:pt x="2250641" y="2456948"/>
                </a:lnTo>
                <a:lnTo>
                  <a:pt x="614238" y="2456948"/>
                </a:lnTo>
                <a:lnTo>
                  <a:pt x="0" y="1228474"/>
                </a:lnTo>
                <a:close/>
              </a:path>
            </a:pathLst>
          </a:custGeom>
        </p:spPr>
        <p:txBody>
          <a:bodyPr wrap="square">
            <a:noAutofit/>
          </a:bodyPr>
          <a:lstStyle/>
          <a:p>
            <a:pPr lvl="0"/>
            <a:endParaRPr lang="zh-CN" altLang="en-US" noProof="0"/>
          </a:p>
        </p:txBody>
      </p:sp>
      <p:sp>
        <p:nvSpPr>
          <p:cNvPr id="12" name="图片占位符 11">
            <a:extLst/>
          </p:cNvPr>
          <p:cNvSpPr>
            <a:spLocks noGrp="1"/>
          </p:cNvSpPr>
          <p:nvPr>
            <p:ph type="pic" sz="quarter" idx="12"/>
          </p:nvPr>
        </p:nvSpPr>
        <p:spPr>
          <a:xfrm>
            <a:off x="7928136" y="1986039"/>
            <a:ext cx="2864878" cy="2456948"/>
          </a:xfrm>
          <a:custGeom>
            <a:avLst/>
            <a:gdLst>
              <a:gd name="connsiteX0" fmla="*/ 614238 w 2864878"/>
              <a:gd name="connsiteY0" fmla="*/ 0 h 2456948"/>
              <a:gd name="connsiteX1" fmla="*/ 2250641 w 2864878"/>
              <a:gd name="connsiteY1" fmla="*/ 0 h 2456948"/>
              <a:gd name="connsiteX2" fmla="*/ 2864878 w 2864878"/>
              <a:gd name="connsiteY2" fmla="*/ 1228474 h 2456948"/>
              <a:gd name="connsiteX3" fmla="*/ 2250641 w 2864878"/>
              <a:gd name="connsiteY3" fmla="*/ 2456948 h 2456948"/>
              <a:gd name="connsiteX4" fmla="*/ 614238 w 2864878"/>
              <a:gd name="connsiteY4" fmla="*/ 2456948 h 2456948"/>
              <a:gd name="connsiteX5" fmla="*/ 0 w 2864878"/>
              <a:gd name="connsiteY5" fmla="*/ 1228474 h 2456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4878" h="2456948">
                <a:moveTo>
                  <a:pt x="614238" y="0"/>
                </a:moveTo>
                <a:lnTo>
                  <a:pt x="2250641" y="0"/>
                </a:lnTo>
                <a:lnTo>
                  <a:pt x="2864878" y="1228474"/>
                </a:lnTo>
                <a:lnTo>
                  <a:pt x="2250641" y="2456948"/>
                </a:lnTo>
                <a:lnTo>
                  <a:pt x="614238" y="2456948"/>
                </a:lnTo>
                <a:lnTo>
                  <a:pt x="0" y="1228474"/>
                </a:lnTo>
                <a:close/>
              </a:path>
            </a:pathLst>
          </a:custGeom>
        </p:spPr>
        <p:txBody>
          <a:bodyPr wrap="square">
            <a:noAutofit/>
          </a:bodyPr>
          <a:lstStyle/>
          <a:p>
            <a:pPr lvl="0"/>
            <a:endParaRPr lang="zh-CN" altLang="en-US" noProof="0"/>
          </a:p>
        </p:txBody>
      </p:sp>
    </p:spTree>
  </p:cSld>
  <p:clrMapOvr>
    <a:masterClrMapping/>
  </p:clrMapOvr>
  <p:transition spd="slow"/>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12" name="图片占位符 11">
            <a:extLst/>
          </p:cNvPr>
          <p:cNvSpPr>
            <a:spLocks noGrp="1"/>
          </p:cNvSpPr>
          <p:nvPr>
            <p:ph type="pic" sz="quarter" idx="10"/>
          </p:nvPr>
        </p:nvSpPr>
        <p:spPr>
          <a:xfrm>
            <a:off x="1229664" y="1955801"/>
            <a:ext cx="1641860" cy="1624794"/>
          </a:xfrm>
          <a:custGeom>
            <a:avLst/>
            <a:gdLst>
              <a:gd name="connsiteX0" fmla="*/ 820930 w 1641860"/>
              <a:gd name="connsiteY0" fmla="*/ 0 h 1624794"/>
              <a:gd name="connsiteX1" fmla="*/ 1641860 w 1641860"/>
              <a:gd name="connsiteY1" fmla="*/ 812397 h 1624794"/>
              <a:gd name="connsiteX2" fmla="*/ 820930 w 1641860"/>
              <a:gd name="connsiteY2" fmla="*/ 1624794 h 1624794"/>
              <a:gd name="connsiteX3" fmla="*/ 0 w 1641860"/>
              <a:gd name="connsiteY3" fmla="*/ 812397 h 1624794"/>
              <a:gd name="connsiteX4" fmla="*/ 820930 w 1641860"/>
              <a:gd name="connsiteY4" fmla="*/ 0 h 1624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1860" h="1624794">
                <a:moveTo>
                  <a:pt x="820930" y="0"/>
                </a:moveTo>
                <a:cubicBezTo>
                  <a:pt x="1274317" y="0"/>
                  <a:pt x="1641860" y="363723"/>
                  <a:pt x="1641860" y="812397"/>
                </a:cubicBezTo>
                <a:cubicBezTo>
                  <a:pt x="1641860" y="1261071"/>
                  <a:pt x="1274317" y="1624794"/>
                  <a:pt x="820930" y="1624794"/>
                </a:cubicBezTo>
                <a:cubicBezTo>
                  <a:pt x="367543" y="1624794"/>
                  <a:pt x="0" y="1261071"/>
                  <a:pt x="0" y="812397"/>
                </a:cubicBezTo>
                <a:cubicBezTo>
                  <a:pt x="0" y="363723"/>
                  <a:pt x="367543" y="0"/>
                  <a:pt x="820930" y="0"/>
                </a:cubicBezTo>
                <a:close/>
              </a:path>
            </a:pathLst>
          </a:custGeom>
        </p:spPr>
        <p:txBody>
          <a:bodyPr wrap="square">
            <a:noAutofit/>
          </a:bodyPr>
          <a:lstStyle/>
          <a:p>
            <a:pPr lvl="0"/>
            <a:endParaRPr lang="zh-CN" altLang="en-US" noProof="0"/>
          </a:p>
        </p:txBody>
      </p:sp>
      <p:sp>
        <p:nvSpPr>
          <p:cNvPr id="13" name="图片占位符 12">
            <a:extLst/>
          </p:cNvPr>
          <p:cNvSpPr>
            <a:spLocks noGrp="1"/>
          </p:cNvSpPr>
          <p:nvPr>
            <p:ph type="pic" sz="quarter" idx="11"/>
          </p:nvPr>
        </p:nvSpPr>
        <p:spPr>
          <a:xfrm>
            <a:off x="3841929" y="1955801"/>
            <a:ext cx="1641860" cy="1624794"/>
          </a:xfrm>
          <a:custGeom>
            <a:avLst/>
            <a:gdLst>
              <a:gd name="connsiteX0" fmla="*/ 820930 w 1641860"/>
              <a:gd name="connsiteY0" fmla="*/ 0 h 1624794"/>
              <a:gd name="connsiteX1" fmla="*/ 1641860 w 1641860"/>
              <a:gd name="connsiteY1" fmla="*/ 812397 h 1624794"/>
              <a:gd name="connsiteX2" fmla="*/ 820930 w 1641860"/>
              <a:gd name="connsiteY2" fmla="*/ 1624794 h 1624794"/>
              <a:gd name="connsiteX3" fmla="*/ 0 w 1641860"/>
              <a:gd name="connsiteY3" fmla="*/ 812397 h 1624794"/>
              <a:gd name="connsiteX4" fmla="*/ 820930 w 1641860"/>
              <a:gd name="connsiteY4" fmla="*/ 0 h 1624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1860" h="1624794">
                <a:moveTo>
                  <a:pt x="820930" y="0"/>
                </a:moveTo>
                <a:cubicBezTo>
                  <a:pt x="1274317" y="0"/>
                  <a:pt x="1641860" y="363723"/>
                  <a:pt x="1641860" y="812397"/>
                </a:cubicBezTo>
                <a:cubicBezTo>
                  <a:pt x="1641860" y="1261071"/>
                  <a:pt x="1274317" y="1624794"/>
                  <a:pt x="820930" y="1624794"/>
                </a:cubicBezTo>
                <a:cubicBezTo>
                  <a:pt x="367543" y="1624794"/>
                  <a:pt x="0" y="1261071"/>
                  <a:pt x="0" y="812397"/>
                </a:cubicBezTo>
                <a:cubicBezTo>
                  <a:pt x="0" y="363723"/>
                  <a:pt x="367543" y="0"/>
                  <a:pt x="820930" y="0"/>
                </a:cubicBezTo>
                <a:close/>
              </a:path>
            </a:pathLst>
          </a:custGeom>
        </p:spPr>
        <p:txBody>
          <a:bodyPr wrap="square">
            <a:noAutofit/>
          </a:bodyPr>
          <a:lstStyle/>
          <a:p>
            <a:pPr lvl="0"/>
            <a:endParaRPr lang="zh-CN" altLang="en-US" noProof="0"/>
          </a:p>
        </p:txBody>
      </p:sp>
      <p:sp>
        <p:nvSpPr>
          <p:cNvPr id="14" name="图片占位符 13">
            <a:extLst/>
          </p:cNvPr>
          <p:cNvSpPr>
            <a:spLocks noGrp="1"/>
          </p:cNvSpPr>
          <p:nvPr>
            <p:ph type="pic" sz="quarter" idx="12"/>
          </p:nvPr>
        </p:nvSpPr>
        <p:spPr>
          <a:xfrm>
            <a:off x="6454193" y="1955801"/>
            <a:ext cx="1641860" cy="1624794"/>
          </a:xfrm>
          <a:custGeom>
            <a:avLst/>
            <a:gdLst>
              <a:gd name="connsiteX0" fmla="*/ 820930 w 1641860"/>
              <a:gd name="connsiteY0" fmla="*/ 0 h 1624794"/>
              <a:gd name="connsiteX1" fmla="*/ 1641860 w 1641860"/>
              <a:gd name="connsiteY1" fmla="*/ 812397 h 1624794"/>
              <a:gd name="connsiteX2" fmla="*/ 820930 w 1641860"/>
              <a:gd name="connsiteY2" fmla="*/ 1624794 h 1624794"/>
              <a:gd name="connsiteX3" fmla="*/ 0 w 1641860"/>
              <a:gd name="connsiteY3" fmla="*/ 812397 h 1624794"/>
              <a:gd name="connsiteX4" fmla="*/ 820930 w 1641860"/>
              <a:gd name="connsiteY4" fmla="*/ 0 h 1624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1860" h="1624794">
                <a:moveTo>
                  <a:pt x="820930" y="0"/>
                </a:moveTo>
                <a:cubicBezTo>
                  <a:pt x="1274317" y="0"/>
                  <a:pt x="1641860" y="363723"/>
                  <a:pt x="1641860" y="812397"/>
                </a:cubicBezTo>
                <a:cubicBezTo>
                  <a:pt x="1641860" y="1261071"/>
                  <a:pt x="1274317" y="1624794"/>
                  <a:pt x="820930" y="1624794"/>
                </a:cubicBezTo>
                <a:cubicBezTo>
                  <a:pt x="367543" y="1624794"/>
                  <a:pt x="0" y="1261071"/>
                  <a:pt x="0" y="812397"/>
                </a:cubicBezTo>
                <a:cubicBezTo>
                  <a:pt x="0" y="363723"/>
                  <a:pt x="367543" y="0"/>
                  <a:pt x="820930" y="0"/>
                </a:cubicBezTo>
                <a:close/>
              </a:path>
            </a:pathLst>
          </a:custGeom>
        </p:spPr>
        <p:txBody>
          <a:bodyPr wrap="square">
            <a:noAutofit/>
          </a:bodyPr>
          <a:lstStyle/>
          <a:p>
            <a:pPr lvl="0"/>
            <a:endParaRPr lang="zh-CN" altLang="en-US" noProof="0" dirty="0"/>
          </a:p>
        </p:txBody>
      </p:sp>
      <p:sp>
        <p:nvSpPr>
          <p:cNvPr id="15" name="图片占位符 14">
            <a:extLst/>
          </p:cNvPr>
          <p:cNvSpPr>
            <a:spLocks noGrp="1"/>
          </p:cNvSpPr>
          <p:nvPr>
            <p:ph type="pic" sz="quarter" idx="13"/>
          </p:nvPr>
        </p:nvSpPr>
        <p:spPr>
          <a:xfrm>
            <a:off x="9066458" y="1955801"/>
            <a:ext cx="1641860" cy="1624794"/>
          </a:xfrm>
          <a:custGeom>
            <a:avLst/>
            <a:gdLst>
              <a:gd name="connsiteX0" fmla="*/ 820930 w 1641860"/>
              <a:gd name="connsiteY0" fmla="*/ 0 h 1624794"/>
              <a:gd name="connsiteX1" fmla="*/ 1641860 w 1641860"/>
              <a:gd name="connsiteY1" fmla="*/ 812397 h 1624794"/>
              <a:gd name="connsiteX2" fmla="*/ 820930 w 1641860"/>
              <a:gd name="connsiteY2" fmla="*/ 1624794 h 1624794"/>
              <a:gd name="connsiteX3" fmla="*/ 0 w 1641860"/>
              <a:gd name="connsiteY3" fmla="*/ 812397 h 1624794"/>
              <a:gd name="connsiteX4" fmla="*/ 820930 w 1641860"/>
              <a:gd name="connsiteY4" fmla="*/ 0 h 1624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1860" h="1624794">
                <a:moveTo>
                  <a:pt x="820930" y="0"/>
                </a:moveTo>
                <a:cubicBezTo>
                  <a:pt x="1274317" y="0"/>
                  <a:pt x="1641860" y="363723"/>
                  <a:pt x="1641860" y="812397"/>
                </a:cubicBezTo>
                <a:cubicBezTo>
                  <a:pt x="1641860" y="1261071"/>
                  <a:pt x="1274317" y="1624794"/>
                  <a:pt x="820930" y="1624794"/>
                </a:cubicBezTo>
                <a:cubicBezTo>
                  <a:pt x="367543" y="1624794"/>
                  <a:pt x="0" y="1261071"/>
                  <a:pt x="0" y="812397"/>
                </a:cubicBezTo>
                <a:cubicBezTo>
                  <a:pt x="0" y="363723"/>
                  <a:pt x="367543" y="0"/>
                  <a:pt x="820930" y="0"/>
                </a:cubicBezTo>
                <a:close/>
              </a:path>
            </a:pathLst>
          </a:custGeom>
        </p:spPr>
        <p:txBody>
          <a:bodyPr wrap="square">
            <a:noAutofit/>
          </a:bodyPr>
          <a:lstStyle/>
          <a:p>
            <a:pPr lvl="0"/>
            <a:endParaRPr lang="zh-CN" altLang="en-US" noProof="0"/>
          </a:p>
        </p:txBody>
      </p:sp>
    </p:spTree>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10" name="图片占位符 9">
            <a:extLst/>
          </p:cNvPr>
          <p:cNvSpPr>
            <a:spLocks noGrp="1"/>
          </p:cNvSpPr>
          <p:nvPr>
            <p:ph type="pic" sz="quarter" idx="10"/>
          </p:nvPr>
        </p:nvSpPr>
        <p:spPr>
          <a:xfrm>
            <a:off x="4100870" y="1641487"/>
            <a:ext cx="3708001" cy="2347284"/>
          </a:xfrm>
          <a:custGeom>
            <a:avLst/>
            <a:gdLst>
              <a:gd name="connsiteX0" fmla="*/ 0 w 3708001"/>
              <a:gd name="connsiteY0" fmla="*/ 0 h 2347284"/>
              <a:gd name="connsiteX1" fmla="*/ 3708001 w 3708001"/>
              <a:gd name="connsiteY1" fmla="*/ 0 h 2347284"/>
              <a:gd name="connsiteX2" fmla="*/ 3708001 w 3708001"/>
              <a:gd name="connsiteY2" fmla="*/ 2347284 h 2347284"/>
              <a:gd name="connsiteX3" fmla="*/ 0 w 3708001"/>
              <a:gd name="connsiteY3" fmla="*/ 2347284 h 2347284"/>
            </a:gdLst>
            <a:ahLst/>
            <a:cxnLst>
              <a:cxn ang="0">
                <a:pos x="connsiteX0" y="connsiteY0"/>
              </a:cxn>
              <a:cxn ang="0">
                <a:pos x="connsiteX1" y="connsiteY1"/>
              </a:cxn>
              <a:cxn ang="0">
                <a:pos x="connsiteX2" y="connsiteY2"/>
              </a:cxn>
              <a:cxn ang="0">
                <a:pos x="connsiteX3" y="connsiteY3"/>
              </a:cxn>
            </a:cxnLst>
            <a:rect l="l" t="t" r="r" b="b"/>
            <a:pathLst>
              <a:path w="3708001" h="2347284">
                <a:moveTo>
                  <a:pt x="0" y="0"/>
                </a:moveTo>
                <a:lnTo>
                  <a:pt x="3708001" y="0"/>
                </a:lnTo>
                <a:lnTo>
                  <a:pt x="3708001" y="2347284"/>
                </a:lnTo>
                <a:lnTo>
                  <a:pt x="0" y="2347284"/>
                </a:lnTo>
                <a:close/>
              </a:path>
            </a:pathLst>
          </a:custGeom>
        </p:spPr>
        <p:txBody>
          <a:bodyPr wrap="square">
            <a:noAutofit/>
          </a:bodyPr>
          <a:lstStyle/>
          <a:p>
            <a:pPr lvl="0"/>
            <a:endParaRPr lang="zh-CN" altLang="en-US" noProof="0"/>
          </a:p>
        </p:txBody>
      </p:sp>
      <p:sp>
        <p:nvSpPr>
          <p:cNvPr id="11" name="图片占位符 10">
            <a:extLst/>
          </p:cNvPr>
          <p:cNvSpPr>
            <a:spLocks noGrp="1"/>
          </p:cNvSpPr>
          <p:nvPr>
            <p:ph type="pic" sz="quarter" idx="11"/>
          </p:nvPr>
        </p:nvSpPr>
        <p:spPr>
          <a:xfrm>
            <a:off x="7979202" y="1641488"/>
            <a:ext cx="3323559" cy="2051173"/>
          </a:xfrm>
          <a:custGeom>
            <a:avLst/>
            <a:gdLst>
              <a:gd name="connsiteX0" fmla="*/ 0 w 3323559"/>
              <a:gd name="connsiteY0" fmla="*/ 0 h 2051173"/>
              <a:gd name="connsiteX1" fmla="*/ 3323559 w 3323559"/>
              <a:gd name="connsiteY1" fmla="*/ 0 h 2051173"/>
              <a:gd name="connsiteX2" fmla="*/ 3323559 w 3323559"/>
              <a:gd name="connsiteY2" fmla="*/ 2051173 h 2051173"/>
              <a:gd name="connsiteX3" fmla="*/ 0 w 3323559"/>
              <a:gd name="connsiteY3" fmla="*/ 2051173 h 2051173"/>
            </a:gdLst>
            <a:ahLst/>
            <a:cxnLst>
              <a:cxn ang="0">
                <a:pos x="connsiteX0" y="connsiteY0"/>
              </a:cxn>
              <a:cxn ang="0">
                <a:pos x="connsiteX1" y="connsiteY1"/>
              </a:cxn>
              <a:cxn ang="0">
                <a:pos x="connsiteX2" y="connsiteY2"/>
              </a:cxn>
              <a:cxn ang="0">
                <a:pos x="connsiteX3" y="connsiteY3"/>
              </a:cxn>
            </a:cxnLst>
            <a:rect l="l" t="t" r="r" b="b"/>
            <a:pathLst>
              <a:path w="3323559" h="2051173">
                <a:moveTo>
                  <a:pt x="0" y="0"/>
                </a:moveTo>
                <a:lnTo>
                  <a:pt x="3323559" y="0"/>
                </a:lnTo>
                <a:lnTo>
                  <a:pt x="3323559" y="2051173"/>
                </a:lnTo>
                <a:lnTo>
                  <a:pt x="0" y="2051173"/>
                </a:lnTo>
                <a:close/>
              </a:path>
            </a:pathLst>
          </a:custGeom>
        </p:spPr>
        <p:txBody>
          <a:bodyPr wrap="square">
            <a:noAutofit/>
          </a:bodyPr>
          <a:lstStyle/>
          <a:p>
            <a:pPr lvl="0"/>
            <a:endParaRPr lang="zh-CN" altLang="en-US" noProof="0"/>
          </a:p>
        </p:txBody>
      </p:sp>
      <p:sp>
        <p:nvSpPr>
          <p:cNvPr id="12" name="图片占位符 11">
            <a:extLst/>
          </p:cNvPr>
          <p:cNvSpPr>
            <a:spLocks noGrp="1"/>
          </p:cNvSpPr>
          <p:nvPr>
            <p:ph type="pic" sz="quarter" idx="12"/>
          </p:nvPr>
        </p:nvSpPr>
        <p:spPr>
          <a:xfrm>
            <a:off x="874714" y="4172231"/>
            <a:ext cx="6934157" cy="1765008"/>
          </a:xfrm>
          <a:custGeom>
            <a:avLst/>
            <a:gdLst>
              <a:gd name="connsiteX0" fmla="*/ 0 w 6934157"/>
              <a:gd name="connsiteY0" fmla="*/ 0 h 1765008"/>
              <a:gd name="connsiteX1" fmla="*/ 6934157 w 6934157"/>
              <a:gd name="connsiteY1" fmla="*/ 0 h 1765008"/>
              <a:gd name="connsiteX2" fmla="*/ 6934157 w 6934157"/>
              <a:gd name="connsiteY2" fmla="*/ 1765008 h 1765008"/>
              <a:gd name="connsiteX3" fmla="*/ 0 w 6934157"/>
              <a:gd name="connsiteY3" fmla="*/ 1765008 h 1765008"/>
            </a:gdLst>
            <a:ahLst/>
            <a:cxnLst>
              <a:cxn ang="0">
                <a:pos x="connsiteX0" y="connsiteY0"/>
              </a:cxn>
              <a:cxn ang="0">
                <a:pos x="connsiteX1" y="connsiteY1"/>
              </a:cxn>
              <a:cxn ang="0">
                <a:pos x="connsiteX2" y="connsiteY2"/>
              </a:cxn>
              <a:cxn ang="0">
                <a:pos x="connsiteX3" y="connsiteY3"/>
              </a:cxn>
            </a:cxnLst>
            <a:rect l="l" t="t" r="r" b="b"/>
            <a:pathLst>
              <a:path w="6934157" h="1765008">
                <a:moveTo>
                  <a:pt x="0" y="0"/>
                </a:moveTo>
                <a:lnTo>
                  <a:pt x="6934157" y="0"/>
                </a:lnTo>
                <a:lnTo>
                  <a:pt x="6934157" y="1765008"/>
                </a:lnTo>
                <a:lnTo>
                  <a:pt x="0" y="1765008"/>
                </a:lnTo>
                <a:close/>
              </a:path>
            </a:pathLst>
          </a:custGeom>
        </p:spPr>
        <p:txBody>
          <a:bodyPr wrap="square">
            <a:noAutofit/>
          </a:bodyPr>
          <a:lstStyle/>
          <a:p>
            <a:pPr lvl="0"/>
            <a:endParaRPr lang="zh-CN" altLang="en-US" noProof="0"/>
          </a:p>
        </p:txBody>
      </p:sp>
    </p:spTree>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9" name="图片占位符 8">
            <a:extLst/>
          </p:cNvPr>
          <p:cNvSpPr>
            <a:spLocks noGrp="1"/>
          </p:cNvSpPr>
          <p:nvPr>
            <p:ph type="pic" sz="quarter" idx="10"/>
          </p:nvPr>
        </p:nvSpPr>
        <p:spPr>
          <a:xfrm>
            <a:off x="3980161" y="3662277"/>
            <a:ext cx="4496750" cy="1752641"/>
          </a:xfrm>
          <a:custGeom>
            <a:avLst/>
            <a:gdLst>
              <a:gd name="connsiteX0" fmla="*/ 2864411 w 4496750"/>
              <a:gd name="connsiteY0" fmla="*/ 0 h 1752641"/>
              <a:gd name="connsiteX1" fmla="*/ 4496750 w 4496750"/>
              <a:gd name="connsiteY1" fmla="*/ 633131 h 1752641"/>
              <a:gd name="connsiteX2" fmla="*/ 1632339 w 4496750"/>
              <a:gd name="connsiteY2" fmla="*/ 1752641 h 1752641"/>
              <a:gd name="connsiteX3" fmla="*/ 0 w 4496750"/>
              <a:gd name="connsiteY3" fmla="*/ 1119510 h 1752641"/>
            </a:gdLst>
            <a:ahLst/>
            <a:cxnLst>
              <a:cxn ang="0">
                <a:pos x="connsiteX0" y="connsiteY0"/>
              </a:cxn>
              <a:cxn ang="0">
                <a:pos x="connsiteX1" y="connsiteY1"/>
              </a:cxn>
              <a:cxn ang="0">
                <a:pos x="connsiteX2" y="connsiteY2"/>
              </a:cxn>
              <a:cxn ang="0">
                <a:pos x="connsiteX3" y="connsiteY3"/>
              </a:cxn>
            </a:cxnLst>
            <a:rect l="l" t="t" r="r" b="b"/>
            <a:pathLst>
              <a:path w="4496750" h="1752641">
                <a:moveTo>
                  <a:pt x="2864411" y="0"/>
                </a:moveTo>
                <a:lnTo>
                  <a:pt x="4496750" y="633131"/>
                </a:lnTo>
                <a:lnTo>
                  <a:pt x="1632339" y="1752641"/>
                </a:lnTo>
                <a:lnTo>
                  <a:pt x="0" y="1119510"/>
                </a:lnTo>
                <a:close/>
              </a:path>
            </a:pathLst>
          </a:custGeom>
        </p:spPr>
        <p:txBody>
          <a:bodyPr wrap="square">
            <a:noAutofit/>
          </a:bodyPr>
          <a:lstStyle/>
          <a:p>
            <a:pPr lvl="0"/>
            <a:endParaRPr lang="zh-CN" altLang="en-US" noProof="0"/>
          </a:p>
        </p:txBody>
      </p:sp>
      <p:sp>
        <p:nvSpPr>
          <p:cNvPr id="8" name="图片占位符 7">
            <a:extLst/>
          </p:cNvPr>
          <p:cNvSpPr>
            <a:spLocks noGrp="1"/>
          </p:cNvSpPr>
          <p:nvPr>
            <p:ph type="pic" sz="quarter" idx="11"/>
          </p:nvPr>
        </p:nvSpPr>
        <p:spPr>
          <a:xfrm>
            <a:off x="4057739" y="3351144"/>
            <a:ext cx="4496750" cy="1752641"/>
          </a:xfrm>
          <a:custGeom>
            <a:avLst/>
            <a:gdLst>
              <a:gd name="connsiteX0" fmla="*/ 2864411 w 4496750"/>
              <a:gd name="connsiteY0" fmla="*/ 0 h 1752641"/>
              <a:gd name="connsiteX1" fmla="*/ 4496750 w 4496750"/>
              <a:gd name="connsiteY1" fmla="*/ 633131 h 1752641"/>
              <a:gd name="connsiteX2" fmla="*/ 1632339 w 4496750"/>
              <a:gd name="connsiteY2" fmla="*/ 1752641 h 1752641"/>
              <a:gd name="connsiteX3" fmla="*/ 0 w 4496750"/>
              <a:gd name="connsiteY3" fmla="*/ 1119510 h 1752641"/>
            </a:gdLst>
            <a:ahLst/>
            <a:cxnLst>
              <a:cxn ang="0">
                <a:pos x="connsiteX0" y="connsiteY0"/>
              </a:cxn>
              <a:cxn ang="0">
                <a:pos x="connsiteX1" y="connsiteY1"/>
              </a:cxn>
              <a:cxn ang="0">
                <a:pos x="connsiteX2" y="connsiteY2"/>
              </a:cxn>
              <a:cxn ang="0">
                <a:pos x="connsiteX3" y="connsiteY3"/>
              </a:cxn>
            </a:cxnLst>
            <a:rect l="l" t="t" r="r" b="b"/>
            <a:pathLst>
              <a:path w="4496750" h="1752641">
                <a:moveTo>
                  <a:pt x="2864411" y="0"/>
                </a:moveTo>
                <a:lnTo>
                  <a:pt x="4496750" y="633131"/>
                </a:lnTo>
                <a:lnTo>
                  <a:pt x="1632339" y="1752641"/>
                </a:lnTo>
                <a:lnTo>
                  <a:pt x="0" y="1119510"/>
                </a:lnTo>
                <a:close/>
              </a:path>
            </a:pathLst>
          </a:custGeom>
        </p:spPr>
        <p:txBody>
          <a:bodyPr wrap="square">
            <a:noAutofit/>
          </a:bodyPr>
          <a:lstStyle/>
          <a:p>
            <a:pPr lvl="0"/>
            <a:endParaRPr lang="zh-CN" altLang="en-US" noProof="0"/>
          </a:p>
        </p:txBody>
      </p:sp>
    </p:spTree>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3_标题幻灯片">
    <p:spTree>
      <p:nvGrpSpPr>
        <p:cNvPr id="1" name=""/>
        <p:cNvGrpSpPr/>
        <p:nvPr/>
      </p:nvGrpSpPr>
      <p:grpSpPr>
        <a:xfrm>
          <a:off x="0" y="0"/>
          <a:ext cx="0" cy="0"/>
          <a:chOff x="0" y="0"/>
          <a:chExt cx="0" cy="0"/>
        </a:xfrm>
      </p:grpSpPr>
      <p:sp>
        <p:nvSpPr>
          <p:cNvPr id="2" name="矩形 1">
            <a:extLst/>
          </p:cNvPr>
          <p:cNvSpPr/>
          <p:nvPr userDrawn="1"/>
        </p:nvSpPr>
        <p:spPr>
          <a:xfrm>
            <a:off x="0" y="6786563"/>
            <a:ext cx="12192000" cy="79375"/>
          </a:xfrm>
          <a:prstGeom prst="rect">
            <a:avLst/>
          </a:prstGeom>
          <a:solidFill>
            <a:srgbClr val="152E5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3" name="菱形 2">
            <a:extLst/>
          </p:cNvPr>
          <p:cNvSpPr/>
          <p:nvPr userDrawn="1"/>
        </p:nvSpPr>
        <p:spPr>
          <a:xfrm>
            <a:off x="454025" y="339725"/>
            <a:ext cx="334963" cy="334963"/>
          </a:xfrm>
          <a:prstGeom prst="diamond">
            <a:avLst/>
          </a:prstGeom>
          <a:solidFill>
            <a:schemeClr val="accent1">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 name="菱形 3">
            <a:extLst/>
          </p:cNvPr>
          <p:cNvSpPr/>
          <p:nvPr userDrawn="1"/>
        </p:nvSpPr>
        <p:spPr>
          <a:xfrm>
            <a:off x="0" y="152400"/>
            <a:ext cx="622300" cy="622300"/>
          </a:xfrm>
          <a:prstGeom prst="diamond">
            <a:avLst/>
          </a:prstGeom>
          <a:solidFill>
            <a:schemeClr val="accent1">
              <a:lumMod val="60000"/>
              <a:lumOff val="4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pic>
        <p:nvPicPr>
          <p:cNvPr id="5" name="Picture 2" descr="C:\Documents and Settings\Administrator\桌面\图形10.png"/>
          <p:cNvPicPr>
            <a:picLocks noChangeAspect="1" noChangeArrowheads="1"/>
          </p:cNvPicPr>
          <p:nvPr userDrawn="1"/>
        </p:nvPicPr>
        <p:blipFill>
          <a:blip r:embed="rId2"/>
          <a:srcRect/>
          <a:stretch>
            <a:fillRect/>
          </a:stretch>
        </p:blipFill>
        <p:spPr bwMode="auto">
          <a:xfrm>
            <a:off x="0" y="728663"/>
            <a:ext cx="12192000" cy="122237"/>
          </a:xfrm>
          <a:prstGeom prst="rect">
            <a:avLst/>
          </a:prstGeom>
          <a:noFill/>
          <a:ln w="9525">
            <a:noFill/>
            <a:miter lim="800000"/>
            <a:headEnd/>
            <a:tailEnd/>
          </a:ln>
        </p:spPr>
      </p:pic>
      <p:sp>
        <p:nvSpPr>
          <p:cNvPr id="6" name="矩形 5"/>
          <p:cNvSpPr>
            <a:spLocks noChangeArrowheads="1"/>
          </p:cNvSpPr>
          <p:nvPr userDrawn="1"/>
        </p:nvSpPr>
        <p:spPr bwMode="auto">
          <a:xfrm>
            <a:off x="9971088" y="96838"/>
            <a:ext cx="1998662" cy="338137"/>
          </a:xfrm>
          <a:prstGeom prst="rect">
            <a:avLst/>
          </a:prstGeom>
          <a:noFill/>
          <a:ln>
            <a:noFill/>
          </a:ln>
          <a:extLst/>
        </p:spPr>
        <p:txBody>
          <a:bodyPr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defRPr/>
            </a:pPr>
            <a:r>
              <a:rPr lang="zh-CN" altLang="en-US" sz="1600" dirty="0"/>
              <a:t>因为执着   所以卓越</a:t>
            </a:r>
          </a:p>
        </p:txBody>
      </p:sp>
      <p:sp>
        <p:nvSpPr>
          <p:cNvPr id="7" name="矩形 6"/>
          <p:cNvSpPr>
            <a:spLocks noChangeArrowheads="1"/>
          </p:cNvSpPr>
          <p:nvPr userDrawn="1"/>
        </p:nvSpPr>
        <p:spPr bwMode="auto">
          <a:xfrm>
            <a:off x="7985125" y="311150"/>
            <a:ext cx="3971925" cy="303213"/>
          </a:xfrm>
          <a:prstGeom prst="rect">
            <a:avLst/>
          </a:prstGeom>
          <a:noFill/>
          <a:ln>
            <a:noFill/>
          </a:ln>
          <a:extLst/>
        </p:spPr>
        <p:txBody>
          <a:bodyPr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r">
              <a:lnSpc>
                <a:spcPct val="114000"/>
              </a:lnSpc>
              <a:defRPr/>
            </a:pPr>
            <a:r>
              <a:rPr lang="en-US" altLang="zh-CN" sz="1200" dirty="0">
                <a:solidFill>
                  <a:srgbClr val="7F7F7F"/>
                </a:solidFill>
                <a:latin typeface="微软雅黑" panose="020B0503020204020204" pitchFamily="34" charset="-122"/>
              </a:rPr>
              <a:t>We strive to achieve excellence through persistence</a:t>
            </a:r>
          </a:p>
        </p:txBody>
      </p:sp>
    </p:spTree>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
        <p:nvSpPr>
          <p:cNvPr id="15" name="图片占位符 14">
            <a:extLst/>
          </p:cNvPr>
          <p:cNvSpPr>
            <a:spLocks noGrp="1"/>
          </p:cNvSpPr>
          <p:nvPr>
            <p:ph type="pic" sz="quarter" idx="10"/>
          </p:nvPr>
        </p:nvSpPr>
        <p:spPr>
          <a:xfrm>
            <a:off x="3261138" y="-7830"/>
            <a:ext cx="8944218" cy="6865831"/>
          </a:xfrm>
          <a:custGeom>
            <a:avLst/>
            <a:gdLst>
              <a:gd name="connsiteX0" fmla="*/ 17770 w 8944218"/>
              <a:gd name="connsiteY0" fmla="*/ 0 h 6865831"/>
              <a:gd name="connsiteX1" fmla="*/ 4931600 w 8944218"/>
              <a:gd name="connsiteY1" fmla="*/ 0 h 6865831"/>
              <a:gd name="connsiteX2" fmla="*/ 4938378 w 8944218"/>
              <a:gd name="connsiteY2" fmla="*/ 6778 h 6865831"/>
              <a:gd name="connsiteX3" fmla="*/ 4939431 w 8944218"/>
              <a:gd name="connsiteY3" fmla="*/ 5724 h 6865831"/>
              <a:gd name="connsiteX4" fmla="*/ 4940097 w 8944218"/>
              <a:gd name="connsiteY4" fmla="*/ 6390 h 6865831"/>
              <a:gd name="connsiteX5" fmla="*/ 4946486 w 8944218"/>
              <a:gd name="connsiteY5" fmla="*/ 0 h 6865831"/>
              <a:gd name="connsiteX6" fmla="*/ 8944218 w 8944218"/>
              <a:gd name="connsiteY6" fmla="*/ 0 h 6865831"/>
              <a:gd name="connsiteX7" fmla="*/ 8944218 w 8944218"/>
              <a:gd name="connsiteY7" fmla="*/ 938217 h 6865831"/>
              <a:gd name="connsiteX8" fmla="*/ 8944218 w 8944218"/>
              <a:gd name="connsiteY8" fmla="*/ 951638 h 6865831"/>
              <a:gd name="connsiteX9" fmla="*/ 8944218 w 8944218"/>
              <a:gd name="connsiteY9" fmla="*/ 4018388 h 6865831"/>
              <a:gd name="connsiteX10" fmla="*/ 8944217 w 8944218"/>
              <a:gd name="connsiteY10" fmla="*/ 4018387 h 6865831"/>
              <a:gd name="connsiteX11" fmla="*/ 8944217 w 8944218"/>
              <a:gd name="connsiteY11" fmla="*/ 5877695 h 6865831"/>
              <a:gd name="connsiteX12" fmla="*/ 7956081 w 8944218"/>
              <a:gd name="connsiteY12" fmla="*/ 6865831 h 6865831"/>
              <a:gd name="connsiteX13" fmla="*/ 6852273 w 8944218"/>
              <a:gd name="connsiteY13" fmla="*/ 6865831 h 6865831"/>
              <a:gd name="connsiteX14" fmla="*/ 4940484 w 8944218"/>
              <a:gd name="connsiteY14" fmla="*/ 4954043 h 6865831"/>
              <a:gd name="connsiteX15" fmla="*/ 4939431 w 8944218"/>
              <a:gd name="connsiteY15" fmla="*/ 4955095 h 6865831"/>
              <a:gd name="connsiteX16" fmla="*/ 2475739 w 8944218"/>
              <a:gd name="connsiteY16" fmla="*/ 2491403 h 6865831"/>
              <a:gd name="connsiteX17" fmla="*/ 2474685 w 8944218"/>
              <a:gd name="connsiteY17" fmla="*/ 2492455 h 6865831"/>
              <a:gd name="connsiteX18" fmla="*/ 0 w 8944218"/>
              <a:gd name="connsiteY18" fmla="*/ 17770 h 6865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44218" h="6865831">
                <a:moveTo>
                  <a:pt x="17770" y="0"/>
                </a:moveTo>
                <a:lnTo>
                  <a:pt x="4931600" y="0"/>
                </a:lnTo>
                <a:lnTo>
                  <a:pt x="4938378" y="6778"/>
                </a:lnTo>
                <a:lnTo>
                  <a:pt x="4939431" y="5724"/>
                </a:lnTo>
                <a:lnTo>
                  <a:pt x="4940097" y="6390"/>
                </a:lnTo>
                <a:lnTo>
                  <a:pt x="4946486" y="0"/>
                </a:lnTo>
                <a:lnTo>
                  <a:pt x="8944218" y="0"/>
                </a:lnTo>
                <a:lnTo>
                  <a:pt x="8944218" y="938217"/>
                </a:lnTo>
                <a:lnTo>
                  <a:pt x="8944218" y="951638"/>
                </a:lnTo>
                <a:lnTo>
                  <a:pt x="8944218" y="4018388"/>
                </a:lnTo>
                <a:lnTo>
                  <a:pt x="8944217" y="4018387"/>
                </a:lnTo>
                <a:lnTo>
                  <a:pt x="8944217" y="5877695"/>
                </a:lnTo>
                <a:lnTo>
                  <a:pt x="7956081" y="6865831"/>
                </a:lnTo>
                <a:lnTo>
                  <a:pt x="6852273" y="6865831"/>
                </a:lnTo>
                <a:lnTo>
                  <a:pt x="4940484" y="4954043"/>
                </a:lnTo>
                <a:lnTo>
                  <a:pt x="4939431" y="4955095"/>
                </a:lnTo>
                <a:lnTo>
                  <a:pt x="2475739" y="2491403"/>
                </a:lnTo>
                <a:lnTo>
                  <a:pt x="2474685" y="2492455"/>
                </a:lnTo>
                <a:lnTo>
                  <a:pt x="0" y="17770"/>
                </a:lnTo>
                <a:close/>
              </a:path>
            </a:pathLst>
          </a:custGeom>
        </p:spPr>
        <p:txBody>
          <a:bodyPr wrap="square">
            <a:noAutofit/>
          </a:bodyPr>
          <a:lstStyle/>
          <a:p>
            <a:pPr lvl="0"/>
            <a:endParaRPr lang="zh-CN" altLang="en-US" noProof="0"/>
          </a:p>
        </p:txBody>
      </p:sp>
    </p:spTree>
  </p:cSld>
  <p:clrMapOvr>
    <a:masterClrMapping/>
  </p:clrMapOvr>
  <p:transition spd="slow"/>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spTree>
      <p:nvGrpSpPr>
        <p:cNvPr id="1" name=""/>
        <p:cNvGrpSpPr/>
        <p:nvPr/>
      </p:nvGrpSpPr>
      <p:grpSpPr>
        <a:xfrm>
          <a:off x="0" y="0"/>
          <a:ext cx="0" cy="0"/>
          <a:chOff x="0" y="0"/>
          <a:chExt cx="0" cy="0"/>
        </a:xfrm>
      </p:grpSpPr>
      <p:sp>
        <p:nvSpPr>
          <p:cNvPr id="2" name="矩形 1">
            <a:extLst/>
          </p:cNvPr>
          <p:cNvSpPr/>
          <p:nvPr userDrawn="1"/>
        </p:nvSpPr>
        <p:spPr>
          <a:xfrm>
            <a:off x="0" y="0"/>
            <a:ext cx="12192000" cy="79375"/>
          </a:xfrm>
          <a:prstGeom prst="rect">
            <a:avLst/>
          </a:prstGeom>
          <a:solidFill>
            <a:srgbClr val="152E5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3" name="菱形 2">
            <a:extLst/>
          </p:cNvPr>
          <p:cNvSpPr/>
          <p:nvPr userDrawn="1"/>
        </p:nvSpPr>
        <p:spPr>
          <a:xfrm>
            <a:off x="892175" y="622300"/>
            <a:ext cx="334963" cy="334963"/>
          </a:xfrm>
          <a:prstGeom prst="diamond">
            <a:avLst/>
          </a:prstGeom>
          <a:solidFill>
            <a:schemeClr val="accent1">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 name="任意多边形: 形状 8">
            <a:extLst/>
          </p:cNvPr>
          <p:cNvSpPr/>
          <p:nvPr userDrawn="1"/>
        </p:nvSpPr>
        <p:spPr>
          <a:xfrm>
            <a:off x="53975" y="0"/>
            <a:ext cx="1676400" cy="914400"/>
          </a:xfrm>
          <a:custGeom>
            <a:avLst/>
            <a:gdLst>
              <a:gd name="connsiteX0" fmla="*/ 76200 w 1676402"/>
              <a:gd name="connsiteY0" fmla="*/ 0 h 914401"/>
              <a:gd name="connsiteX1" fmla="*/ 1600202 w 1676402"/>
              <a:gd name="connsiteY1" fmla="*/ 0 h 914401"/>
              <a:gd name="connsiteX2" fmla="*/ 1676402 w 1676402"/>
              <a:gd name="connsiteY2" fmla="*/ 76200 h 914401"/>
              <a:gd name="connsiteX3" fmla="*/ 838201 w 1676402"/>
              <a:gd name="connsiteY3" fmla="*/ 914401 h 914401"/>
              <a:gd name="connsiteX4" fmla="*/ 0 w 1676402"/>
              <a:gd name="connsiteY4" fmla="*/ 76200 h 914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6402" h="914401">
                <a:moveTo>
                  <a:pt x="76200" y="0"/>
                </a:moveTo>
                <a:lnTo>
                  <a:pt x="1600202" y="0"/>
                </a:lnTo>
                <a:lnTo>
                  <a:pt x="1676402" y="76200"/>
                </a:lnTo>
                <a:lnTo>
                  <a:pt x="838201" y="914401"/>
                </a:lnTo>
                <a:lnTo>
                  <a:pt x="0" y="762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5" name="菱形 4">
            <a:extLst/>
          </p:cNvPr>
          <p:cNvSpPr/>
          <p:nvPr userDrawn="1"/>
        </p:nvSpPr>
        <p:spPr>
          <a:xfrm>
            <a:off x="53975" y="222250"/>
            <a:ext cx="622300" cy="622300"/>
          </a:xfrm>
          <a:prstGeom prst="diamond">
            <a:avLst/>
          </a:prstGeom>
          <a:solidFill>
            <a:schemeClr val="accent1">
              <a:lumMod val="60000"/>
              <a:lumOff val="4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6" name="TextBox 5"/>
          <p:cNvSpPr txBox="1"/>
          <p:nvPr userDrawn="1"/>
        </p:nvSpPr>
        <p:spPr>
          <a:xfrm>
            <a:off x="1762125" y="87313"/>
            <a:ext cx="3990975" cy="6778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0" hangingPunct="0">
              <a:defRPr/>
            </a:pPr>
            <a:r>
              <a:rPr lang="zh-CN" altLang="en-US">
                <a:solidFill>
                  <a:schemeClr val="bg1"/>
                </a:solidFill>
              </a:rPr>
              <a:t> </a:t>
            </a:r>
          </a:p>
        </p:txBody>
      </p:sp>
      <p:sp>
        <p:nvSpPr>
          <p:cNvPr id="7" name="矩形 6"/>
          <p:cNvSpPr/>
          <p:nvPr userDrawn="1"/>
        </p:nvSpPr>
        <p:spPr>
          <a:xfrm>
            <a:off x="1081088" y="795338"/>
            <a:ext cx="4672012" cy="46037"/>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8" name="直角三角形 7"/>
          <p:cNvSpPr/>
          <p:nvPr userDrawn="1"/>
        </p:nvSpPr>
        <p:spPr>
          <a:xfrm flipH="1">
            <a:off x="1081088" y="87313"/>
            <a:ext cx="681037" cy="677862"/>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pic>
        <p:nvPicPr>
          <p:cNvPr id="9" name="Picture 2" descr="C:\Documents and Settings\Administrator\桌面\图形10.png"/>
          <p:cNvPicPr>
            <a:picLocks noChangeAspect="1" noChangeArrowheads="1"/>
          </p:cNvPicPr>
          <p:nvPr userDrawn="1"/>
        </p:nvPicPr>
        <p:blipFill>
          <a:blip r:embed="rId2"/>
          <a:srcRect/>
          <a:stretch>
            <a:fillRect/>
          </a:stretch>
        </p:blipFill>
        <p:spPr bwMode="auto">
          <a:xfrm>
            <a:off x="0" y="6735763"/>
            <a:ext cx="12192000" cy="122237"/>
          </a:xfrm>
          <a:prstGeom prst="rect">
            <a:avLst/>
          </a:prstGeom>
          <a:noFill/>
          <a:ln w="9525">
            <a:noFill/>
            <a:miter lim="800000"/>
            <a:headEnd/>
            <a:tailEnd/>
          </a:ln>
        </p:spPr>
      </p:pic>
    </p:spTree>
  </p:cSld>
  <p:clrMapOvr>
    <a:masterClrMapping/>
  </p:clrMapOvr>
  <p:transition spd="slow"/>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标题幻灯片">
    <p:spTree>
      <p:nvGrpSpPr>
        <p:cNvPr id="1" name=""/>
        <p:cNvGrpSpPr/>
        <p:nvPr/>
      </p:nvGrpSpPr>
      <p:grpSpPr>
        <a:xfrm>
          <a:off x="0" y="0"/>
          <a:ext cx="0" cy="0"/>
          <a:chOff x="0" y="0"/>
          <a:chExt cx="0" cy="0"/>
        </a:xfrm>
      </p:grpSpPr>
      <p:sp>
        <p:nvSpPr>
          <p:cNvPr id="2" name="矩形 1">
            <a:extLst/>
          </p:cNvPr>
          <p:cNvSpPr/>
          <p:nvPr userDrawn="1"/>
        </p:nvSpPr>
        <p:spPr>
          <a:xfrm>
            <a:off x="0" y="0"/>
            <a:ext cx="12192000" cy="79375"/>
          </a:xfrm>
          <a:prstGeom prst="rect">
            <a:avLst/>
          </a:prstGeom>
          <a:solidFill>
            <a:srgbClr val="152E5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3" name="菱形 2">
            <a:extLst/>
          </p:cNvPr>
          <p:cNvSpPr/>
          <p:nvPr userDrawn="1"/>
        </p:nvSpPr>
        <p:spPr>
          <a:xfrm>
            <a:off x="10623550" y="598488"/>
            <a:ext cx="334963" cy="334962"/>
          </a:xfrm>
          <a:prstGeom prst="diamond">
            <a:avLst/>
          </a:prstGeom>
          <a:solidFill>
            <a:schemeClr val="accent1">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 name="任意多边形: 形状 8">
            <a:extLst/>
          </p:cNvPr>
          <p:cNvSpPr/>
          <p:nvPr userDrawn="1"/>
        </p:nvSpPr>
        <p:spPr>
          <a:xfrm>
            <a:off x="10120313" y="0"/>
            <a:ext cx="1676400" cy="914400"/>
          </a:xfrm>
          <a:custGeom>
            <a:avLst/>
            <a:gdLst>
              <a:gd name="connsiteX0" fmla="*/ 76200 w 1676402"/>
              <a:gd name="connsiteY0" fmla="*/ 0 h 914401"/>
              <a:gd name="connsiteX1" fmla="*/ 1600202 w 1676402"/>
              <a:gd name="connsiteY1" fmla="*/ 0 h 914401"/>
              <a:gd name="connsiteX2" fmla="*/ 1676402 w 1676402"/>
              <a:gd name="connsiteY2" fmla="*/ 76200 h 914401"/>
              <a:gd name="connsiteX3" fmla="*/ 838201 w 1676402"/>
              <a:gd name="connsiteY3" fmla="*/ 914401 h 914401"/>
              <a:gd name="connsiteX4" fmla="*/ 0 w 1676402"/>
              <a:gd name="connsiteY4" fmla="*/ 76200 h 914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6402" h="914401">
                <a:moveTo>
                  <a:pt x="76200" y="0"/>
                </a:moveTo>
                <a:lnTo>
                  <a:pt x="1600202" y="0"/>
                </a:lnTo>
                <a:lnTo>
                  <a:pt x="1676402" y="76200"/>
                </a:lnTo>
                <a:lnTo>
                  <a:pt x="838201" y="914401"/>
                </a:lnTo>
                <a:lnTo>
                  <a:pt x="0" y="762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5" name="菱形 4">
            <a:extLst/>
          </p:cNvPr>
          <p:cNvSpPr/>
          <p:nvPr userDrawn="1"/>
        </p:nvSpPr>
        <p:spPr>
          <a:xfrm>
            <a:off x="11126788" y="222250"/>
            <a:ext cx="622300" cy="622300"/>
          </a:xfrm>
          <a:prstGeom prst="diamond">
            <a:avLst/>
          </a:prstGeom>
          <a:solidFill>
            <a:schemeClr val="accent1">
              <a:lumMod val="60000"/>
              <a:lumOff val="4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6" name="TextBox 5"/>
          <p:cNvSpPr txBox="1"/>
          <p:nvPr userDrawn="1"/>
        </p:nvSpPr>
        <p:spPr>
          <a:xfrm>
            <a:off x="6127750" y="79375"/>
            <a:ext cx="3992563" cy="6778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0" hangingPunct="0">
              <a:defRPr/>
            </a:pPr>
            <a:r>
              <a:rPr lang="zh-CN" altLang="en-US">
                <a:solidFill>
                  <a:schemeClr val="bg1"/>
                </a:solidFill>
              </a:rPr>
              <a:t> </a:t>
            </a:r>
          </a:p>
        </p:txBody>
      </p:sp>
      <p:sp>
        <p:nvSpPr>
          <p:cNvPr id="7" name="矩形 6"/>
          <p:cNvSpPr/>
          <p:nvPr userDrawn="1"/>
        </p:nvSpPr>
        <p:spPr>
          <a:xfrm>
            <a:off x="6127750" y="788988"/>
            <a:ext cx="4673600" cy="44450"/>
          </a:xfrm>
          <a:prstGeom prst="rect">
            <a:avLst/>
          </a:prstGeom>
          <a:solidFill>
            <a:schemeClr val="accent2">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8" name="直角三角形 7"/>
          <p:cNvSpPr/>
          <p:nvPr userDrawn="1"/>
        </p:nvSpPr>
        <p:spPr>
          <a:xfrm rot="5400000" flipH="1">
            <a:off x="10079038" y="77787"/>
            <a:ext cx="681038" cy="677863"/>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pic>
        <p:nvPicPr>
          <p:cNvPr id="9" name="Picture 2" descr="C:\Documents and Settings\Administrator\桌面\图形10.png"/>
          <p:cNvPicPr>
            <a:picLocks noChangeAspect="1" noChangeArrowheads="1"/>
          </p:cNvPicPr>
          <p:nvPr userDrawn="1"/>
        </p:nvPicPr>
        <p:blipFill>
          <a:blip r:embed="rId2"/>
          <a:srcRect/>
          <a:stretch>
            <a:fillRect/>
          </a:stretch>
        </p:blipFill>
        <p:spPr bwMode="auto">
          <a:xfrm>
            <a:off x="0" y="6735763"/>
            <a:ext cx="12192000" cy="122237"/>
          </a:xfrm>
          <a:prstGeom prst="rect">
            <a:avLst/>
          </a:prstGeom>
          <a:noFill/>
          <a:ln w="9525">
            <a:noFill/>
            <a:miter lim="800000"/>
            <a:headEnd/>
            <a:tailEnd/>
          </a:ln>
        </p:spPr>
      </p:pic>
    </p:spTree>
  </p:cSld>
  <p:clrMapOvr>
    <a:masterClrMapping/>
  </p:clrMapOvr>
  <p:transition spd="slow"/>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3_标题幻灯片">
    <p:spTree>
      <p:nvGrpSpPr>
        <p:cNvPr id="1" name=""/>
        <p:cNvGrpSpPr/>
        <p:nvPr/>
      </p:nvGrpSpPr>
      <p:grpSpPr>
        <a:xfrm>
          <a:off x="0" y="0"/>
          <a:ext cx="0" cy="0"/>
          <a:chOff x="0" y="0"/>
          <a:chExt cx="0" cy="0"/>
        </a:xfrm>
      </p:grpSpPr>
      <p:sp>
        <p:nvSpPr>
          <p:cNvPr id="2" name="矩形 1">
            <a:extLst/>
          </p:cNvPr>
          <p:cNvSpPr/>
          <p:nvPr userDrawn="1"/>
        </p:nvSpPr>
        <p:spPr>
          <a:xfrm>
            <a:off x="0" y="6786563"/>
            <a:ext cx="12192000" cy="79375"/>
          </a:xfrm>
          <a:prstGeom prst="rect">
            <a:avLst/>
          </a:prstGeom>
          <a:solidFill>
            <a:srgbClr val="152E5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3" name="菱形 2">
            <a:extLst/>
          </p:cNvPr>
          <p:cNvSpPr/>
          <p:nvPr userDrawn="1"/>
        </p:nvSpPr>
        <p:spPr>
          <a:xfrm>
            <a:off x="454025" y="339725"/>
            <a:ext cx="334963" cy="334963"/>
          </a:xfrm>
          <a:prstGeom prst="diamond">
            <a:avLst/>
          </a:prstGeom>
          <a:solidFill>
            <a:schemeClr val="accent1">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 name="菱形 3">
            <a:extLst/>
          </p:cNvPr>
          <p:cNvSpPr/>
          <p:nvPr userDrawn="1"/>
        </p:nvSpPr>
        <p:spPr>
          <a:xfrm>
            <a:off x="0" y="152400"/>
            <a:ext cx="622300" cy="622300"/>
          </a:xfrm>
          <a:prstGeom prst="diamond">
            <a:avLst/>
          </a:prstGeom>
          <a:solidFill>
            <a:schemeClr val="accent1">
              <a:lumMod val="60000"/>
              <a:lumOff val="4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pic>
        <p:nvPicPr>
          <p:cNvPr id="5" name="Picture 2" descr="C:\Documents and Settings\Administrator\桌面\图形10.png"/>
          <p:cNvPicPr>
            <a:picLocks noChangeAspect="1" noChangeArrowheads="1"/>
          </p:cNvPicPr>
          <p:nvPr userDrawn="1"/>
        </p:nvPicPr>
        <p:blipFill>
          <a:blip r:embed="rId2"/>
          <a:srcRect/>
          <a:stretch>
            <a:fillRect/>
          </a:stretch>
        </p:blipFill>
        <p:spPr bwMode="auto">
          <a:xfrm>
            <a:off x="0" y="728663"/>
            <a:ext cx="12192000" cy="122237"/>
          </a:xfrm>
          <a:prstGeom prst="rect">
            <a:avLst/>
          </a:prstGeom>
          <a:noFill/>
          <a:ln w="9525">
            <a:noFill/>
            <a:miter lim="800000"/>
            <a:headEnd/>
            <a:tailEnd/>
          </a:ln>
        </p:spPr>
      </p:pic>
      <p:sp>
        <p:nvSpPr>
          <p:cNvPr id="6" name="矩形 5"/>
          <p:cNvSpPr>
            <a:spLocks noChangeArrowheads="1"/>
          </p:cNvSpPr>
          <p:nvPr userDrawn="1"/>
        </p:nvSpPr>
        <p:spPr bwMode="auto">
          <a:xfrm>
            <a:off x="9971088" y="96838"/>
            <a:ext cx="1998662" cy="338137"/>
          </a:xfrm>
          <a:prstGeom prst="rect">
            <a:avLst/>
          </a:prstGeom>
          <a:noFill/>
          <a:ln>
            <a:noFill/>
          </a:ln>
          <a:extLst/>
        </p:spPr>
        <p:txBody>
          <a:bodyPr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defRPr/>
            </a:pPr>
            <a:r>
              <a:rPr lang="zh-CN" altLang="en-US" sz="1600" dirty="0"/>
              <a:t>因为执着   所以卓越</a:t>
            </a:r>
          </a:p>
        </p:txBody>
      </p:sp>
      <p:sp>
        <p:nvSpPr>
          <p:cNvPr id="7" name="矩形 6"/>
          <p:cNvSpPr>
            <a:spLocks noChangeArrowheads="1"/>
          </p:cNvSpPr>
          <p:nvPr userDrawn="1"/>
        </p:nvSpPr>
        <p:spPr bwMode="auto">
          <a:xfrm>
            <a:off x="7985125" y="311150"/>
            <a:ext cx="3971925" cy="303213"/>
          </a:xfrm>
          <a:prstGeom prst="rect">
            <a:avLst/>
          </a:prstGeom>
          <a:noFill/>
          <a:ln>
            <a:noFill/>
          </a:ln>
          <a:extLst/>
        </p:spPr>
        <p:txBody>
          <a:bodyPr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r">
              <a:lnSpc>
                <a:spcPct val="114000"/>
              </a:lnSpc>
              <a:defRPr/>
            </a:pPr>
            <a:r>
              <a:rPr lang="en-US" altLang="zh-CN" sz="1200" dirty="0">
                <a:solidFill>
                  <a:srgbClr val="7F7F7F"/>
                </a:solidFill>
                <a:latin typeface="微软雅黑" panose="020B0503020204020204" pitchFamily="34" charset="-122"/>
              </a:rPr>
              <a:t>We strive to achieve excellence through persistence</a:t>
            </a:r>
          </a:p>
        </p:txBody>
      </p:sp>
    </p:spTree>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spTree>
      <p:nvGrpSpPr>
        <p:cNvPr id="1" name=""/>
        <p:cNvGrpSpPr/>
        <p:nvPr/>
      </p:nvGrpSpPr>
      <p:grpSpPr>
        <a:xfrm>
          <a:off x="0" y="0"/>
          <a:ext cx="0" cy="0"/>
          <a:chOff x="0" y="0"/>
          <a:chExt cx="0" cy="0"/>
        </a:xfrm>
      </p:grpSpPr>
      <p:sp>
        <p:nvSpPr>
          <p:cNvPr id="2" name="菱形 1">
            <a:extLst/>
          </p:cNvPr>
          <p:cNvSpPr/>
          <p:nvPr userDrawn="1"/>
        </p:nvSpPr>
        <p:spPr>
          <a:xfrm>
            <a:off x="892175" y="622300"/>
            <a:ext cx="334963" cy="334963"/>
          </a:xfrm>
          <a:prstGeom prst="diamond">
            <a:avLst/>
          </a:prstGeom>
          <a:solidFill>
            <a:schemeClr val="accent1">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3" name="任意多边形: 形状 8">
            <a:extLst/>
          </p:cNvPr>
          <p:cNvSpPr/>
          <p:nvPr userDrawn="1"/>
        </p:nvSpPr>
        <p:spPr>
          <a:xfrm>
            <a:off x="53975" y="0"/>
            <a:ext cx="1676400" cy="914400"/>
          </a:xfrm>
          <a:custGeom>
            <a:avLst/>
            <a:gdLst>
              <a:gd name="connsiteX0" fmla="*/ 76200 w 1676402"/>
              <a:gd name="connsiteY0" fmla="*/ 0 h 914401"/>
              <a:gd name="connsiteX1" fmla="*/ 1600202 w 1676402"/>
              <a:gd name="connsiteY1" fmla="*/ 0 h 914401"/>
              <a:gd name="connsiteX2" fmla="*/ 1676402 w 1676402"/>
              <a:gd name="connsiteY2" fmla="*/ 76200 h 914401"/>
              <a:gd name="connsiteX3" fmla="*/ 838201 w 1676402"/>
              <a:gd name="connsiteY3" fmla="*/ 914401 h 914401"/>
              <a:gd name="connsiteX4" fmla="*/ 0 w 1676402"/>
              <a:gd name="connsiteY4" fmla="*/ 76200 h 914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6402" h="914401">
                <a:moveTo>
                  <a:pt x="76200" y="0"/>
                </a:moveTo>
                <a:lnTo>
                  <a:pt x="1600202" y="0"/>
                </a:lnTo>
                <a:lnTo>
                  <a:pt x="1676402" y="76200"/>
                </a:lnTo>
                <a:lnTo>
                  <a:pt x="838201" y="914401"/>
                </a:lnTo>
                <a:lnTo>
                  <a:pt x="0" y="762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4" name="菱形 3">
            <a:extLst/>
          </p:cNvPr>
          <p:cNvSpPr/>
          <p:nvPr userDrawn="1"/>
        </p:nvSpPr>
        <p:spPr>
          <a:xfrm>
            <a:off x="53975" y="222250"/>
            <a:ext cx="622300" cy="622300"/>
          </a:xfrm>
          <a:prstGeom prst="diamond">
            <a:avLst/>
          </a:prstGeom>
          <a:solidFill>
            <a:schemeClr val="accent1">
              <a:lumMod val="60000"/>
              <a:lumOff val="4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Tree>
  </p:cSld>
  <p:clrMapOvr>
    <a:masterClrMapping/>
  </p:clrMapOvr>
  <p:transition spd="slow"/>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自定义版式">
    <p:spTree>
      <p:nvGrpSpPr>
        <p:cNvPr id="1" name=""/>
        <p:cNvGrpSpPr/>
        <p:nvPr/>
      </p:nvGrpSpPr>
      <p:grpSpPr>
        <a:xfrm>
          <a:off x="0" y="0"/>
          <a:ext cx="0" cy="0"/>
          <a:chOff x="0" y="0"/>
          <a:chExt cx="0" cy="0"/>
        </a:xfrm>
      </p:grpSpPr>
      <p:sp>
        <p:nvSpPr>
          <p:cNvPr id="4" name="图片占位符 3">
            <a:extLst/>
          </p:cNvPr>
          <p:cNvSpPr>
            <a:spLocks noGrp="1"/>
          </p:cNvSpPr>
          <p:nvPr>
            <p:ph type="pic" sz="quarter" idx="10"/>
          </p:nvPr>
        </p:nvSpPr>
        <p:spPr>
          <a:xfrm>
            <a:off x="0" y="0"/>
            <a:ext cx="12192000" cy="6858000"/>
          </a:xfrm>
          <a:prstGeom prst="rect">
            <a:avLst/>
          </a:prstGeom>
        </p:spPr>
        <p:txBody>
          <a:bodyPr/>
          <a:lstStyle/>
          <a:p>
            <a:pPr lvl="0"/>
            <a:endParaRPr lang="zh-CN" altLang="en-US" noProof="0"/>
          </a:p>
        </p:txBody>
      </p:sp>
    </p:spTree>
  </p:cSld>
  <p:clrMapOvr>
    <a:masterClrMapping/>
  </p:clrMapOvr>
  <p:transition spd="slow"/>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pic>
        <p:nvPicPr>
          <p:cNvPr id="2" name="Picture 2" descr="C:\Documents and Settings\Administrator\桌面\图形10.png"/>
          <p:cNvPicPr>
            <a:picLocks noChangeAspect="1" noChangeArrowheads="1"/>
          </p:cNvPicPr>
          <p:nvPr userDrawn="1"/>
        </p:nvPicPr>
        <p:blipFill>
          <a:blip r:embed="rId2"/>
          <a:srcRect/>
          <a:stretch>
            <a:fillRect/>
          </a:stretch>
        </p:blipFill>
        <p:spPr bwMode="auto">
          <a:xfrm>
            <a:off x="0" y="6735763"/>
            <a:ext cx="12192000" cy="122237"/>
          </a:xfrm>
          <a:prstGeom prst="rect">
            <a:avLst/>
          </a:prstGeom>
          <a:noFill/>
          <a:ln w="9525">
            <a:noFill/>
            <a:miter lim="800000"/>
            <a:headEnd/>
            <a:tailEnd/>
          </a:ln>
        </p:spPr>
      </p:pic>
      <p:pic>
        <p:nvPicPr>
          <p:cNvPr id="3" name="Picture 20" descr="辅助条纹"/>
          <p:cNvPicPr>
            <a:picLocks noChangeAspect="1" noChangeArrowheads="1"/>
          </p:cNvPicPr>
          <p:nvPr userDrawn="1"/>
        </p:nvPicPr>
        <p:blipFill>
          <a:blip r:embed="rId3"/>
          <a:srcRect/>
          <a:stretch>
            <a:fillRect/>
          </a:stretch>
        </p:blipFill>
        <p:spPr bwMode="auto">
          <a:xfrm>
            <a:off x="9326563" y="6735763"/>
            <a:ext cx="2865437" cy="122237"/>
          </a:xfrm>
          <a:prstGeom prst="rect">
            <a:avLst/>
          </a:prstGeom>
          <a:noFill/>
          <a:ln w="9525">
            <a:noFill/>
            <a:miter lim="800000"/>
            <a:headEnd/>
            <a:tailEnd/>
          </a:ln>
        </p:spPr>
      </p:pic>
    </p:spTree>
  </p:cSld>
  <p:clrMapOvr>
    <a:masterClrMapping/>
  </p:clrMapOvr>
  <p:transition spd="slow"/>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空白">
    <p:spTree>
      <p:nvGrpSpPr>
        <p:cNvPr id="1" name=""/>
        <p:cNvGrpSpPr/>
        <p:nvPr/>
      </p:nvGrpSpPr>
      <p:grpSpPr>
        <a:xfrm>
          <a:off x="0" y="0"/>
          <a:ext cx="0" cy="0"/>
          <a:chOff x="0" y="0"/>
          <a:chExt cx="0" cy="0"/>
        </a:xfrm>
      </p:grpSpPr>
      <p:pic>
        <p:nvPicPr>
          <p:cNvPr id="2" name="Picture 2" descr="C:\Documents and Settings\Administrator\桌面\图形10.png"/>
          <p:cNvPicPr>
            <a:picLocks noChangeAspect="1" noChangeArrowheads="1"/>
          </p:cNvPicPr>
          <p:nvPr userDrawn="1"/>
        </p:nvPicPr>
        <p:blipFill>
          <a:blip r:embed="rId2"/>
          <a:srcRect/>
          <a:stretch>
            <a:fillRect/>
          </a:stretch>
        </p:blipFill>
        <p:spPr bwMode="auto">
          <a:xfrm>
            <a:off x="0" y="6735763"/>
            <a:ext cx="12192000" cy="122237"/>
          </a:xfrm>
          <a:prstGeom prst="rect">
            <a:avLst/>
          </a:prstGeom>
          <a:noFill/>
          <a:ln w="9525">
            <a:noFill/>
            <a:miter lim="800000"/>
            <a:headEnd/>
            <a:tailEnd/>
          </a:ln>
        </p:spPr>
      </p:pic>
      <p:pic>
        <p:nvPicPr>
          <p:cNvPr id="3" name="Picture 20" descr="辅助条纹"/>
          <p:cNvPicPr>
            <a:picLocks noChangeAspect="1" noChangeArrowheads="1"/>
          </p:cNvPicPr>
          <p:nvPr userDrawn="1"/>
        </p:nvPicPr>
        <p:blipFill>
          <a:blip r:embed="rId3"/>
          <a:srcRect/>
          <a:stretch>
            <a:fillRect/>
          </a:stretch>
        </p:blipFill>
        <p:spPr bwMode="auto">
          <a:xfrm>
            <a:off x="9326563" y="6735763"/>
            <a:ext cx="2865437" cy="122237"/>
          </a:xfrm>
          <a:prstGeom prst="rect">
            <a:avLst/>
          </a:prstGeom>
          <a:noFill/>
          <a:ln w="9525">
            <a:noFill/>
            <a:miter lim="800000"/>
            <a:headEnd/>
            <a:tailEnd/>
          </a:ln>
        </p:spPr>
      </p:pic>
    </p:spTree>
  </p:cSld>
  <p:clrMapOvr>
    <a:masterClrMapping/>
  </p:clrMapOvr>
  <p:transition spd="slow"/>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2_空白">
    <p:spTree>
      <p:nvGrpSpPr>
        <p:cNvPr id="1" name=""/>
        <p:cNvGrpSpPr/>
        <p:nvPr/>
      </p:nvGrpSpPr>
      <p:grpSpPr>
        <a:xfrm>
          <a:off x="0" y="0"/>
          <a:ext cx="0" cy="0"/>
          <a:chOff x="0" y="0"/>
          <a:chExt cx="0" cy="0"/>
        </a:xfrm>
      </p:grpSpPr>
      <p:pic>
        <p:nvPicPr>
          <p:cNvPr id="2" name="Picture 2" descr="C:\Documents and Settings\Administrator\桌面\图形10.png"/>
          <p:cNvPicPr>
            <a:picLocks noChangeAspect="1" noChangeArrowheads="1"/>
          </p:cNvPicPr>
          <p:nvPr userDrawn="1"/>
        </p:nvPicPr>
        <p:blipFill>
          <a:blip r:embed="rId2"/>
          <a:srcRect/>
          <a:stretch>
            <a:fillRect/>
          </a:stretch>
        </p:blipFill>
        <p:spPr bwMode="auto">
          <a:xfrm>
            <a:off x="0" y="6735763"/>
            <a:ext cx="12192000" cy="122237"/>
          </a:xfrm>
          <a:prstGeom prst="rect">
            <a:avLst/>
          </a:prstGeom>
          <a:noFill/>
          <a:ln w="9525">
            <a:noFill/>
            <a:miter lim="800000"/>
            <a:headEnd/>
            <a:tailEnd/>
          </a:ln>
        </p:spPr>
      </p:pic>
      <p:pic>
        <p:nvPicPr>
          <p:cNvPr id="3" name="Picture 20" descr="辅助条纹"/>
          <p:cNvPicPr>
            <a:picLocks noChangeAspect="1" noChangeArrowheads="1"/>
          </p:cNvPicPr>
          <p:nvPr userDrawn="1"/>
        </p:nvPicPr>
        <p:blipFill>
          <a:blip r:embed="rId3"/>
          <a:srcRect/>
          <a:stretch>
            <a:fillRect/>
          </a:stretch>
        </p:blipFill>
        <p:spPr bwMode="auto">
          <a:xfrm>
            <a:off x="9326563" y="6735763"/>
            <a:ext cx="2865437" cy="122237"/>
          </a:xfrm>
          <a:prstGeom prst="rect">
            <a:avLst/>
          </a:prstGeom>
          <a:noFill/>
          <a:ln w="9525">
            <a:noFill/>
            <a:miter lim="800000"/>
            <a:headEnd/>
            <a:tailEnd/>
          </a:ln>
        </p:spPr>
      </p:pic>
      <p:pic>
        <p:nvPicPr>
          <p:cNvPr id="4" name="图片 13"/>
          <p:cNvPicPr>
            <a:picLocks noChangeAspect="1"/>
          </p:cNvPicPr>
          <p:nvPr userDrawn="1"/>
        </p:nvPicPr>
        <p:blipFill>
          <a:blip r:embed="rId4"/>
          <a:srcRect/>
          <a:stretch>
            <a:fillRect/>
          </a:stretch>
        </p:blipFill>
        <p:spPr bwMode="auto">
          <a:xfrm>
            <a:off x="-3419475" y="-171450"/>
            <a:ext cx="15849600" cy="8915400"/>
          </a:xfrm>
          <a:prstGeom prst="rect">
            <a:avLst/>
          </a:prstGeom>
          <a:noFill/>
          <a:ln w="9525">
            <a:noFill/>
            <a:miter lim="800000"/>
            <a:headEnd/>
            <a:tailEnd/>
          </a:ln>
        </p:spPr>
      </p:pic>
    </p:spTree>
  </p:cSld>
  <p:clrMapOvr>
    <a:masterClrMapping/>
  </p:clrMapOvr>
  <p:transition spd="slow"/>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pic>
        <p:nvPicPr>
          <p:cNvPr id="2" name="Picture 2" descr="C:\Documents and Settings\Administrator\桌面\图形10.png"/>
          <p:cNvPicPr>
            <a:picLocks noChangeAspect="1" noChangeArrowheads="1"/>
          </p:cNvPicPr>
          <p:nvPr userDrawn="1"/>
        </p:nvPicPr>
        <p:blipFill>
          <a:blip r:embed="rId2"/>
          <a:srcRect/>
          <a:stretch>
            <a:fillRect/>
          </a:stretch>
        </p:blipFill>
        <p:spPr bwMode="auto">
          <a:xfrm>
            <a:off x="0" y="6735763"/>
            <a:ext cx="12192000" cy="122237"/>
          </a:xfrm>
          <a:prstGeom prst="rect">
            <a:avLst/>
          </a:prstGeom>
          <a:noFill/>
          <a:ln w="9525">
            <a:noFill/>
            <a:miter lim="800000"/>
            <a:headEnd/>
            <a:tailEnd/>
          </a:ln>
        </p:spPr>
      </p:pic>
      <p:pic>
        <p:nvPicPr>
          <p:cNvPr id="3" name="Picture 20" descr="辅助条纹"/>
          <p:cNvPicPr>
            <a:picLocks noChangeAspect="1" noChangeArrowheads="1"/>
          </p:cNvPicPr>
          <p:nvPr userDrawn="1"/>
        </p:nvPicPr>
        <p:blipFill>
          <a:blip r:embed="rId3"/>
          <a:srcRect/>
          <a:stretch>
            <a:fillRect/>
          </a:stretch>
        </p:blipFill>
        <p:spPr bwMode="auto">
          <a:xfrm>
            <a:off x="9326563" y="6735763"/>
            <a:ext cx="2865437" cy="122237"/>
          </a:xfrm>
          <a:prstGeom prst="rect">
            <a:avLst/>
          </a:prstGeom>
          <a:noFill/>
          <a:ln w="9525">
            <a:noFill/>
            <a:miter lim="800000"/>
            <a:headEnd/>
            <a:tailEnd/>
          </a:ln>
        </p:spPr>
      </p:pic>
      <p:sp>
        <p:nvSpPr>
          <p:cNvPr id="4" name="矩形 3"/>
          <p:cNvSpPr>
            <a:spLocks noChangeArrowheads="1"/>
          </p:cNvSpPr>
          <p:nvPr userDrawn="1"/>
        </p:nvSpPr>
        <p:spPr bwMode="auto">
          <a:xfrm>
            <a:off x="9372600" y="276225"/>
            <a:ext cx="1998663" cy="338138"/>
          </a:xfrm>
          <a:prstGeom prst="rect">
            <a:avLst/>
          </a:prstGeom>
          <a:noFill/>
          <a:ln>
            <a:noFill/>
          </a:ln>
          <a:extLst/>
        </p:spPr>
        <p:txBody>
          <a:bodyPr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defRPr/>
            </a:pPr>
            <a:r>
              <a:rPr lang="zh-CN" altLang="en-US" sz="1600" dirty="0"/>
              <a:t>因为执着   所以卓越</a:t>
            </a:r>
          </a:p>
        </p:txBody>
      </p:sp>
      <p:sp>
        <p:nvSpPr>
          <p:cNvPr id="5" name="矩形 4"/>
          <p:cNvSpPr>
            <a:spLocks noChangeArrowheads="1"/>
          </p:cNvSpPr>
          <p:nvPr userDrawn="1"/>
        </p:nvSpPr>
        <p:spPr bwMode="auto">
          <a:xfrm>
            <a:off x="7399338" y="527050"/>
            <a:ext cx="3971925" cy="303213"/>
          </a:xfrm>
          <a:prstGeom prst="rect">
            <a:avLst/>
          </a:prstGeom>
          <a:noFill/>
          <a:ln>
            <a:noFill/>
          </a:ln>
          <a:extLst/>
        </p:spPr>
        <p:txBody>
          <a:bodyPr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r">
              <a:lnSpc>
                <a:spcPct val="114000"/>
              </a:lnSpc>
              <a:defRPr/>
            </a:pPr>
            <a:r>
              <a:rPr lang="en-US" altLang="zh-CN" sz="1200" dirty="0">
                <a:solidFill>
                  <a:srgbClr val="7F7F7F"/>
                </a:solidFill>
                <a:latin typeface="微软雅黑" panose="020B0503020204020204" pitchFamily="34" charset="-122"/>
              </a:rPr>
              <a:t>We strive to achieve excellence through persistence</a:t>
            </a:r>
          </a:p>
        </p:txBody>
      </p:sp>
    </p:spTree>
  </p:cSld>
  <p:clrMapOvr>
    <a:masterClrMapping/>
  </p:clrMapOvr>
  <p:transition spd="slow"/>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9_自定义版式">
    <p:spTree>
      <p:nvGrpSpPr>
        <p:cNvPr id="1" name=""/>
        <p:cNvGrpSpPr/>
        <p:nvPr/>
      </p:nvGrpSpPr>
      <p:grpSpPr>
        <a:xfrm>
          <a:off x="0" y="0"/>
          <a:ext cx="0" cy="0"/>
          <a:chOff x="0" y="0"/>
          <a:chExt cx="0" cy="0"/>
        </a:xfrm>
      </p:grpSpPr>
      <p:sp>
        <p:nvSpPr>
          <p:cNvPr id="14" name="图片占位符 13">
            <a:extLst/>
          </p:cNvPr>
          <p:cNvSpPr>
            <a:spLocks noGrp="1"/>
          </p:cNvSpPr>
          <p:nvPr>
            <p:ph type="pic" sz="quarter" idx="10"/>
          </p:nvPr>
        </p:nvSpPr>
        <p:spPr>
          <a:xfrm>
            <a:off x="875075" y="1694144"/>
            <a:ext cx="2099437" cy="2088868"/>
          </a:xfrm>
          <a:custGeom>
            <a:avLst/>
            <a:gdLst>
              <a:gd name="connsiteX0" fmla="*/ 0 w 2099437"/>
              <a:gd name="connsiteY0" fmla="*/ 0 h 2088868"/>
              <a:gd name="connsiteX1" fmla="*/ 2099437 w 2099437"/>
              <a:gd name="connsiteY1" fmla="*/ 0 h 2088868"/>
              <a:gd name="connsiteX2" fmla="*/ 2099437 w 2099437"/>
              <a:gd name="connsiteY2" fmla="*/ 2088868 h 2088868"/>
              <a:gd name="connsiteX3" fmla="*/ 0 w 2099437"/>
              <a:gd name="connsiteY3" fmla="*/ 2088868 h 2088868"/>
            </a:gdLst>
            <a:ahLst/>
            <a:cxnLst>
              <a:cxn ang="0">
                <a:pos x="connsiteX0" y="connsiteY0"/>
              </a:cxn>
              <a:cxn ang="0">
                <a:pos x="connsiteX1" y="connsiteY1"/>
              </a:cxn>
              <a:cxn ang="0">
                <a:pos x="connsiteX2" y="connsiteY2"/>
              </a:cxn>
              <a:cxn ang="0">
                <a:pos x="connsiteX3" y="connsiteY3"/>
              </a:cxn>
            </a:cxnLst>
            <a:rect l="l" t="t" r="r" b="b"/>
            <a:pathLst>
              <a:path w="2099437" h="2088868">
                <a:moveTo>
                  <a:pt x="0" y="0"/>
                </a:moveTo>
                <a:lnTo>
                  <a:pt x="2099437" y="0"/>
                </a:lnTo>
                <a:lnTo>
                  <a:pt x="2099437" y="2088868"/>
                </a:lnTo>
                <a:lnTo>
                  <a:pt x="0" y="2088868"/>
                </a:lnTo>
                <a:close/>
              </a:path>
            </a:pathLst>
          </a:custGeom>
        </p:spPr>
        <p:txBody>
          <a:bodyPr wrap="square">
            <a:noAutofit/>
          </a:bodyPr>
          <a:lstStyle/>
          <a:p>
            <a:pPr lvl="0"/>
            <a:endParaRPr lang="zh-CN" altLang="en-US" noProof="0"/>
          </a:p>
        </p:txBody>
      </p:sp>
      <p:sp>
        <p:nvSpPr>
          <p:cNvPr id="15" name="图片占位符 14">
            <a:extLst/>
          </p:cNvPr>
          <p:cNvSpPr>
            <a:spLocks noGrp="1"/>
          </p:cNvSpPr>
          <p:nvPr>
            <p:ph type="pic" sz="quarter" idx="11"/>
          </p:nvPr>
        </p:nvSpPr>
        <p:spPr>
          <a:xfrm>
            <a:off x="5053586" y="1694144"/>
            <a:ext cx="2099437" cy="2088868"/>
          </a:xfrm>
          <a:custGeom>
            <a:avLst/>
            <a:gdLst>
              <a:gd name="connsiteX0" fmla="*/ 0 w 2099437"/>
              <a:gd name="connsiteY0" fmla="*/ 0 h 2088868"/>
              <a:gd name="connsiteX1" fmla="*/ 2099437 w 2099437"/>
              <a:gd name="connsiteY1" fmla="*/ 0 h 2088868"/>
              <a:gd name="connsiteX2" fmla="*/ 2099437 w 2099437"/>
              <a:gd name="connsiteY2" fmla="*/ 2088868 h 2088868"/>
              <a:gd name="connsiteX3" fmla="*/ 0 w 2099437"/>
              <a:gd name="connsiteY3" fmla="*/ 2088868 h 2088868"/>
            </a:gdLst>
            <a:ahLst/>
            <a:cxnLst>
              <a:cxn ang="0">
                <a:pos x="connsiteX0" y="connsiteY0"/>
              </a:cxn>
              <a:cxn ang="0">
                <a:pos x="connsiteX1" y="connsiteY1"/>
              </a:cxn>
              <a:cxn ang="0">
                <a:pos x="connsiteX2" y="connsiteY2"/>
              </a:cxn>
              <a:cxn ang="0">
                <a:pos x="connsiteX3" y="connsiteY3"/>
              </a:cxn>
            </a:cxnLst>
            <a:rect l="l" t="t" r="r" b="b"/>
            <a:pathLst>
              <a:path w="2099437" h="2088868">
                <a:moveTo>
                  <a:pt x="0" y="0"/>
                </a:moveTo>
                <a:lnTo>
                  <a:pt x="2099437" y="0"/>
                </a:lnTo>
                <a:lnTo>
                  <a:pt x="2099437" y="2088868"/>
                </a:lnTo>
                <a:lnTo>
                  <a:pt x="0" y="2088868"/>
                </a:lnTo>
                <a:close/>
              </a:path>
            </a:pathLst>
          </a:custGeom>
        </p:spPr>
        <p:txBody>
          <a:bodyPr wrap="square">
            <a:noAutofit/>
          </a:bodyPr>
          <a:lstStyle/>
          <a:p>
            <a:pPr lvl="0"/>
            <a:endParaRPr lang="zh-CN" altLang="en-US" noProof="0"/>
          </a:p>
        </p:txBody>
      </p:sp>
      <p:sp>
        <p:nvSpPr>
          <p:cNvPr id="16" name="图片占位符 15">
            <a:extLst/>
          </p:cNvPr>
          <p:cNvSpPr>
            <a:spLocks noGrp="1"/>
          </p:cNvSpPr>
          <p:nvPr>
            <p:ph type="pic" sz="quarter" idx="12"/>
          </p:nvPr>
        </p:nvSpPr>
        <p:spPr>
          <a:xfrm>
            <a:off x="9219984" y="1694144"/>
            <a:ext cx="2100208" cy="2088868"/>
          </a:xfrm>
          <a:custGeom>
            <a:avLst/>
            <a:gdLst>
              <a:gd name="connsiteX0" fmla="*/ 0 w 2100208"/>
              <a:gd name="connsiteY0" fmla="*/ 0 h 2088868"/>
              <a:gd name="connsiteX1" fmla="*/ 2100208 w 2100208"/>
              <a:gd name="connsiteY1" fmla="*/ 0 h 2088868"/>
              <a:gd name="connsiteX2" fmla="*/ 2100208 w 2100208"/>
              <a:gd name="connsiteY2" fmla="*/ 2088868 h 2088868"/>
              <a:gd name="connsiteX3" fmla="*/ 0 w 2100208"/>
              <a:gd name="connsiteY3" fmla="*/ 2088868 h 2088868"/>
            </a:gdLst>
            <a:ahLst/>
            <a:cxnLst>
              <a:cxn ang="0">
                <a:pos x="connsiteX0" y="connsiteY0"/>
              </a:cxn>
              <a:cxn ang="0">
                <a:pos x="connsiteX1" y="connsiteY1"/>
              </a:cxn>
              <a:cxn ang="0">
                <a:pos x="connsiteX2" y="connsiteY2"/>
              </a:cxn>
              <a:cxn ang="0">
                <a:pos x="connsiteX3" y="connsiteY3"/>
              </a:cxn>
            </a:cxnLst>
            <a:rect l="l" t="t" r="r" b="b"/>
            <a:pathLst>
              <a:path w="2100208" h="2088868">
                <a:moveTo>
                  <a:pt x="0" y="0"/>
                </a:moveTo>
                <a:lnTo>
                  <a:pt x="2100208" y="0"/>
                </a:lnTo>
                <a:lnTo>
                  <a:pt x="2100208" y="2088868"/>
                </a:lnTo>
                <a:lnTo>
                  <a:pt x="0" y="2088868"/>
                </a:lnTo>
                <a:close/>
              </a:path>
            </a:pathLst>
          </a:custGeom>
        </p:spPr>
        <p:txBody>
          <a:bodyPr wrap="square">
            <a:noAutofit/>
          </a:bodyPr>
          <a:lstStyle/>
          <a:p>
            <a:pPr lvl="0"/>
            <a:endParaRPr lang="zh-CN" altLang="en-US" noProof="0"/>
          </a:p>
        </p:txBody>
      </p:sp>
      <p:sp>
        <p:nvSpPr>
          <p:cNvPr id="18" name="图片占位符 17">
            <a:extLst/>
          </p:cNvPr>
          <p:cNvSpPr>
            <a:spLocks noGrp="1"/>
          </p:cNvSpPr>
          <p:nvPr>
            <p:ph type="pic" sz="quarter" idx="13"/>
          </p:nvPr>
        </p:nvSpPr>
        <p:spPr>
          <a:xfrm>
            <a:off x="7148703" y="3783011"/>
            <a:ext cx="2099437" cy="2088868"/>
          </a:xfrm>
          <a:custGeom>
            <a:avLst/>
            <a:gdLst>
              <a:gd name="connsiteX0" fmla="*/ 0 w 2099437"/>
              <a:gd name="connsiteY0" fmla="*/ 0 h 2088868"/>
              <a:gd name="connsiteX1" fmla="*/ 2099437 w 2099437"/>
              <a:gd name="connsiteY1" fmla="*/ 0 h 2088868"/>
              <a:gd name="connsiteX2" fmla="*/ 2099437 w 2099437"/>
              <a:gd name="connsiteY2" fmla="*/ 2088868 h 2088868"/>
              <a:gd name="connsiteX3" fmla="*/ 0 w 2099437"/>
              <a:gd name="connsiteY3" fmla="*/ 2088868 h 2088868"/>
            </a:gdLst>
            <a:ahLst/>
            <a:cxnLst>
              <a:cxn ang="0">
                <a:pos x="connsiteX0" y="connsiteY0"/>
              </a:cxn>
              <a:cxn ang="0">
                <a:pos x="connsiteX1" y="connsiteY1"/>
              </a:cxn>
              <a:cxn ang="0">
                <a:pos x="connsiteX2" y="connsiteY2"/>
              </a:cxn>
              <a:cxn ang="0">
                <a:pos x="connsiteX3" y="connsiteY3"/>
              </a:cxn>
            </a:cxnLst>
            <a:rect l="l" t="t" r="r" b="b"/>
            <a:pathLst>
              <a:path w="2099437" h="2088868">
                <a:moveTo>
                  <a:pt x="0" y="0"/>
                </a:moveTo>
                <a:lnTo>
                  <a:pt x="2099437" y="0"/>
                </a:lnTo>
                <a:lnTo>
                  <a:pt x="2099437" y="2088868"/>
                </a:lnTo>
                <a:lnTo>
                  <a:pt x="0" y="2088868"/>
                </a:lnTo>
                <a:close/>
              </a:path>
            </a:pathLst>
          </a:custGeom>
        </p:spPr>
        <p:txBody>
          <a:bodyPr wrap="square">
            <a:noAutofit/>
          </a:bodyPr>
          <a:lstStyle/>
          <a:p>
            <a:pPr lvl="0"/>
            <a:endParaRPr lang="zh-CN" altLang="en-US" noProof="0"/>
          </a:p>
        </p:txBody>
      </p:sp>
      <p:sp>
        <p:nvSpPr>
          <p:cNvPr id="17" name="图片占位符 16">
            <a:extLst/>
          </p:cNvPr>
          <p:cNvSpPr>
            <a:spLocks noGrp="1"/>
          </p:cNvSpPr>
          <p:nvPr>
            <p:ph type="pic" sz="quarter" idx="14"/>
          </p:nvPr>
        </p:nvSpPr>
        <p:spPr>
          <a:xfrm>
            <a:off x="2973741" y="3783011"/>
            <a:ext cx="2099437" cy="2088868"/>
          </a:xfrm>
          <a:custGeom>
            <a:avLst/>
            <a:gdLst>
              <a:gd name="connsiteX0" fmla="*/ 0 w 2099437"/>
              <a:gd name="connsiteY0" fmla="*/ 0 h 2088868"/>
              <a:gd name="connsiteX1" fmla="*/ 2099437 w 2099437"/>
              <a:gd name="connsiteY1" fmla="*/ 0 h 2088868"/>
              <a:gd name="connsiteX2" fmla="*/ 2099437 w 2099437"/>
              <a:gd name="connsiteY2" fmla="*/ 2088868 h 2088868"/>
              <a:gd name="connsiteX3" fmla="*/ 0 w 2099437"/>
              <a:gd name="connsiteY3" fmla="*/ 2088868 h 2088868"/>
            </a:gdLst>
            <a:ahLst/>
            <a:cxnLst>
              <a:cxn ang="0">
                <a:pos x="connsiteX0" y="connsiteY0"/>
              </a:cxn>
              <a:cxn ang="0">
                <a:pos x="connsiteX1" y="connsiteY1"/>
              </a:cxn>
              <a:cxn ang="0">
                <a:pos x="connsiteX2" y="connsiteY2"/>
              </a:cxn>
              <a:cxn ang="0">
                <a:pos x="connsiteX3" y="connsiteY3"/>
              </a:cxn>
            </a:cxnLst>
            <a:rect l="l" t="t" r="r" b="b"/>
            <a:pathLst>
              <a:path w="2099437" h="2088868">
                <a:moveTo>
                  <a:pt x="0" y="0"/>
                </a:moveTo>
                <a:lnTo>
                  <a:pt x="2099437" y="0"/>
                </a:lnTo>
                <a:lnTo>
                  <a:pt x="2099437" y="2088868"/>
                </a:lnTo>
                <a:lnTo>
                  <a:pt x="0" y="2088868"/>
                </a:lnTo>
                <a:close/>
              </a:path>
            </a:pathLst>
          </a:custGeom>
        </p:spPr>
        <p:txBody>
          <a:bodyPr wrap="square">
            <a:noAutofit/>
          </a:bodyPr>
          <a:lstStyle/>
          <a:p>
            <a:pPr lvl="0"/>
            <a:endParaRPr lang="zh-CN" altLang="en-US" noProof="0"/>
          </a:p>
        </p:txBody>
      </p:sp>
    </p:spTree>
  </p:cSld>
  <p:clrMapOvr>
    <a:masterClrMapping/>
  </p:clrMapOvr>
  <p:transition spd="slow"/>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自定义版式">
    <p:spTree>
      <p:nvGrpSpPr>
        <p:cNvPr id="1" name=""/>
        <p:cNvGrpSpPr/>
        <p:nvPr/>
      </p:nvGrpSpPr>
      <p:grpSpPr>
        <a:xfrm>
          <a:off x="0" y="0"/>
          <a:ext cx="0" cy="0"/>
          <a:chOff x="0" y="0"/>
          <a:chExt cx="0" cy="0"/>
        </a:xfrm>
      </p:grpSpPr>
      <p:sp>
        <p:nvSpPr>
          <p:cNvPr id="12" name="图片占位符 11">
            <a:extLst/>
          </p:cNvPr>
          <p:cNvSpPr>
            <a:spLocks noGrp="1"/>
          </p:cNvSpPr>
          <p:nvPr>
            <p:ph type="pic" sz="quarter" idx="10"/>
          </p:nvPr>
        </p:nvSpPr>
        <p:spPr>
          <a:xfrm>
            <a:off x="874714" y="3285709"/>
            <a:ext cx="2320729" cy="2452418"/>
          </a:xfrm>
          <a:custGeom>
            <a:avLst/>
            <a:gdLst>
              <a:gd name="connsiteX0" fmla="*/ 0 w 2320729"/>
              <a:gd name="connsiteY0" fmla="*/ 0 h 2452418"/>
              <a:gd name="connsiteX1" fmla="*/ 2320729 w 2320729"/>
              <a:gd name="connsiteY1" fmla="*/ 0 h 2452418"/>
              <a:gd name="connsiteX2" fmla="*/ 2320729 w 2320729"/>
              <a:gd name="connsiteY2" fmla="*/ 2452418 h 2452418"/>
              <a:gd name="connsiteX3" fmla="*/ 0 w 2320729"/>
              <a:gd name="connsiteY3" fmla="*/ 2452418 h 2452418"/>
            </a:gdLst>
            <a:ahLst/>
            <a:cxnLst>
              <a:cxn ang="0">
                <a:pos x="connsiteX0" y="connsiteY0"/>
              </a:cxn>
              <a:cxn ang="0">
                <a:pos x="connsiteX1" y="connsiteY1"/>
              </a:cxn>
              <a:cxn ang="0">
                <a:pos x="connsiteX2" y="connsiteY2"/>
              </a:cxn>
              <a:cxn ang="0">
                <a:pos x="connsiteX3" y="connsiteY3"/>
              </a:cxn>
            </a:cxnLst>
            <a:rect l="l" t="t" r="r" b="b"/>
            <a:pathLst>
              <a:path w="2320729" h="2452418">
                <a:moveTo>
                  <a:pt x="0" y="0"/>
                </a:moveTo>
                <a:lnTo>
                  <a:pt x="2320729" y="0"/>
                </a:lnTo>
                <a:lnTo>
                  <a:pt x="2320729" y="2452418"/>
                </a:lnTo>
                <a:lnTo>
                  <a:pt x="0" y="2452418"/>
                </a:lnTo>
                <a:close/>
              </a:path>
            </a:pathLst>
          </a:custGeom>
        </p:spPr>
        <p:txBody>
          <a:bodyPr wrap="square">
            <a:noAutofit/>
          </a:bodyPr>
          <a:lstStyle/>
          <a:p>
            <a:pPr lvl="0"/>
            <a:endParaRPr lang="zh-CN" altLang="en-US" noProof="0"/>
          </a:p>
        </p:txBody>
      </p:sp>
      <p:sp>
        <p:nvSpPr>
          <p:cNvPr id="13" name="图片占位符 12">
            <a:extLst/>
          </p:cNvPr>
          <p:cNvSpPr>
            <a:spLocks noGrp="1"/>
          </p:cNvSpPr>
          <p:nvPr>
            <p:ph type="pic" sz="quarter" idx="11"/>
          </p:nvPr>
        </p:nvSpPr>
        <p:spPr>
          <a:xfrm>
            <a:off x="3576126" y="3285709"/>
            <a:ext cx="2320729" cy="2452418"/>
          </a:xfrm>
          <a:custGeom>
            <a:avLst/>
            <a:gdLst>
              <a:gd name="connsiteX0" fmla="*/ 0 w 2320729"/>
              <a:gd name="connsiteY0" fmla="*/ 0 h 2452418"/>
              <a:gd name="connsiteX1" fmla="*/ 2320729 w 2320729"/>
              <a:gd name="connsiteY1" fmla="*/ 0 h 2452418"/>
              <a:gd name="connsiteX2" fmla="*/ 2320729 w 2320729"/>
              <a:gd name="connsiteY2" fmla="*/ 2452418 h 2452418"/>
              <a:gd name="connsiteX3" fmla="*/ 0 w 2320729"/>
              <a:gd name="connsiteY3" fmla="*/ 2452418 h 2452418"/>
            </a:gdLst>
            <a:ahLst/>
            <a:cxnLst>
              <a:cxn ang="0">
                <a:pos x="connsiteX0" y="connsiteY0"/>
              </a:cxn>
              <a:cxn ang="0">
                <a:pos x="connsiteX1" y="connsiteY1"/>
              </a:cxn>
              <a:cxn ang="0">
                <a:pos x="connsiteX2" y="connsiteY2"/>
              </a:cxn>
              <a:cxn ang="0">
                <a:pos x="connsiteX3" y="connsiteY3"/>
              </a:cxn>
            </a:cxnLst>
            <a:rect l="l" t="t" r="r" b="b"/>
            <a:pathLst>
              <a:path w="2320729" h="2452418">
                <a:moveTo>
                  <a:pt x="0" y="0"/>
                </a:moveTo>
                <a:lnTo>
                  <a:pt x="2320729" y="0"/>
                </a:lnTo>
                <a:lnTo>
                  <a:pt x="2320729" y="2452418"/>
                </a:lnTo>
                <a:lnTo>
                  <a:pt x="0" y="2452418"/>
                </a:lnTo>
                <a:close/>
              </a:path>
            </a:pathLst>
          </a:custGeom>
        </p:spPr>
        <p:txBody>
          <a:bodyPr wrap="square">
            <a:noAutofit/>
          </a:bodyPr>
          <a:lstStyle/>
          <a:p>
            <a:pPr lvl="0"/>
            <a:endParaRPr lang="zh-CN" altLang="en-US" noProof="0"/>
          </a:p>
        </p:txBody>
      </p:sp>
      <p:sp>
        <p:nvSpPr>
          <p:cNvPr id="14" name="图片占位符 13">
            <a:extLst/>
          </p:cNvPr>
          <p:cNvSpPr>
            <a:spLocks noGrp="1"/>
          </p:cNvSpPr>
          <p:nvPr>
            <p:ph type="pic" sz="quarter" idx="12"/>
          </p:nvPr>
        </p:nvSpPr>
        <p:spPr>
          <a:xfrm>
            <a:off x="6292255" y="3285709"/>
            <a:ext cx="2320729" cy="2452418"/>
          </a:xfrm>
          <a:custGeom>
            <a:avLst/>
            <a:gdLst>
              <a:gd name="connsiteX0" fmla="*/ 0 w 2320729"/>
              <a:gd name="connsiteY0" fmla="*/ 0 h 2452418"/>
              <a:gd name="connsiteX1" fmla="*/ 2320729 w 2320729"/>
              <a:gd name="connsiteY1" fmla="*/ 0 h 2452418"/>
              <a:gd name="connsiteX2" fmla="*/ 2320729 w 2320729"/>
              <a:gd name="connsiteY2" fmla="*/ 2452418 h 2452418"/>
              <a:gd name="connsiteX3" fmla="*/ 0 w 2320729"/>
              <a:gd name="connsiteY3" fmla="*/ 2452418 h 2452418"/>
            </a:gdLst>
            <a:ahLst/>
            <a:cxnLst>
              <a:cxn ang="0">
                <a:pos x="connsiteX0" y="connsiteY0"/>
              </a:cxn>
              <a:cxn ang="0">
                <a:pos x="connsiteX1" y="connsiteY1"/>
              </a:cxn>
              <a:cxn ang="0">
                <a:pos x="connsiteX2" y="connsiteY2"/>
              </a:cxn>
              <a:cxn ang="0">
                <a:pos x="connsiteX3" y="connsiteY3"/>
              </a:cxn>
            </a:cxnLst>
            <a:rect l="l" t="t" r="r" b="b"/>
            <a:pathLst>
              <a:path w="2320729" h="2452418">
                <a:moveTo>
                  <a:pt x="0" y="0"/>
                </a:moveTo>
                <a:lnTo>
                  <a:pt x="2320729" y="0"/>
                </a:lnTo>
                <a:lnTo>
                  <a:pt x="2320729" y="2452418"/>
                </a:lnTo>
                <a:lnTo>
                  <a:pt x="0" y="2452418"/>
                </a:lnTo>
                <a:close/>
              </a:path>
            </a:pathLst>
          </a:custGeom>
        </p:spPr>
        <p:txBody>
          <a:bodyPr wrap="square">
            <a:noAutofit/>
          </a:bodyPr>
          <a:lstStyle/>
          <a:p>
            <a:pPr lvl="0"/>
            <a:endParaRPr lang="zh-CN" altLang="en-US" noProof="0" dirty="0"/>
          </a:p>
        </p:txBody>
      </p:sp>
      <p:sp>
        <p:nvSpPr>
          <p:cNvPr id="15" name="图片占位符 14">
            <a:extLst/>
          </p:cNvPr>
          <p:cNvSpPr>
            <a:spLocks noGrp="1"/>
          </p:cNvSpPr>
          <p:nvPr>
            <p:ph type="pic" sz="quarter" idx="13"/>
          </p:nvPr>
        </p:nvSpPr>
        <p:spPr>
          <a:xfrm>
            <a:off x="8996560" y="3285709"/>
            <a:ext cx="2320729" cy="2452418"/>
          </a:xfrm>
          <a:custGeom>
            <a:avLst/>
            <a:gdLst>
              <a:gd name="connsiteX0" fmla="*/ 0 w 2320729"/>
              <a:gd name="connsiteY0" fmla="*/ 0 h 2452418"/>
              <a:gd name="connsiteX1" fmla="*/ 2320729 w 2320729"/>
              <a:gd name="connsiteY1" fmla="*/ 0 h 2452418"/>
              <a:gd name="connsiteX2" fmla="*/ 2320729 w 2320729"/>
              <a:gd name="connsiteY2" fmla="*/ 2452418 h 2452418"/>
              <a:gd name="connsiteX3" fmla="*/ 0 w 2320729"/>
              <a:gd name="connsiteY3" fmla="*/ 2452418 h 2452418"/>
            </a:gdLst>
            <a:ahLst/>
            <a:cxnLst>
              <a:cxn ang="0">
                <a:pos x="connsiteX0" y="connsiteY0"/>
              </a:cxn>
              <a:cxn ang="0">
                <a:pos x="connsiteX1" y="connsiteY1"/>
              </a:cxn>
              <a:cxn ang="0">
                <a:pos x="connsiteX2" y="connsiteY2"/>
              </a:cxn>
              <a:cxn ang="0">
                <a:pos x="connsiteX3" y="connsiteY3"/>
              </a:cxn>
            </a:cxnLst>
            <a:rect l="l" t="t" r="r" b="b"/>
            <a:pathLst>
              <a:path w="2320729" h="2452418">
                <a:moveTo>
                  <a:pt x="0" y="0"/>
                </a:moveTo>
                <a:lnTo>
                  <a:pt x="2320729" y="0"/>
                </a:lnTo>
                <a:lnTo>
                  <a:pt x="2320729" y="2452418"/>
                </a:lnTo>
                <a:lnTo>
                  <a:pt x="0" y="2452418"/>
                </a:lnTo>
                <a:close/>
              </a:path>
            </a:pathLst>
          </a:custGeom>
        </p:spPr>
        <p:txBody>
          <a:bodyPr wrap="square">
            <a:noAutofit/>
          </a:bodyPr>
          <a:lstStyle/>
          <a:p>
            <a:pPr lvl="0"/>
            <a:endParaRPr lang="zh-CN" altLang="en-US" noProof="0"/>
          </a:p>
        </p:txBody>
      </p:sp>
    </p:spTree>
  </p:cSld>
  <p:clrMapOvr>
    <a:masterClrMapping/>
  </p:clrMapOvr>
  <p:transition spd="slow"/>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_自定义版式">
    <p:spTree>
      <p:nvGrpSpPr>
        <p:cNvPr id="1" name=""/>
        <p:cNvGrpSpPr/>
        <p:nvPr/>
      </p:nvGrpSpPr>
      <p:grpSpPr>
        <a:xfrm>
          <a:off x="0" y="0"/>
          <a:ext cx="0" cy="0"/>
          <a:chOff x="0" y="0"/>
          <a:chExt cx="0" cy="0"/>
        </a:xfrm>
      </p:grpSpPr>
      <p:sp>
        <p:nvSpPr>
          <p:cNvPr id="12" name="图片占位符 11">
            <a:extLst/>
          </p:cNvPr>
          <p:cNvSpPr>
            <a:spLocks noGrp="1"/>
          </p:cNvSpPr>
          <p:nvPr>
            <p:ph type="pic" sz="quarter" idx="10"/>
          </p:nvPr>
        </p:nvSpPr>
        <p:spPr>
          <a:xfrm>
            <a:off x="874712" y="1616101"/>
            <a:ext cx="5116972" cy="1815135"/>
          </a:xfrm>
          <a:custGeom>
            <a:avLst/>
            <a:gdLst>
              <a:gd name="connsiteX0" fmla="*/ 0 w 5116972"/>
              <a:gd name="connsiteY0" fmla="*/ 0 h 1815135"/>
              <a:gd name="connsiteX1" fmla="*/ 5116972 w 5116972"/>
              <a:gd name="connsiteY1" fmla="*/ 0 h 1815135"/>
              <a:gd name="connsiteX2" fmla="*/ 5116972 w 5116972"/>
              <a:gd name="connsiteY2" fmla="*/ 1815135 h 1815135"/>
              <a:gd name="connsiteX3" fmla="*/ 0 w 5116972"/>
              <a:gd name="connsiteY3" fmla="*/ 1815135 h 1815135"/>
            </a:gdLst>
            <a:ahLst/>
            <a:cxnLst>
              <a:cxn ang="0">
                <a:pos x="connsiteX0" y="connsiteY0"/>
              </a:cxn>
              <a:cxn ang="0">
                <a:pos x="connsiteX1" y="connsiteY1"/>
              </a:cxn>
              <a:cxn ang="0">
                <a:pos x="connsiteX2" y="connsiteY2"/>
              </a:cxn>
              <a:cxn ang="0">
                <a:pos x="connsiteX3" y="connsiteY3"/>
              </a:cxn>
            </a:cxnLst>
            <a:rect l="l" t="t" r="r" b="b"/>
            <a:pathLst>
              <a:path w="5116972" h="1815135">
                <a:moveTo>
                  <a:pt x="0" y="0"/>
                </a:moveTo>
                <a:lnTo>
                  <a:pt x="5116972" y="0"/>
                </a:lnTo>
                <a:lnTo>
                  <a:pt x="5116972" y="1815135"/>
                </a:lnTo>
                <a:lnTo>
                  <a:pt x="0" y="1815135"/>
                </a:lnTo>
                <a:close/>
              </a:path>
            </a:pathLst>
          </a:custGeom>
        </p:spPr>
        <p:txBody>
          <a:bodyPr wrap="square">
            <a:noAutofit/>
          </a:bodyPr>
          <a:lstStyle/>
          <a:p>
            <a:pPr lvl="0"/>
            <a:endParaRPr lang="zh-CN" altLang="en-US" noProof="0"/>
          </a:p>
        </p:txBody>
      </p:sp>
      <p:sp>
        <p:nvSpPr>
          <p:cNvPr id="14" name="图片占位符 13">
            <a:extLst/>
          </p:cNvPr>
          <p:cNvSpPr>
            <a:spLocks noGrp="1"/>
          </p:cNvSpPr>
          <p:nvPr>
            <p:ph type="pic" sz="quarter" idx="11"/>
          </p:nvPr>
        </p:nvSpPr>
        <p:spPr>
          <a:xfrm>
            <a:off x="874712" y="3793785"/>
            <a:ext cx="5116972" cy="1815135"/>
          </a:xfrm>
          <a:custGeom>
            <a:avLst/>
            <a:gdLst>
              <a:gd name="connsiteX0" fmla="*/ 0 w 5116972"/>
              <a:gd name="connsiteY0" fmla="*/ 0 h 1815135"/>
              <a:gd name="connsiteX1" fmla="*/ 5116972 w 5116972"/>
              <a:gd name="connsiteY1" fmla="*/ 0 h 1815135"/>
              <a:gd name="connsiteX2" fmla="*/ 5116972 w 5116972"/>
              <a:gd name="connsiteY2" fmla="*/ 1815135 h 1815135"/>
              <a:gd name="connsiteX3" fmla="*/ 0 w 5116972"/>
              <a:gd name="connsiteY3" fmla="*/ 1815135 h 1815135"/>
            </a:gdLst>
            <a:ahLst/>
            <a:cxnLst>
              <a:cxn ang="0">
                <a:pos x="connsiteX0" y="connsiteY0"/>
              </a:cxn>
              <a:cxn ang="0">
                <a:pos x="connsiteX1" y="connsiteY1"/>
              </a:cxn>
              <a:cxn ang="0">
                <a:pos x="connsiteX2" y="connsiteY2"/>
              </a:cxn>
              <a:cxn ang="0">
                <a:pos x="connsiteX3" y="connsiteY3"/>
              </a:cxn>
            </a:cxnLst>
            <a:rect l="l" t="t" r="r" b="b"/>
            <a:pathLst>
              <a:path w="5116972" h="1815135">
                <a:moveTo>
                  <a:pt x="0" y="0"/>
                </a:moveTo>
                <a:lnTo>
                  <a:pt x="5116972" y="0"/>
                </a:lnTo>
                <a:lnTo>
                  <a:pt x="5116972" y="1815135"/>
                </a:lnTo>
                <a:lnTo>
                  <a:pt x="0" y="1815135"/>
                </a:lnTo>
                <a:close/>
              </a:path>
            </a:pathLst>
          </a:custGeom>
        </p:spPr>
        <p:txBody>
          <a:bodyPr wrap="square">
            <a:noAutofit/>
          </a:bodyPr>
          <a:lstStyle/>
          <a:p>
            <a:pPr lvl="0"/>
            <a:endParaRPr lang="zh-CN" altLang="en-US" noProof="0"/>
          </a:p>
        </p:txBody>
      </p:sp>
      <p:sp>
        <p:nvSpPr>
          <p:cNvPr id="13" name="图片占位符 12">
            <a:extLst/>
          </p:cNvPr>
          <p:cNvSpPr>
            <a:spLocks noGrp="1"/>
          </p:cNvSpPr>
          <p:nvPr>
            <p:ph type="pic" sz="quarter" idx="12"/>
          </p:nvPr>
        </p:nvSpPr>
        <p:spPr>
          <a:xfrm>
            <a:off x="6200315" y="1616101"/>
            <a:ext cx="5116972" cy="1815135"/>
          </a:xfrm>
          <a:custGeom>
            <a:avLst/>
            <a:gdLst>
              <a:gd name="connsiteX0" fmla="*/ 0 w 5116972"/>
              <a:gd name="connsiteY0" fmla="*/ 0 h 1815135"/>
              <a:gd name="connsiteX1" fmla="*/ 5116972 w 5116972"/>
              <a:gd name="connsiteY1" fmla="*/ 0 h 1815135"/>
              <a:gd name="connsiteX2" fmla="*/ 5116972 w 5116972"/>
              <a:gd name="connsiteY2" fmla="*/ 1815135 h 1815135"/>
              <a:gd name="connsiteX3" fmla="*/ 0 w 5116972"/>
              <a:gd name="connsiteY3" fmla="*/ 1815135 h 1815135"/>
            </a:gdLst>
            <a:ahLst/>
            <a:cxnLst>
              <a:cxn ang="0">
                <a:pos x="connsiteX0" y="connsiteY0"/>
              </a:cxn>
              <a:cxn ang="0">
                <a:pos x="connsiteX1" y="connsiteY1"/>
              </a:cxn>
              <a:cxn ang="0">
                <a:pos x="connsiteX2" y="connsiteY2"/>
              </a:cxn>
              <a:cxn ang="0">
                <a:pos x="connsiteX3" y="connsiteY3"/>
              </a:cxn>
            </a:cxnLst>
            <a:rect l="l" t="t" r="r" b="b"/>
            <a:pathLst>
              <a:path w="5116972" h="1815135">
                <a:moveTo>
                  <a:pt x="0" y="0"/>
                </a:moveTo>
                <a:lnTo>
                  <a:pt x="5116972" y="0"/>
                </a:lnTo>
                <a:lnTo>
                  <a:pt x="5116972" y="1815135"/>
                </a:lnTo>
                <a:lnTo>
                  <a:pt x="0" y="1815135"/>
                </a:lnTo>
                <a:close/>
              </a:path>
            </a:pathLst>
          </a:custGeom>
        </p:spPr>
        <p:txBody>
          <a:bodyPr wrap="square">
            <a:noAutofit/>
          </a:bodyPr>
          <a:lstStyle/>
          <a:p>
            <a:pPr lvl="0"/>
            <a:endParaRPr lang="zh-CN" altLang="en-US" noProof="0"/>
          </a:p>
        </p:txBody>
      </p:sp>
      <p:sp>
        <p:nvSpPr>
          <p:cNvPr id="15" name="图片占位符 14">
            <a:extLst/>
          </p:cNvPr>
          <p:cNvSpPr>
            <a:spLocks noGrp="1"/>
          </p:cNvSpPr>
          <p:nvPr>
            <p:ph type="pic" sz="quarter" idx="13"/>
          </p:nvPr>
        </p:nvSpPr>
        <p:spPr>
          <a:xfrm>
            <a:off x="6200315" y="3793785"/>
            <a:ext cx="5116972" cy="1815135"/>
          </a:xfrm>
          <a:custGeom>
            <a:avLst/>
            <a:gdLst>
              <a:gd name="connsiteX0" fmla="*/ 0 w 5116972"/>
              <a:gd name="connsiteY0" fmla="*/ 0 h 1815135"/>
              <a:gd name="connsiteX1" fmla="*/ 5116972 w 5116972"/>
              <a:gd name="connsiteY1" fmla="*/ 0 h 1815135"/>
              <a:gd name="connsiteX2" fmla="*/ 5116972 w 5116972"/>
              <a:gd name="connsiteY2" fmla="*/ 1815135 h 1815135"/>
              <a:gd name="connsiteX3" fmla="*/ 0 w 5116972"/>
              <a:gd name="connsiteY3" fmla="*/ 1815135 h 1815135"/>
            </a:gdLst>
            <a:ahLst/>
            <a:cxnLst>
              <a:cxn ang="0">
                <a:pos x="connsiteX0" y="connsiteY0"/>
              </a:cxn>
              <a:cxn ang="0">
                <a:pos x="connsiteX1" y="connsiteY1"/>
              </a:cxn>
              <a:cxn ang="0">
                <a:pos x="connsiteX2" y="connsiteY2"/>
              </a:cxn>
              <a:cxn ang="0">
                <a:pos x="connsiteX3" y="connsiteY3"/>
              </a:cxn>
            </a:cxnLst>
            <a:rect l="l" t="t" r="r" b="b"/>
            <a:pathLst>
              <a:path w="5116972" h="1815135">
                <a:moveTo>
                  <a:pt x="0" y="0"/>
                </a:moveTo>
                <a:lnTo>
                  <a:pt x="5116972" y="0"/>
                </a:lnTo>
                <a:lnTo>
                  <a:pt x="5116972" y="1815135"/>
                </a:lnTo>
                <a:lnTo>
                  <a:pt x="0" y="1815135"/>
                </a:lnTo>
                <a:close/>
              </a:path>
            </a:pathLst>
          </a:custGeom>
        </p:spPr>
        <p:txBody>
          <a:bodyPr wrap="square">
            <a:noAutofit/>
          </a:bodyPr>
          <a:lstStyle/>
          <a:p>
            <a:pPr lvl="0"/>
            <a:endParaRPr lang="zh-CN" altLang="en-US" noProof="0"/>
          </a:p>
        </p:txBody>
      </p:sp>
    </p:spTree>
  </p:cSld>
  <p:clrMapOvr>
    <a:masterClrMapping/>
  </p:clrMapOvr>
  <p:transition spd="slow"/>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_自定义版式">
    <p:spTree>
      <p:nvGrpSpPr>
        <p:cNvPr id="1" name=""/>
        <p:cNvGrpSpPr/>
        <p:nvPr/>
      </p:nvGrpSpPr>
      <p:grpSpPr>
        <a:xfrm>
          <a:off x="0" y="0"/>
          <a:ext cx="0" cy="0"/>
          <a:chOff x="0" y="0"/>
          <a:chExt cx="0" cy="0"/>
        </a:xfrm>
      </p:grpSpPr>
      <p:sp>
        <p:nvSpPr>
          <p:cNvPr id="10" name="图片占位符 9">
            <a:extLst/>
          </p:cNvPr>
          <p:cNvSpPr>
            <a:spLocks noGrp="1"/>
          </p:cNvSpPr>
          <p:nvPr>
            <p:ph type="pic" sz="quarter" idx="10"/>
          </p:nvPr>
        </p:nvSpPr>
        <p:spPr>
          <a:xfrm>
            <a:off x="1413036" y="1986039"/>
            <a:ext cx="2864878" cy="2456948"/>
          </a:xfrm>
          <a:custGeom>
            <a:avLst/>
            <a:gdLst>
              <a:gd name="connsiteX0" fmla="*/ 614238 w 2864878"/>
              <a:gd name="connsiteY0" fmla="*/ 0 h 2456948"/>
              <a:gd name="connsiteX1" fmla="*/ 2250641 w 2864878"/>
              <a:gd name="connsiteY1" fmla="*/ 0 h 2456948"/>
              <a:gd name="connsiteX2" fmla="*/ 2864878 w 2864878"/>
              <a:gd name="connsiteY2" fmla="*/ 1228474 h 2456948"/>
              <a:gd name="connsiteX3" fmla="*/ 2250641 w 2864878"/>
              <a:gd name="connsiteY3" fmla="*/ 2456948 h 2456948"/>
              <a:gd name="connsiteX4" fmla="*/ 614238 w 2864878"/>
              <a:gd name="connsiteY4" fmla="*/ 2456948 h 2456948"/>
              <a:gd name="connsiteX5" fmla="*/ 0 w 2864878"/>
              <a:gd name="connsiteY5" fmla="*/ 1228474 h 2456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4878" h="2456948">
                <a:moveTo>
                  <a:pt x="614238" y="0"/>
                </a:moveTo>
                <a:lnTo>
                  <a:pt x="2250641" y="0"/>
                </a:lnTo>
                <a:lnTo>
                  <a:pt x="2864878" y="1228474"/>
                </a:lnTo>
                <a:lnTo>
                  <a:pt x="2250641" y="2456948"/>
                </a:lnTo>
                <a:lnTo>
                  <a:pt x="614238" y="2456948"/>
                </a:lnTo>
                <a:lnTo>
                  <a:pt x="0" y="1228474"/>
                </a:lnTo>
                <a:close/>
              </a:path>
            </a:pathLst>
          </a:custGeom>
        </p:spPr>
        <p:txBody>
          <a:bodyPr wrap="square">
            <a:noAutofit/>
          </a:bodyPr>
          <a:lstStyle/>
          <a:p>
            <a:pPr lvl="0"/>
            <a:endParaRPr lang="zh-CN" altLang="en-US" noProof="0"/>
          </a:p>
        </p:txBody>
      </p:sp>
      <p:sp>
        <p:nvSpPr>
          <p:cNvPr id="11" name="图片占位符 10">
            <a:extLst/>
          </p:cNvPr>
          <p:cNvSpPr>
            <a:spLocks noGrp="1"/>
          </p:cNvSpPr>
          <p:nvPr>
            <p:ph type="pic" sz="quarter" idx="11"/>
          </p:nvPr>
        </p:nvSpPr>
        <p:spPr>
          <a:xfrm>
            <a:off x="4670586" y="1986039"/>
            <a:ext cx="2864878" cy="2456948"/>
          </a:xfrm>
          <a:custGeom>
            <a:avLst/>
            <a:gdLst>
              <a:gd name="connsiteX0" fmla="*/ 614238 w 2864878"/>
              <a:gd name="connsiteY0" fmla="*/ 0 h 2456948"/>
              <a:gd name="connsiteX1" fmla="*/ 2250641 w 2864878"/>
              <a:gd name="connsiteY1" fmla="*/ 0 h 2456948"/>
              <a:gd name="connsiteX2" fmla="*/ 2864878 w 2864878"/>
              <a:gd name="connsiteY2" fmla="*/ 1228474 h 2456948"/>
              <a:gd name="connsiteX3" fmla="*/ 2250641 w 2864878"/>
              <a:gd name="connsiteY3" fmla="*/ 2456948 h 2456948"/>
              <a:gd name="connsiteX4" fmla="*/ 614238 w 2864878"/>
              <a:gd name="connsiteY4" fmla="*/ 2456948 h 2456948"/>
              <a:gd name="connsiteX5" fmla="*/ 0 w 2864878"/>
              <a:gd name="connsiteY5" fmla="*/ 1228474 h 2456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4878" h="2456948">
                <a:moveTo>
                  <a:pt x="614238" y="0"/>
                </a:moveTo>
                <a:lnTo>
                  <a:pt x="2250641" y="0"/>
                </a:lnTo>
                <a:lnTo>
                  <a:pt x="2864878" y="1228474"/>
                </a:lnTo>
                <a:lnTo>
                  <a:pt x="2250641" y="2456948"/>
                </a:lnTo>
                <a:lnTo>
                  <a:pt x="614238" y="2456948"/>
                </a:lnTo>
                <a:lnTo>
                  <a:pt x="0" y="1228474"/>
                </a:lnTo>
                <a:close/>
              </a:path>
            </a:pathLst>
          </a:custGeom>
        </p:spPr>
        <p:txBody>
          <a:bodyPr wrap="square">
            <a:noAutofit/>
          </a:bodyPr>
          <a:lstStyle/>
          <a:p>
            <a:pPr lvl="0"/>
            <a:endParaRPr lang="zh-CN" altLang="en-US" noProof="0"/>
          </a:p>
        </p:txBody>
      </p:sp>
      <p:sp>
        <p:nvSpPr>
          <p:cNvPr id="12" name="图片占位符 11">
            <a:extLst/>
          </p:cNvPr>
          <p:cNvSpPr>
            <a:spLocks noGrp="1"/>
          </p:cNvSpPr>
          <p:nvPr>
            <p:ph type="pic" sz="quarter" idx="12"/>
          </p:nvPr>
        </p:nvSpPr>
        <p:spPr>
          <a:xfrm>
            <a:off x="7928136" y="1986039"/>
            <a:ext cx="2864878" cy="2456948"/>
          </a:xfrm>
          <a:custGeom>
            <a:avLst/>
            <a:gdLst>
              <a:gd name="connsiteX0" fmla="*/ 614238 w 2864878"/>
              <a:gd name="connsiteY0" fmla="*/ 0 h 2456948"/>
              <a:gd name="connsiteX1" fmla="*/ 2250641 w 2864878"/>
              <a:gd name="connsiteY1" fmla="*/ 0 h 2456948"/>
              <a:gd name="connsiteX2" fmla="*/ 2864878 w 2864878"/>
              <a:gd name="connsiteY2" fmla="*/ 1228474 h 2456948"/>
              <a:gd name="connsiteX3" fmla="*/ 2250641 w 2864878"/>
              <a:gd name="connsiteY3" fmla="*/ 2456948 h 2456948"/>
              <a:gd name="connsiteX4" fmla="*/ 614238 w 2864878"/>
              <a:gd name="connsiteY4" fmla="*/ 2456948 h 2456948"/>
              <a:gd name="connsiteX5" fmla="*/ 0 w 2864878"/>
              <a:gd name="connsiteY5" fmla="*/ 1228474 h 2456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4878" h="2456948">
                <a:moveTo>
                  <a:pt x="614238" y="0"/>
                </a:moveTo>
                <a:lnTo>
                  <a:pt x="2250641" y="0"/>
                </a:lnTo>
                <a:lnTo>
                  <a:pt x="2864878" y="1228474"/>
                </a:lnTo>
                <a:lnTo>
                  <a:pt x="2250641" y="2456948"/>
                </a:lnTo>
                <a:lnTo>
                  <a:pt x="614238" y="2456948"/>
                </a:lnTo>
                <a:lnTo>
                  <a:pt x="0" y="1228474"/>
                </a:lnTo>
                <a:close/>
              </a:path>
            </a:pathLst>
          </a:custGeom>
        </p:spPr>
        <p:txBody>
          <a:bodyPr wrap="square">
            <a:noAutofit/>
          </a:bodyPr>
          <a:lstStyle/>
          <a:p>
            <a:pPr lvl="0"/>
            <a:endParaRPr lang="zh-CN" altLang="en-US" noProof="0"/>
          </a:p>
        </p:txBody>
      </p:sp>
    </p:spTree>
  </p:cSld>
  <p:clrMapOvr>
    <a:masterClrMapping/>
  </p:clrMapOvr>
  <p:transition spd="slow"/>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12" name="图片占位符 11">
            <a:extLst/>
          </p:cNvPr>
          <p:cNvSpPr>
            <a:spLocks noGrp="1"/>
          </p:cNvSpPr>
          <p:nvPr>
            <p:ph type="pic" sz="quarter" idx="10"/>
          </p:nvPr>
        </p:nvSpPr>
        <p:spPr>
          <a:xfrm>
            <a:off x="1229664" y="1955801"/>
            <a:ext cx="1641860" cy="1624794"/>
          </a:xfrm>
          <a:custGeom>
            <a:avLst/>
            <a:gdLst>
              <a:gd name="connsiteX0" fmla="*/ 820930 w 1641860"/>
              <a:gd name="connsiteY0" fmla="*/ 0 h 1624794"/>
              <a:gd name="connsiteX1" fmla="*/ 1641860 w 1641860"/>
              <a:gd name="connsiteY1" fmla="*/ 812397 h 1624794"/>
              <a:gd name="connsiteX2" fmla="*/ 820930 w 1641860"/>
              <a:gd name="connsiteY2" fmla="*/ 1624794 h 1624794"/>
              <a:gd name="connsiteX3" fmla="*/ 0 w 1641860"/>
              <a:gd name="connsiteY3" fmla="*/ 812397 h 1624794"/>
              <a:gd name="connsiteX4" fmla="*/ 820930 w 1641860"/>
              <a:gd name="connsiteY4" fmla="*/ 0 h 1624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1860" h="1624794">
                <a:moveTo>
                  <a:pt x="820930" y="0"/>
                </a:moveTo>
                <a:cubicBezTo>
                  <a:pt x="1274317" y="0"/>
                  <a:pt x="1641860" y="363723"/>
                  <a:pt x="1641860" y="812397"/>
                </a:cubicBezTo>
                <a:cubicBezTo>
                  <a:pt x="1641860" y="1261071"/>
                  <a:pt x="1274317" y="1624794"/>
                  <a:pt x="820930" y="1624794"/>
                </a:cubicBezTo>
                <a:cubicBezTo>
                  <a:pt x="367543" y="1624794"/>
                  <a:pt x="0" y="1261071"/>
                  <a:pt x="0" y="812397"/>
                </a:cubicBezTo>
                <a:cubicBezTo>
                  <a:pt x="0" y="363723"/>
                  <a:pt x="367543" y="0"/>
                  <a:pt x="820930" y="0"/>
                </a:cubicBezTo>
                <a:close/>
              </a:path>
            </a:pathLst>
          </a:custGeom>
        </p:spPr>
        <p:txBody>
          <a:bodyPr wrap="square">
            <a:noAutofit/>
          </a:bodyPr>
          <a:lstStyle/>
          <a:p>
            <a:pPr lvl="0"/>
            <a:endParaRPr lang="zh-CN" altLang="en-US" noProof="0"/>
          </a:p>
        </p:txBody>
      </p:sp>
      <p:sp>
        <p:nvSpPr>
          <p:cNvPr id="13" name="图片占位符 12">
            <a:extLst/>
          </p:cNvPr>
          <p:cNvSpPr>
            <a:spLocks noGrp="1"/>
          </p:cNvSpPr>
          <p:nvPr>
            <p:ph type="pic" sz="quarter" idx="11"/>
          </p:nvPr>
        </p:nvSpPr>
        <p:spPr>
          <a:xfrm>
            <a:off x="3841929" y="1955801"/>
            <a:ext cx="1641860" cy="1624794"/>
          </a:xfrm>
          <a:custGeom>
            <a:avLst/>
            <a:gdLst>
              <a:gd name="connsiteX0" fmla="*/ 820930 w 1641860"/>
              <a:gd name="connsiteY0" fmla="*/ 0 h 1624794"/>
              <a:gd name="connsiteX1" fmla="*/ 1641860 w 1641860"/>
              <a:gd name="connsiteY1" fmla="*/ 812397 h 1624794"/>
              <a:gd name="connsiteX2" fmla="*/ 820930 w 1641860"/>
              <a:gd name="connsiteY2" fmla="*/ 1624794 h 1624794"/>
              <a:gd name="connsiteX3" fmla="*/ 0 w 1641860"/>
              <a:gd name="connsiteY3" fmla="*/ 812397 h 1624794"/>
              <a:gd name="connsiteX4" fmla="*/ 820930 w 1641860"/>
              <a:gd name="connsiteY4" fmla="*/ 0 h 1624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1860" h="1624794">
                <a:moveTo>
                  <a:pt x="820930" y="0"/>
                </a:moveTo>
                <a:cubicBezTo>
                  <a:pt x="1274317" y="0"/>
                  <a:pt x="1641860" y="363723"/>
                  <a:pt x="1641860" y="812397"/>
                </a:cubicBezTo>
                <a:cubicBezTo>
                  <a:pt x="1641860" y="1261071"/>
                  <a:pt x="1274317" y="1624794"/>
                  <a:pt x="820930" y="1624794"/>
                </a:cubicBezTo>
                <a:cubicBezTo>
                  <a:pt x="367543" y="1624794"/>
                  <a:pt x="0" y="1261071"/>
                  <a:pt x="0" y="812397"/>
                </a:cubicBezTo>
                <a:cubicBezTo>
                  <a:pt x="0" y="363723"/>
                  <a:pt x="367543" y="0"/>
                  <a:pt x="820930" y="0"/>
                </a:cubicBezTo>
                <a:close/>
              </a:path>
            </a:pathLst>
          </a:custGeom>
        </p:spPr>
        <p:txBody>
          <a:bodyPr wrap="square">
            <a:noAutofit/>
          </a:bodyPr>
          <a:lstStyle/>
          <a:p>
            <a:pPr lvl="0"/>
            <a:endParaRPr lang="zh-CN" altLang="en-US" noProof="0"/>
          </a:p>
        </p:txBody>
      </p:sp>
      <p:sp>
        <p:nvSpPr>
          <p:cNvPr id="14" name="图片占位符 13">
            <a:extLst/>
          </p:cNvPr>
          <p:cNvSpPr>
            <a:spLocks noGrp="1"/>
          </p:cNvSpPr>
          <p:nvPr>
            <p:ph type="pic" sz="quarter" idx="12"/>
          </p:nvPr>
        </p:nvSpPr>
        <p:spPr>
          <a:xfrm>
            <a:off x="6454193" y="1955801"/>
            <a:ext cx="1641860" cy="1624794"/>
          </a:xfrm>
          <a:custGeom>
            <a:avLst/>
            <a:gdLst>
              <a:gd name="connsiteX0" fmla="*/ 820930 w 1641860"/>
              <a:gd name="connsiteY0" fmla="*/ 0 h 1624794"/>
              <a:gd name="connsiteX1" fmla="*/ 1641860 w 1641860"/>
              <a:gd name="connsiteY1" fmla="*/ 812397 h 1624794"/>
              <a:gd name="connsiteX2" fmla="*/ 820930 w 1641860"/>
              <a:gd name="connsiteY2" fmla="*/ 1624794 h 1624794"/>
              <a:gd name="connsiteX3" fmla="*/ 0 w 1641860"/>
              <a:gd name="connsiteY3" fmla="*/ 812397 h 1624794"/>
              <a:gd name="connsiteX4" fmla="*/ 820930 w 1641860"/>
              <a:gd name="connsiteY4" fmla="*/ 0 h 1624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1860" h="1624794">
                <a:moveTo>
                  <a:pt x="820930" y="0"/>
                </a:moveTo>
                <a:cubicBezTo>
                  <a:pt x="1274317" y="0"/>
                  <a:pt x="1641860" y="363723"/>
                  <a:pt x="1641860" y="812397"/>
                </a:cubicBezTo>
                <a:cubicBezTo>
                  <a:pt x="1641860" y="1261071"/>
                  <a:pt x="1274317" y="1624794"/>
                  <a:pt x="820930" y="1624794"/>
                </a:cubicBezTo>
                <a:cubicBezTo>
                  <a:pt x="367543" y="1624794"/>
                  <a:pt x="0" y="1261071"/>
                  <a:pt x="0" y="812397"/>
                </a:cubicBezTo>
                <a:cubicBezTo>
                  <a:pt x="0" y="363723"/>
                  <a:pt x="367543" y="0"/>
                  <a:pt x="820930" y="0"/>
                </a:cubicBezTo>
                <a:close/>
              </a:path>
            </a:pathLst>
          </a:custGeom>
        </p:spPr>
        <p:txBody>
          <a:bodyPr wrap="square">
            <a:noAutofit/>
          </a:bodyPr>
          <a:lstStyle/>
          <a:p>
            <a:pPr lvl="0"/>
            <a:endParaRPr lang="zh-CN" altLang="en-US" noProof="0" dirty="0"/>
          </a:p>
        </p:txBody>
      </p:sp>
      <p:sp>
        <p:nvSpPr>
          <p:cNvPr id="15" name="图片占位符 14">
            <a:extLst/>
          </p:cNvPr>
          <p:cNvSpPr>
            <a:spLocks noGrp="1"/>
          </p:cNvSpPr>
          <p:nvPr>
            <p:ph type="pic" sz="quarter" idx="13"/>
          </p:nvPr>
        </p:nvSpPr>
        <p:spPr>
          <a:xfrm>
            <a:off x="9066458" y="1955801"/>
            <a:ext cx="1641860" cy="1624794"/>
          </a:xfrm>
          <a:custGeom>
            <a:avLst/>
            <a:gdLst>
              <a:gd name="connsiteX0" fmla="*/ 820930 w 1641860"/>
              <a:gd name="connsiteY0" fmla="*/ 0 h 1624794"/>
              <a:gd name="connsiteX1" fmla="*/ 1641860 w 1641860"/>
              <a:gd name="connsiteY1" fmla="*/ 812397 h 1624794"/>
              <a:gd name="connsiteX2" fmla="*/ 820930 w 1641860"/>
              <a:gd name="connsiteY2" fmla="*/ 1624794 h 1624794"/>
              <a:gd name="connsiteX3" fmla="*/ 0 w 1641860"/>
              <a:gd name="connsiteY3" fmla="*/ 812397 h 1624794"/>
              <a:gd name="connsiteX4" fmla="*/ 820930 w 1641860"/>
              <a:gd name="connsiteY4" fmla="*/ 0 h 1624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1860" h="1624794">
                <a:moveTo>
                  <a:pt x="820930" y="0"/>
                </a:moveTo>
                <a:cubicBezTo>
                  <a:pt x="1274317" y="0"/>
                  <a:pt x="1641860" y="363723"/>
                  <a:pt x="1641860" y="812397"/>
                </a:cubicBezTo>
                <a:cubicBezTo>
                  <a:pt x="1641860" y="1261071"/>
                  <a:pt x="1274317" y="1624794"/>
                  <a:pt x="820930" y="1624794"/>
                </a:cubicBezTo>
                <a:cubicBezTo>
                  <a:pt x="367543" y="1624794"/>
                  <a:pt x="0" y="1261071"/>
                  <a:pt x="0" y="812397"/>
                </a:cubicBezTo>
                <a:cubicBezTo>
                  <a:pt x="0" y="363723"/>
                  <a:pt x="367543" y="0"/>
                  <a:pt x="820930" y="0"/>
                </a:cubicBezTo>
                <a:close/>
              </a:path>
            </a:pathLst>
          </a:custGeom>
        </p:spPr>
        <p:txBody>
          <a:bodyPr wrap="square">
            <a:noAutofit/>
          </a:bodyPr>
          <a:lstStyle/>
          <a:p>
            <a:pPr lvl="0"/>
            <a:endParaRPr lang="zh-CN" altLang="en-US" noProof="0"/>
          </a:p>
        </p:txBody>
      </p:sp>
    </p:spTree>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自定义版式">
    <p:spTree>
      <p:nvGrpSpPr>
        <p:cNvPr id="1" name=""/>
        <p:cNvGrpSpPr/>
        <p:nvPr/>
      </p:nvGrpSpPr>
      <p:grpSpPr>
        <a:xfrm>
          <a:off x="0" y="0"/>
          <a:ext cx="0" cy="0"/>
          <a:chOff x="0" y="0"/>
          <a:chExt cx="0" cy="0"/>
        </a:xfrm>
      </p:grpSpPr>
      <p:sp>
        <p:nvSpPr>
          <p:cNvPr id="4" name="图片占位符 3">
            <a:extLst/>
          </p:cNvPr>
          <p:cNvSpPr>
            <a:spLocks noGrp="1"/>
          </p:cNvSpPr>
          <p:nvPr>
            <p:ph type="pic" sz="quarter" idx="10"/>
          </p:nvPr>
        </p:nvSpPr>
        <p:spPr>
          <a:xfrm>
            <a:off x="0" y="0"/>
            <a:ext cx="12192000" cy="6858000"/>
          </a:xfrm>
          <a:prstGeom prst="rect">
            <a:avLst/>
          </a:prstGeom>
        </p:spPr>
        <p:txBody>
          <a:bodyPr/>
          <a:lstStyle/>
          <a:p>
            <a:pPr lvl="0"/>
            <a:endParaRPr lang="zh-CN" altLang="en-US" noProof="0"/>
          </a:p>
        </p:txBody>
      </p:sp>
    </p:spTree>
  </p:cSld>
  <p:clrMapOvr>
    <a:masterClrMapping/>
  </p:clrMapOvr>
  <p:transition spd="slow"/>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10" name="图片占位符 9">
            <a:extLst/>
          </p:cNvPr>
          <p:cNvSpPr>
            <a:spLocks noGrp="1"/>
          </p:cNvSpPr>
          <p:nvPr>
            <p:ph type="pic" sz="quarter" idx="10"/>
          </p:nvPr>
        </p:nvSpPr>
        <p:spPr>
          <a:xfrm>
            <a:off x="4100870" y="1641487"/>
            <a:ext cx="3708001" cy="2347284"/>
          </a:xfrm>
          <a:custGeom>
            <a:avLst/>
            <a:gdLst>
              <a:gd name="connsiteX0" fmla="*/ 0 w 3708001"/>
              <a:gd name="connsiteY0" fmla="*/ 0 h 2347284"/>
              <a:gd name="connsiteX1" fmla="*/ 3708001 w 3708001"/>
              <a:gd name="connsiteY1" fmla="*/ 0 h 2347284"/>
              <a:gd name="connsiteX2" fmla="*/ 3708001 w 3708001"/>
              <a:gd name="connsiteY2" fmla="*/ 2347284 h 2347284"/>
              <a:gd name="connsiteX3" fmla="*/ 0 w 3708001"/>
              <a:gd name="connsiteY3" fmla="*/ 2347284 h 2347284"/>
            </a:gdLst>
            <a:ahLst/>
            <a:cxnLst>
              <a:cxn ang="0">
                <a:pos x="connsiteX0" y="connsiteY0"/>
              </a:cxn>
              <a:cxn ang="0">
                <a:pos x="connsiteX1" y="connsiteY1"/>
              </a:cxn>
              <a:cxn ang="0">
                <a:pos x="connsiteX2" y="connsiteY2"/>
              </a:cxn>
              <a:cxn ang="0">
                <a:pos x="connsiteX3" y="connsiteY3"/>
              </a:cxn>
            </a:cxnLst>
            <a:rect l="l" t="t" r="r" b="b"/>
            <a:pathLst>
              <a:path w="3708001" h="2347284">
                <a:moveTo>
                  <a:pt x="0" y="0"/>
                </a:moveTo>
                <a:lnTo>
                  <a:pt x="3708001" y="0"/>
                </a:lnTo>
                <a:lnTo>
                  <a:pt x="3708001" y="2347284"/>
                </a:lnTo>
                <a:lnTo>
                  <a:pt x="0" y="2347284"/>
                </a:lnTo>
                <a:close/>
              </a:path>
            </a:pathLst>
          </a:custGeom>
        </p:spPr>
        <p:txBody>
          <a:bodyPr wrap="square">
            <a:noAutofit/>
          </a:bodyPr>
          <a:lstStyle/>
          <a:p>
            <a:pPr lvl="0"/>
            <a:endParaRPr lang="zh-CN" altLang="en-US" noProof="0"/>
          </a:p>
        </p:txBody>
      </p:sp>
      <p:sp>
        <p:nvSpPr>
          <p:cNvPr id="11" name="图片占位符 10">
            <a:extLst/>
          </p:cNvPr>
          <p:cNvSpPr>
            <a:spLocks noGrp="1"/>
          </p:cNvSpPr>
          <p:nvPr>
            <p:ph type="pic" sz="quarter" idx="11"/>
          </p:nvPr>
        </p:nvSpPr>
        <p:spPr>
          <a:xfrm>
            <a:off x="7979202" y="1641488"/>
            <a:ext cx="3323559" cy="2051173"/>
          </a:xfrm>
          <a:custGeom>
            <a:avLst/>
            <a:gdLst>
              <a:gd name="connsiteX0" fmla="*/ 0 w 3323559"/>
              <a:gd name="connsiteY0" fmla="*/ 0 h 2051173"/>
              <a:gd name="connsiteX1" fmla="*/ 3323559 w 3323559"/>
              <a:gd name="connsiteY1" fmla="*/ 0 h 2051173"/>
              <a:gd name="connsiteX2" fmla="*/ 3323559 w 3323559"/>
              <a:gd name="connsiteY2" fmla="*/ 2051173 h 2051173"/>
              <a:gd name="connsiteX3" fmla="*/ 0 w 3323559"/>
              <a:gd name="connsiteY3" fmla="*/ 2051173 h 2051173"/>
            </a:gdLst>
            <a:ahLst/>
            <a:cxnLst>
              <a:cxn ang="0">
                <a:pos x="connsiteX0" y="connsiteY0"/>
              </a:cxn>
              <a:cxn ang="0">
                <a:pos x="connsiteX1" y="connsiteY1"/>
              </a:cxn>
              <a:cxn ang="0">
                <a:pos x="connsiteX2" y="connsiteY2"/>
              </a:cxn>
              <a:cxn ang="0">
                <a:pos x="connsiteX3" y="connsiteY3"/>
              </a:cxn>
            </a:cxnLst>
            <a:rect l="l" t="t" r="r" b="b"/>
            <a:pathLst>
              <a:path w="3323559" h="2051173">
                <a:moveTo>
                  <a:pt x="0" y="0"/>
                </a:moveTo>
                <a:lnTo>
                  <a:pt x="3323559" y="0"/>
                </a:lnTo>
                <a:lnTo>
                  <a:pt x="3323559" y="2051173"/>
                </a:lnTo>
                <a:lnTo>
                  <a:pt x="0" y="2051173"/>
                </a:lnTo>
                <a:close/>
              </a:path>
            </a:pathLst>
          </a:custGeom>
        </p:spPr>
        <p:txBody>
          <a:bodyPr wrap="square">
            <a:noAutofit/>
          </a:bodyPr>
          <a:lstStyle/>
          <a:p>
            <a:pPr lvl="0"/>
            <a:endParaRPr lang="zh-CN" altLang="en-US" noProof="0"/>
          </a:p>
        </p:txBody>
      </p:sp>
      <p:sp>
        <p:nvSpPr>
          <p:cNvPr id="12" name="图片占位符 11">
            <a:extLst/>
          </p:cNvPr>
          <p:cNvSpPr>
            <a:spLocks noGrp="1"/>
          </p:cNvSpPr>
          <p:nvPr>
            <p:ph type="pic" sz="quarter" idx="12"/>
          </p:nvPr>
        </p:nvSpPr>
        <p:spPr>
          <a:xfrm>
            <a:off x="874714" y="4172231"/>
            <a:ext cx="6934157" cy="1765008"/>
          </a:xfrm>
          <a:custGeom>
            <a:avLst/>
            <a:gdLst>
              <a:gd name="connsiteX0" fmla="*/ 0 w 6934157"/>
              <a:gd name="connsiteY0" fmla="*/ 0 h 1765008"/>
              <a:gd name="connsiteX1" fmla="*/ 6934157 w 6934157"/>
              <a:gd name="connsiteY1" fmla="*/ 0 h 1765008"/>
              <a:gd name="connsiteX2" fmla="*/ 6934157 w 6934157"/>
              <a:gd name="connsiteY2" fmla="*/ 1765008 h 1765008"/>
              <a:gd name="connsiteX3" fmla="*/ 0 w 6934157"/>
              <a:gd name="connsiteY3" fmla="*/ 1765008 h 1765008"/>
            </a:gdLst>
            <a:ahLst/>
            <a:cxnLst>
              <a:cxn ang="0">
                <a:pos x="connsiteX0" y="connsiteY0"/>
              </a:cxn>
              <a:cxn ang="0">
                <a:pos x="connsiteX1" y="connsiteY1"/>
              </a:cxn>
              <a:cxn ang="0">
                <a:pos x="connsiteX2" y="connsiteY2"/>
              </a:cxn>
              <a:cxn ang="0">
                <a:pos x="connsiteX3" y="connsiteY3"/>
              </a:cxn>
            </a:cxnLst>
            <a:rect l="l" t="t" r="r" b="b"/>
            <a:pathLst>
              <a:path w="6934157" h="1765008">
                <a:moveTo>
                  <a:pt x="0" y="0"/>
                </a:moveTo>
                <a:lnTo>
                  <a:pt x="6934157" y="0"/>
                </a:lnTo>
                <a:lnTo>
                  <a:pt x="6934157" y="1765008"/>
                </a:lnTo>
                <a:lnTo>
                  <a:pt x="0" y="1765008"/>
                </a:lnTo>
                <a:close/>
              </a:path>
            </a:pathLst>
          </a:custGeom>
        </p:spPr>
        <p:txBody>
          <a:bodyPr wrap="square">
            <a:noAutofit/>
          </a:bodyPr>
          <a:lstStyle/>
          <a:p>
            <a:pPr lvl="0"/>
            <a:endParaRPr lang="zh-CN" altLang="en-US" noProof="0"/>
          </a:p>
        </p:txBody>
      </p:sp>
    </p:spTree>
  </p:cSld>
  <p:clrMapOvr>
    <a:masterClrMapping/>
  </p:clrMapOvr>
  <p:transition spd="slow"/>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9" name="图片占位符 8">
            <a:extLst/>
          </p:cNvPr>
          <p:cNvSpPr>
            <a:spLocks noGrp="1"/>
          </p:cNvSpPr>
          <p:nvPr>
            <p:ph type="pic" sz="quarter" idx="10"/>
          </p:nvPr>
        </p:nvSpPr>
        <p:spPr>
          <a:xfrm>
            <a:off x="3980161" y="3662277"/>
            <a:ext cx="4496750" cy="1752641"/>
          </a:xfrm>
          <a:custGeom>
            <a:avLst/>
            <a:gdLst>
              <a:gd name="connsiteX0" fmla="*/ 2864411 w 4496750"/>
              <a:gd name="connsiteY0" fmla="*/ 0 h 1752641"/>
              <a:gd name="connsiteX1" fmla="*/ 4496750 w 4496750"/>
              <a:gd name="connsiteY1" fmla="*/ 633131 h 1752641"/>
              <a:gd name="connsiteX2" fmla="*/ 1632339 w 4496750"/>
              <a:gd name="connsiteY2" fmla="*/ 1752641 h 1752641"/>
              <a:gd name="connsiteX3" fmla="*/ 0 w 4496750"/>
              <a:gd name="connsiteY3" fmla="*/ 1119510 h 1752641"/>
            </a:gdLst>
            <a:ahLst/>
            <a:cxnLst>
              <a:cxn ang="0">
                <a:pos x="connsiteX0" y="connsiteY0"/>
              </a:cxn>
              <a:cxn ang="0">
                <a:pos x="connsiteX1" y="connsiteY1"/>
              </a:cxn>
              <a:cxn ang="0">
                <a:pos x="connsiteX2" y="connsiteY2"/>
              </a:cxn>
              <a:cxn ang="0">
                <a:pos x="connsiteX3" y="connsiteY3"/>
              </a:cxn>
            </a:cxnLst>
            <a:rect l="l" t="t" r="r" b="b"/>
            <a:pathLst>
              <a:path w="4496750" h="1752641">
                <a:moveTo>
                  <a:pt x="2864411" y="0"/>
                </a:moveTo>
                <a:lnTo>
                  <a:pt x="4496750" y="633131"/>
                </a:lnTo>
                <a:lnTo>
                  <a:pt x="1632339" y="1752641"/>
                </a:lnTo>
                <a:lnTo>
                  <a:pt x="0" y="1119510"/>
                </a:lnTo>
                <a:close/>
              </a:path>
            </a:pathLst>
          </a:custGeom>
        </p:spPr>
        <p:txBody>
          <a:bodyPr wrap="square">
            <a:noAutofit/>
          </a:bodyPr>
          <a:lstStyle/>
          <a:p>
            <a:pPr lvl="0"/>
            <a:endParaRPr lang="zh-CN" altLang="en-US" noProof="0"/>
          </a:p>
        </p:txBody>
      </p:sp>
      <p:sp>
        <p:nvSpPr>
          <p:cNvPr id="8" name="图片占位符 7">
            <a:extLst/>
          </p:cNvPr>
          <p:cNvSpPr>
            <a:spLocks noGrp="1"/>
          </p:cNvSpPr>
          <p:nvPr>
            <p:ph type="pic" sz="quarter" idx="11"/>
          </p:nvPr>
        </p:nvSpPr>
        <p:spPr>
          <a:xfrm>
            <a:off x="4057739" y="3351144"/>
            <a:ext cx="4496750" cy="1752641"/>
          </a:xfrm>
          <a:custGeom>
            <a:avLst/>
            <a:gdLst>
              <a:gd name="connsiteX0" fmla="*/ 2864411 w 4496750"/>
              <a:gd name="connsiteY0" fmla="*/ 0 h 1752641"/>
              <a:gd name="connsiteX1" fmla="*/ 4496750 w 4496750"/>
              <a:gd name="connsiteY1" fmla="*/ 633131 h 1752641"/>
              <a:gd name="connsiteX2" fmla="*/ 1632339 w 4496750"/>
              <a:gd name="connsiteY2" fmla="*/ 1752641 h 1752641"/>
              <a:gd name="connsiteX3" fmla="*/ 0 w 4496750"/>
              <a:gd name="connsiteY3" fmla="*/ 1119510 h 1752641"/>
            </a:gdLst>
            <a:ahLst/>
            <a:cxnLst>
              <a:cxn ang="0">
                <a:pos x="connsiteX0" y="connsiteY0"/>
              </a:cxn>
              <a:cxn ang="0">
                <a:pos x="connsiteX1" y="connsiteY1"/>
              </a:cxn>
              <a:cxn ang="0">
                <a:pos x="connsiteX2" y="connsiteY2"/>
              </a:cxn>
              <a:cxn ang="0">
                <a:pos x="connsiteX3" y="connsiteY3"/>
              </a:cxn>
            </a:cxnLst>
            <a:rect l="l" t="t" r="r" b="b"/>
            <a:pathLst>
              <a:path w="4496750" h="1752641">
                <a:moveTo>
                  <a:pt x="2864411" y="0"/>
                </a:moveTo>
                <a:lnTo>
                  <a:pt x="4496750" y="633131"/>
                </a:lnTo>
                <a:lnTo>
                  <a:pt x="1632339" y="1752641"/>
                </a:lnTo>
                <a:lnTo>
                  <a:pt x="0" y="1119510"/>
                </a:lnTo>
                <a:close/>
              </a:path>
            </a:pathLst>
          </a:custGeom>
        </p:spPr>
        <p:txBody>
          <a:bodyPr wrap="square">
            <a:noAutofit/>
          </a:bodyPr>
          <a:lstStyle/>
          <a:p>
            <a:pPr lvl="0"/>
            <a:endParaRPr lang="zh-CN" altLang="en-US" noProof="0"/>
          </a:p>
        </p:txBody>
      </p:sp>
    </p:spTree>
  </p:cSld>
  <p:clrMapOvr>
    <a:masterClrMapping/>
  </p:clrMapOvr>
  <p:transition spd="slow"/>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320"/>
            <a:ext cx="10972800" cy="1143000"/>
          </a:xfrm>
          <a:prstGeom prst="rect">
            <a:avLst/>
          </a:prstGeom>
        </p:spPr>
        <p:txBody>
          <a:bodyPr lIns="117226" tIns="58613" rIns="117226" bIns="58613"/>
          <a:lstStyle/>
          <a:p>
            <a:r>
              <a:rPr lang="zh-CN" altLang="en-US"/>
              <a:t>单击此处编辑母版标题样式</a:t>
            </a:r>
          </a:p>
        </p:txBody>
      </p:sp>
      <p:sp>
        <p:nvSpPr>
          <p:cNvPr id="3" name="日期占位符 3"/>
          <p:cNvSpPr>
            <a:spLocks noGrp="1" noChangeArrowheads="1"/>
          </p:cNvSpPr>
          <p:nvPr>
            <p:ph type="dt" sz="half" idx="10"/>
          </p:nvPr>
        </p:nvSpPr>
        <p:spPr>
          <a:xfrm>
            <a:off x="609600" y="6356350"/>
            <a:ext cx="2844800" cy="365125"/>
          </a:xfrm>
          <a:prstGeom prst="rect">
            <a:avLst/>
          </a:prstGeom>
        </p:spPr>
        <p:txBody>
          <a:bodyPr lIns="117226" tIns="58613" rIns="117226" bIns="58613"/>
          <a:lstStyle>
            <a:lvl1pPr eaLnBrk="0" hangingPunct="0">
              <a:defRPr>
                <a:latin typeface="Arial" pitchFamily="34" charset="0"/>
                <a:ea typeface="微软雅黑" pitchFamily="34" charset="-122"/>
              </a:defRPr>
            </a:lvl1pPr>
          </a:lstStyle>
          <a:p>
            <a:pPr>
              <a:defRPr/>
            </a:pPr>
            <a:fld id="{FB361822-9A13-4EEA-852B-F11B6C26C87E}" type="datetime1">
              <a:rPr lang="zh-CN" altLang="en-US"/>
              <a:pPr>
                <a:defRPr/>
              </a:pPr>
              <a:t>2019/2/25</a:t>
            </a:fld>
            <a:endParaRPr lang="zh-CN" altLang="en-US" sz="2300" dirty="0">
              <a:ea typeface="宋体" pitchFamily="2" charset="-122"/>
            </a:endParaRPr>
          </a:p>
        </p:txBody>
      </p:sp>
      <p:sp>
        <p:nvSpPr>
          <p:cNvPr id="4" name="页脚占位符 4"/>
          <p:cNvSpPr>
            <a:spLocks noGrp="1" noChangeArrowheads="1"/>
          </p:cNvSpPr>
          <p:nvPr>
            <p:ph type="ftr" sz="quarter" idx="11"/>
          </p:nvPr>
        </p:nvSpPr>
        <p:spPr>
          <a:xfrm>
            <a:off x="4165600" y="6356350"/>
            <a:ext cx="3860800" cy="365125"/>
          </a:xfrm>
          <a:prstGeom prst="rect">
            <a:avLst/>
          </a:prstGeom>
        </p:spPr>
        <p:txBody>
          <a:bodyPr lIns="117226" tIns="58613" rIns="117226" bIns="58613"/>
          <a:lstStyle>
            <a:lvl1pPr eaLnBrk="0" hangingPunct="0">
              <a:defRPr>
                <a:latin typeface="Arial" pitchFamily="34" charset="0"/>
                <a:ea typeface="微软雅黑" pitchFamily="34" charset="-122"/>
              </a:defRPr>
            </a:lvl1pPr>
          </a:lstStyle>
          <a:p>
            <a:pPr>
              <a:defRPr/>
            </a:pPr>
            <a:endParaRPr lang="zh-CN" altLang="zh-CN"/>
          </a:p>
        </p:txBody>
      </p:sp>
      <p:sp>
        <p:nvSpPr>
          <p:cNvPr id="5" name="灯片编号占位符 5"/>
          <p:cNvSpPr>
            <a:spLocks noGrp="1" noChangeArrowheads="1"/>
          </p:cNvSpPr>
          <p:nvPr>
            <p:ph type="sldNum" sz="quarter" idx="12"/>
          </p:nvPr>
        </p:nvSpPr>
        <p:spPr>
          <a:xfrm>
            <a:off x="8737600" y="6356350"/>
            <a:ext cx="2844800" cy="365125"/>
          </a:xfrm>
          <a:prstGeom prst="rect">
            <a:avLst/>
          </a:prstGeom>
        </p:spPr>
        <p:txBody>
          <a:bodyPr lIns="117226" tIns="58613" rIns="117226" bIns="58613"/>
          <a:lstStyle>
            <a:lvl1pPr eaLnBrk="0" hangingPunct="0">
              <a:defRPr>
                <a:latin typeface="Arial" pitchFamily="34" charset="0"/>
                <a:ea typeface="微软雅黑" pitchFamily="34" charset="-122"/>
              </a:defRPr>
            </a:lvl1pPr>
          </a:lstStyle>
          <a:p>
            <a:pPr>
              <a:defRPr/>
            </a:pPr>
            <a:fld id="{CFF957F2-D91B-456E-8BB0-7EA43BEA4F24}" type="slidenum">
              <a:rPr lang="zh-CN" altLang="en-US"/>
              <a:pPr>
                <a:defRPr/>
              </a:pPr>
              <a:t>‹#›</a:t>
            </a:fld>
            <a:endParaRPr lang="zh-CN" altLang="en-US" sz="2300" dirty="0">
              <a:ea typeface="宋体" pitchFamily="2" charset="-122"/>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pic>
        <p:nvPicPr>
          <p:cNvPr id="2" name="Picture 2" descr="C:\Documents and Settings\Administrator\桌面\图形10.png"/>
          <p:cNvPicPr>
            <a:picLocks noChangeAspect="1" noChangeArrowheads="1"/>
          </p:cNvPicPr>
          <p:nvPr userDrawn="1"/>
        </p:nvPicPr>
        <p:blipFill>
          <a:blip r:embed="rId2"/>
          <a:srcRect/>
          <a:stretch>
            <a:fillRect/>
          </a:stretch>
        </p:blipFill>
        <p:spPr bwMode="auto">
          <a:xfrm>
            <a:off x="0" y="6735763"/>
            <a:ext cx="12192000" cy="122237"/>
          </a:xfrm>
          <a:prstGeom prst="rect">
            <a:avLst/>
          </a:prstGeom>
          <a:noFill/>
          <a:ln w="9525">
            <a:noFill/>
            <a:miter lim="800000"/>
            <a:headEnd/>
            <a:tailEnd/>
          </a:ln>
        </p:spPr>
      </p:pic>
      <p:pic>
        <p:nvPicPr>
          <p:cNvPr id="3" name="Picture 20" descr="辅助条纹"/>
          <p:cNvPicPr>
            <a:picLocks noChangeAspect="1" noChangeArrowheads="1"/>
          </p:cNvPicPr>
          <p:nvPr userDrawn="1"/>
        </p:nvPicPr>
        <p:blipFill>
          <a:blip r:embed="rId3"/>
          <a:srcRect/>
          <a:stretch>
            <a:fillRect/>
          </a:stretch>
        </p:blipFill>
        <p:spPr bwMode="auto">
          <a:xfrm>
            <a:off x="9326563" y="6735763"/>
            <a:ext cx="2865437" cy="122237"/>
          </a:xfrm>
          <a:prstGeom prst="rect">
            <a:avLst/>
          </a:prstGeom>
          <a:noFill/>
          <a:ln w="9525">
            <a:noFill/>
            <a:miter lim="800000"/>
            <a:headEnd/>
            <a:tailEnd/>
          </a:ln>
        </p:spPr>
      </p:pic>
    </p:spTree>
  </p:cSld>
  <p:clrMapOvr>
    <a:masterClrMapping/>
  </p:clrMapOvr>
  <p:transition spd="slow"/>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空白">
    <p:spTree>
      <p:nvGrpSpPr>
        <p:cNvPr id="1" name=""/>
        <p:cNvGrpSpPr/>
        <p:nvPr/>
      </p:nvGrpSpPr>
      <p:grpSpPr>
        <a:xfrm>
          <a:off x="0" y="0"/>
          <a:ext cx="0" cy="0"/>
          <a:chOff x="0" y="0"/>
          <a:chExt cx="0" cy="0"/>
        </a:xfrm>
      </p:grpSpPr>
      <p:pic>
        <p:nvPicPr>
          <p:cNvPr id="2" name="Picture 2" descr="C:\Documents and Settings\Administrator\桌面\图形10.png"/>
          <p:cNvPicPr>
            <a:picLocks noChangeAspect="1" noChangeArrowheads="1"/>
          </p:cNvPicPr>
          <p:nvPr userDrawn="1"/>
        </p:nvPicPr>
        <p:blipFill>
          <a:blip r:embed="rId2"/>
          <a:srcRect/>
          <a:stretch>
            <a:fillRect/>
          </a:stretch>
        </p:blipFill>
        <p:spPr bwMode="auto">
          <a:xfrm>
            <a:off x="0" y="6735763"/>
            <a:ext cx="12192000" cy="122237"/>
          </a:xfrm>
          <a:prstGeom prst="rect">
            <a:avLst/>
          </a:prstGeom>
          <a:noFill/>
          <a:ln w="9525">
            <a:noFill/>
            <a:miter lim="800000"/>
            <a:headEnd/>
            <a:tailEnd/>
          </a:ln>
        </p:spPr>
      </p:pic>
      <p:pic>
        <p:nvPicPr>
          <p:cNvPr id="3" name="Picture 20" descr="辅助条纹"/>
          <p:cNvPicPr>
            <a:picLocks noChangeAspect="1" noChangeArrowheads="1"/>
          </p:cNvPicPr>
          <p:nvPr userDrawn="1"/>
        </p:nvPicPr>
        <p:blipFill>
          <a:blip r:embed="rId3"/>
          <a:srcRect/>
          <a:stretch>
            <a:fillRect/>
          </a:stretch>
        </p:blipFill>
        <p:spPr bwMode="auto">
          <a:xfrm>
            <a:off x="9326563" y="6735763"/>
            <a:ext cx="2865437" cy="122237"/>
          </a:xfrm>
          <a:prstGeom prst="rect">
            <a:avLst/>
          </a:prstGeom>
          <a:noFill/>
          <a:ln w="9525">
            <a:noFill/>
            <a:miter lim="800000"/>
            <a:headEnd/>
            <a:tailEnd/>
          </a:ln>
        </p:spPr>
      </p:pic>
    </p:spTree>
  </p:cSld>
  <p:clrMapOvr>
    <a:masterClrMapping/>
  </p:clrMapOvr>
  <p:transition spd="slow"/>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2_空白">
    <p:spTree>
      <p:nvGrpSpPr>
        <p:cNvPr id="1" name=""/>
        <p:cNvGrpSpPr/>
        <p:nvPr/>
      </p:nvGrpSpPr>
      <p:grpSpPr>
        <a:xfrm>
          <a:off x="0" y="0"/>
          <a:ext cx="0" cy="0"/>
          <a:chOff x="0" y="0"/>
          <a:chExt cx="0" cy="0"/>
        </a:xfrm>
      </p:grpSpPr>
      <p:pic>
        <p:nvPicPr>
          <p:cNvPr id="2" name="Picture 2" descr="C:\Documents and Settings\Administrator\桌面\图形10.png"/>
          <p:cNvPicPr>
            <a:picLocks noChangeAspect="1" noChangeArrowheads="1"/>
          </p:cNvPicPr>
          <p:nvPr userDrawn="1"/>
        </p:nvPicPr>
        <p:blipFill>
          <a:blip r:embed="rId2"/>
          <a:srcRect/>
          <a:stretch>
            <a:fillRect/>
          </a:stretch>
        </p:blipFill>
        <p:spPr bwMode="auto">
          <a:xfrm>
            <a:off x="0" y="6735763"/>
            <a:ext cx="12192000" cy="122237"/>
          </a:xfrm>
          <a:prstGeom prst="rect">
            <a:avLst/>
          </a:prstGeom>
          <a:noFill/>
          <a:ln w="9525">
            <a:noFill/>
            <a:miter lim="800000"/>
            <a:headEnd/>
            <a:tailEnd/>
          </a:ln>
        </p:spPr>
      </p:pic>
      <p:pic>
        <p:nvPicPr>
          <p:cNvPr id="3" name="Picture 20" descr="辅助条纹"/>
          <p:cNvPicPr>
            <a:picLocks noChangeAspect="1" noChangeArrowheads="1"/>
          </p:cNvPicPr>
          <p:nvPr userDrawn="1"/>
        </p:nvPicPr>
        <p:blipFill>
          <a:blip r:embed="rId3"/>
          <a:srcRect/>
          <a:stretch>
            <a:fillRect/>
          </a:stretch>
        </p:blipFill>
        <p:spPr bwMode="auto">
          <a:xfrm>
            <a:off x="9326563" y="6735763"/>
            <a:ext cx="2865437" cy="122237"/>
          </a:xfrm>
          <a:prstGeom prst="rect">
            <a:avLst/>
          </a:prstGeom>
          <a:noFill/>
          <a:ln w="9525">
            <a:noFill/>
            <a:miter lim="800000"/>
            <a:headEnd/>
            <a:tailEnd/>
          </a:ln>
        </p:spPr>
      </p:pic>
      <p:pic>
        <p:nvPicPr>
          <p:cNvPr id="4" name="图片 13"/>
          <p:cNvPicPr>
            <a:picLocks noChangeAspect="1"/>
          </p:cNvPicPr>
          <p:nvPr userDrawn="1"/>
        </p:nvPicPr>
        <p:blipFill>
          <a:blip r:embed="rId4"/>
          <a:srcRect/>
          <a:stretch>
            <a:fillRect/>
          </a:stretch>
        </p:blipFill>
        <p:spPr bwMode="auto">
          <a:xfrm>
            <a:off x="-3419475" y="-171450"/>
            <a:ext cx="15849600" cy="8915400"/>
          </a:xfrm>
          <a:prstGeom prst="rect">
            <a:avLst/>
          </a:prstGeom>
          <a:noFill/>
          <a:ln w="9525">
            <a:noFill/>
            <a:miter lim="800000"/>
            <a:headEnd/>
            <a:tailEnd/>
          </a:ln>
        </p:spPr>
      </p:pic>
    </p:spTree>
  </p:cSld>
  <p:clrMapOvr>
    <a:masterClrMapping/>
  </p:clrMapOvr>
  <p:transition spd="slow"/>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pic>
        <p:nvPicPr>
          <p:cNvPr id="2" name="Picture 2" descr="C:\Documents and Settings\Administrator\桌面\图形10.png"/>
          <p:cNvPicPr>
            <a:picLocks noChangeAspect="1" noChangeArrowheads="1"/>
          </p:cNvPicPr>
          <p:nvPr userDrawn="1"/>
        </p:nvPicPr>
        <p:blipFill>
          <a:blip r:embed="rId2"/>
          <a:srcRect/>
          <a:stretch>
            <a:fillRect/>
          </a:stretch>
        </p:blipFill>
        <p:spPr bwMode="auto">
          <a:xfrm>
            <a:off x="0" y="6735763"/>
            <a:ext cx="12192000" cy="122237"/>
          </a:xfrm>
          <a:prstGeom prst="rect">
            <a:avLst/>
          </a:prstGeom>
          <a:noFill/>
          <a:ln w="9525">
            <a:noFill/>
            <a:miter lim="800000"/>
            <a:headEnd/>
            <a:tailEnd/>
          </a:ln>
        </p:spPr>
      </p:pic>
      <p:pic>
        <p:nvPicPr>
          <p:cNvPr id="3" name="Picture 20" descr="辅助条纹"/>
          <p:cNvPicPr>
            <a:picLocks noChangeAspect="1" noChangeArrowheads="1"/>
          </p:cNvPicPr>
          <p:nvPr userDrawn="1"/>
        </p:nvPicPr>
        <p:blipFill>
          <a:blip r:embed="rId3"/>
          <a:srcRect/>
          <a:stretch>
            <a:fillRect/>
          </a:stretch>
        </p:blipFill>
        <p:spPr bwMode="auto">
          <a:xfrm>
            <a:off x="9326563" y="6735763"/>
            <a:ext cx="2865437" cy="122237"/>
          </a:xfrm>
          <a:prstGeom prst="rect">
            <a:avLst/>
          </a:prstGeom>
          <a:noFill/>
          <a:ln w="9525">
            <a:noFill/>
            <a:miter lim="800000"/>
            <a:headEnd/>
            <a:tailEnd/>
          </a:ln>
        </p:spPr>
      </p:pic>
      <p:sp>
        <p:nvSpPr>
          <p:cNvPr id="4" name="矩形 3"/>
          <p:cNvSpPr>
            <a:spLocks noChangeArrowheads="1"/>
          </p:cNvSpPr>
          <p:nvPr userDrawn="1"/>
        </p:nvSpPr>
        <p:spPr bwMode="auto">
          <a:xfrm>
            <a:off x="9372600" y="276225"/>
            <a:ext cx="1998663" cy="338138"/>
          </a:xfrm>
          <a:prstGeom prst="rect">
            <a:avLst/>
          </a:prstGeom>
          <a:noFill/>
          <a:ln>
            <a:noFill/>
          </a:ln>
          <a:extLst/>
        </p:spPr>
        <p:txBody>
          <a:bodyPr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defRPr/>
            </a:pPr>
            <a:r>
              <a:rPr lang="zh-CN" altLang="en-US" sz="1600" dirty="0"/>
              <a:t>因为执着   所以卓越</a:t>
            </a:r>
          </a:p>
        </p:txBody>
      </p:sp>
      <p:sp>
        <p:nvSpPr>
          <p:cNvPr id="5" name="矩形 4"/>
          <p:cNvSpPr>
            <a:spLocks noChangeArrowheads="1"/>
          </p:cNvSpPr>
          <p:nvPr userDrawn="1"/>
        </p:nvSpPr>
        <p:spPr bwMode="auto">
          <a:xfrm>
            <a:off x="7399338" y="527050"/>
            <a:ext cx="3971925" cy="303213"/>
          </a:xfrm>
          <a:prstGeom prst="rect">
            <a:avLst/>
          </a:prstGeom>
          <a:noFill/>
          <a:ln>
            <a:noFill/>
          </a:ln>
          <a:extLst/>
        </p:spPr>
        <p:txBody>
          <a:bodyPr wrap="non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fontAlgn="base">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r">
              <a:lnSpc>
                <a:spcPct val="114000"/>
              </a:lnSpc>
              <a:defRPr/>
            </a:pPr>
            <a:r>
              <a:rPr lang="en-US" altLang="zh-CN" sz="1200" dirty="0">
                <a:solidFill>
                  <a:srgbClr val="7F7F7F"/>
                </a:solidFill>
                <a:latin typeface="微软雅黑" panose="020B0503020204020204" pitchFamily="34" charset="-122"/>
              </a:rPr>
              <a:t>We strive to achieve excellence through persistence</a:t>
            </a:r>
          </a:p>
        </p:txBody>
      </p:sp>
    </p:spTree>
  </p:cSld>
  <p:clrMapOvr>
    <a:masterClrMapping/>
  </p:clrMapOvr>
  <p:transition spd="slow"/>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自定义版式">
    <p:spTree>
      <p:nvGrpSpPr>
        <p:cNvPr id="1" name=""/>
        <p:cNvGrpSpPr/>
        <p:nvPr/>
      </p:nvGrpSpPr>
      <p:grpSpPr>
        <a:xfrm>
          <a:off x="0" y="0"/>
          <a:ext cx="0" cy="0"/>
          <a:chOff x="0" y="0"/>
          <a:chExt cx="0" cy="0"/>
        </a:xfrm>
      </p:grpSpPr>
      <p:sp>
        <p:nvSpPr>
          <p:cNvPr id="14" name="图片占位符 13">
            <a:extLst/>
          </p:cNvPr>
          <p:cNvSpPr>
            <a:spLocks noGrp="1"/>
          </p:cNvSpPr>
          <p:nvPr>
            <p:ph type="pic" sz="quarter" idx="10"/>
          </p:nvPr>
        </p:nvSpPr>
        <p:spPr>
          <a:xfrm>
            <a:off x="875075" y="1694144"/>
            <a:ext cx="2099437" cy="2088868"/>
          </a:xfrm>
          <a:custGeom>
            <a:avLst/>
            <a:gdLst>
              <a:gd name="connsiteX0" fmla="*/ 0 w 2099437"/>
              <a:gd name="connsiteY0" fmla="*/ 0 h 2088868"/>
              <a:gd name="connsiteX1" fmla="*/ 2099437 w 2099437"/>
              <a:gd name="connsiteY1" fmla="*/ 0 h 2088868"/>
              <a:gd name="connsiteX2" fmla="*/ 2099437 w 2099437"/>
              <a:gd name="connsiteY2" fmla="*/ 2088868 h 2088868"/>
              <a:gd name="connsiteX3" fmla="*/ 0 w 2099437"/>
              <a:gd name="connsiteY3" fmla="*/ 2088868 h 2088868"/>
            </a:gdLst>
            <a:ahLst/>
            <a:cxnLst>
              <a:cxn ang="0">
                <a:pos x="connsiteX0" y="connsiteY0"/>
              </a:cxn>
              <a:cxn ang="0">
                <a:pos x="connsiteX1" y="connsiteY1"/>
              </a:cxn>
              <a:cxn ang="0">
                <a:pos x="connsiteX2" y="connsiteY2"/>
              </a:cxn>
              <a:cxn ang="0">
                <a:pos x="connsiteX3" y="connsiteY3"/>
              </a:cxn>
            </a:cxnLst>
            <a:rect l="l" t="t" r="r" b="b"/>
            <a:pathLst>
              <a:path w="2099437" h="2088868">
                <a:moveTo>
                  <a:pt x="0" y="0"/>
                </a:moveTo>
                <a:lnTo>
                  <a:pt x="2099437" y="0"/>
                </a:lnTo>
                <a:lnTo>
                  <a:pt x="2099437" y="2088868"/>
                </a:lnTo>
                <a:lnTo>
                  <a:pt x="0" y="2088868"/>
                </a:lnTo>
                <a:close/>
              </a:path>
            </a:pathLst>
          </a:custGeom>
        </p:spPr>
        <p:txBody>
          <a:bodyPr wrap="square">
            <a:noAutofit/>
          </a:bodyPr>
          <a:lstStyle/>
          <a:p>
            <a:pPr lvl="0"/>
            <a:endParaRPr lang="zh-CN" altLang="en-US" noProof="0"/>
          </a:p>
        </p:txBody>
      </p:sp>
      <p:sp>
        <p:nvSpPr>
          <p:cNvPr id="15" name="图片占位符 14">
            <a:extLst/>
          </p:cNvPr>
          <p:cNvSpPr>
            <a:spLocks noGrp="1"/>
          </p:cNvSpPr>
          <p:nvPr>
            <p:ph type="pic" sz="quarter" idx="11"/>
          </p:nvPr>
        </p:nvSpPr>
        <p:spPr>
          <a:xfrm>
            <a:off x="5053586" y="1694144"/>
            <a:ext cx="2099437" cy="2088868"/>
          </a:xfrm>
          <a:custGeom>
            <a:avLst/>
            <a:gdLst>
              <a:gd name="connsiteX0" fmla="*/ 0 w 2099437"/>
              <a:gd name="connsiteY0" fmla="*/ 0 h 2088868"/>
              <a:gd name="connsiteX1" fmla="*/ 2099437 w 2099437"/>
              <a:gd name="connsiteY1" fmla="*/ 0 h 2088868"/>
              <a:gd name="connsiteX2" fmla="*/ 2099437 w 2099437"/>
              <a:gd name="connsiteY2" fmla="*/ 2088868 h 2088868"/>
              <a:gd name="connsiteX3" fmla="*/ 0 w 2099437"/>
              <a:gd name="connsiteY3" fmla="*/ 2088868 h 2088868"/>
            </a:gdLst>
            <a:ahLst/>
            <a:cxnLst>
              <a:cxn ang="0">
                <a:pos x="connsiteX0" y="connsiteY0"/>
              </a:cxn>
              <a:cxn ang="0">
                <a:pos x="connsiteX1" y="connsiteY1"/>
              </a:cxn>
              <a:cxn ang="0">
                <a:pos x="connsiteX2" y="connsiteY2"/>
              </a:cxn>
              <a:cxn ang="0">
                <a:pos x="connsiteX3" y="connsiteY3"/>
              </a:cxn>
            </a:cxnLst>
            <a:rect l="l" t="t" r="r" b="b"/>
            <a:pathLst>
              <a:path w="2099437" h="2088868">
                <a:moveTo>
                  <a:pt x="0" y="0"/>
                </a:moveTo>
                <a:lnTo>
                  <a:pt x="2099437" y="0"/>
                </a:lnTo>
                <a:lnTo>
                  <a:pt x="2099437" y="2088868"/>
                </a:lnTo>
                <a:lnTo>
                  <a:pt x="0" y="2088868"/>
                </a:lnTo>
                <a:close/>
              </a:path>
            </a:pathLst>
          </a:custGeom>
        </p:spPr>
        <p:txBody>
          <a:bodyPr wrap="square">
            <a:noAutofit/>
          </a:bodyPr>
          <a:lstStyle/>
          <a:p>
            <a:pPr lvl="0"/>
            <a:endParaRPr lang="zh-CN" altLang="en-US" noProof="0"/>
          </a:p>
        </p:txBody>
      </p:sp>
      <p:sp>
        <p:nvSpPr>
          <p:cNvPr id="16" name="图片占位符 15">
            <a:extLst/>
          </p:cNvPr>
          <p:cNvSpPr>
            <a:spLocks noGrp="1"/>
          </p:cNvSpPr>
          <p:nvPr>
            <p:ph type="pic" sz="quarter" idx="12"/>
          </p:nvPr>
        </p:nvSpPr>
        <p:spPr>
          <a:xfrm>
            <a:off x="9219984" y="1694144"/>
            <a:ext cx="2100208" cy="2088868"/>
          </a:xfrm>
          <a:custGeom>
            <a:avLst/>
            <a:gdLst>
              <a:gd name="connsiteX0" fmla="*/ 0 w 2100208"/>
              <a:gd name="connsiteY0" fmla="*/ 0 h 2088868"/>
              <a:gd name="connsiteX1" fmla="*/ 2100208 w 2100208"/>
              <a:gd name="connsiteY1" fmla="*/ 0 h 2088868"/>
              <a:gd name="connsiteX2" fmla="*/ 2100208 w 2100208"/>
              <a:gd name="connsiteY2" fmla="*/ 2088868 h 2088868"/>
              <a:gd name="connsiteX3" fmla="*/ 0 w 2100208"/>
              <a:gd name="connsiteY3" fmla="*/ 2088868 h 2088868"/>
            </a:gdLst>
            <a:ahLst/>
            <a:cxnLst>
              <a:cxn ang="0">
                <a:pos x="connsiteX0" y="connsiteY0"/>
              </a:cxn>
              <a:cxn ang="0">
                <a:pos x="connsiteX1" y="connsiteY1"/>
              </a:cxn>
              <a:cxn ang="0">
                <a:pos x="connsiteX2" y="connsiteY2"/>
              </a:cxn>
              <a:cxn ang="0">
                <a:pos x="connsiteX3" y="connsiteY3"/>
              </a:cxn>
            </a:cxnLst>
            <a:rect l="l" t="t" r="r" b="b"/>
            <a:pathLst>
              <a:path w="2100208" h="2088868">
                <a:moveTo>
                  <a:pt x="0" y="0"/>
                </a:moveTo>
                <a:lnTo>
                  <a:pt x="2100208" y="0"/>
                </a:lnTo>
                <a:lnTo>
                  <a:pt x="2100208" y="2088868"/>
                </a:lnTo>
                <a:lnTo>
                  <a:pt x="0" y="2088868"/>
                </a:lnTo>
                <a:close/>
              </a:path>
            </a:pathLst>
          </a:custGeom>
        </p:spPr>
        <p:txBody>
          <a:bodyPr wrap="square">
            <a:noAutofit/>
          </a:bodyPr>
          <a:lstStyle/>
          <a:p>
            <a:pPr lvl="0"/>
            <a:endParaRPr lang="zh-CN" altLang="en-US" noProof="0"/>
          </a:p>
        </p:txBody>
      </p:sp>
      <p:sp>
        <p:nvSpPr>
          <p:cNvPr id="18" name="图片占位符 17">
            <a:extLst/>
          </p:cNvPr>
          <p:cNvSpPr>
            <a:spLocks noGrp="1"/>
          </p:cNvSpPr>
          <p:nvPr>
            <p:ph type="pic" sz="quarter" idx="13"/>
          </p:nvPr>
        </p:nvSpPr>
        <p:spPr>
          <a:xfrm>
            <a:off x="7148703" y="3783011"/>
            <a:ext cx="2099437" cy="2088868"/>
          </a:xfrm>
          <a:custGeom>
            <a:avLst/>
            <a:gdLst>
              <a:gd name="connsiteX0" fmla="*/ 0 w 2099437"/>
              <a:gd name="connsiteY0" fmla="*/ 0 h 2088868"/>
              <a:gd name="connsiteX1" fmla="*/ 2099437 w 2099437"/>
              <a:gd name="connsiteY1" fmla="*/ 0 h 2088868"/>
              <a:gd name="connsiteX2" fmla="*/ 2099437 w 2099437"/>
              <a:gd name="connsiteY2" fmla="*/ 2088868 h 2088868"/>
              <a:gd name="connsiteX3" fmla="*/ 0 w 2099437"/>
              <a:gd name="connsiteY3" fmla="*/ 2088868 h 2088868"/>
            </a:gdLst>
            <a:ahLst/>
            <a:cxnLst>
              <a:cxn ang="0">
                <a:pos x="connsiteX0" y="connsiteY0"/>
              </a:cxn>
              <a:cxn ang="0">
                <a:pos x="connsiteX1" y="connsiteY1"/>
              </a:cxn>
              <a:cxn ang="0">
                <a:pos x="connsiteX2" y="connsiteY2"/>
              </a:cxn>
              <a:cxn ang="0">
                <a:pos x="connsiteX3" y="connsiteY3"/>
              </a:cxn>
            </a:cxnLst>
            <a:rect l="l" t="t" r="r" b="b"/>
            <a:pathLst>
              <a:path w="2099437" h="2088868">
                <a:moveTo>
                  <a:pt x="0" y="0"/>
                </a:moveTo>
                <a:lnTo>
                  <a:pt x="2099437" y="0"/>
                </a:lnTo>
                <a:lnTo>
                  <a:pt x="2099437" y="2088868"/>
                </a:lnTo>
                <a:lnTo>
                  <a:pt x="0" y="2088868"/>
                </a:lnTo>
                <a:close/>
              </a:path>
            </a:pathLst>
          </a:custGeom>
        </p:spPr>
        <p:txBody>
          <a:bodyPr wrap="square">
            <a:noAutofit/>
          </a:bodyPr>
          <a:lstStyle/>
          <a:p>
            <a:pPr lvl="0"/>
            <a:endParaRPr lang="zh-CN" altLang="en-US" noProof="0"/>
          </a:p>
        </p:txBody>
      </p:sp>
      <p:sp>
        <p:nvSpPr>
          <p:cNvPr id="17" name="图片占位符 16">
            <a:extLst/>
          </p:cNvPr>
          <p:cNvSpPr>
            <a:spLocks noGrp="1"/>
          </p:cNvSpPr>
          <p:nvPr>
            <p:ph type="pic" sz="quarter" idx="14"/>
          </p:nvPr>
        </p:nvSpPr>
        <p:spPr>
          <a:xfrm>
            <a:off x="2973741" y="3783011"/>
            <a:ext cx="2099437" cy="2088868"/>
          </a:xfrm>
          <a:custGeom>
            <a:avLst/>
            <a:gdLst>
              <a:gd name="connsiteX0" fmla="*/ 0 w 2099437"/>
              <a:gd name="connsiteY0" fmla="*/ 0 h 2088868"/>
              <a:gd name="connsiteX1" fmla="*/ 2099437 w 2099437"/>
              <a:gd name="connsiteY1" fmla="*/ 0 h 2088868"/>
              <a:gd name="connsiteX2" fmla="*/ 2099437 w 2099437"/>
              <a:gd name="connsiteY2" fmla="*/ 2088868 h 2088868"/>
              <a:gd name="connsiteX3" fmla="*/ 0 w 2099437"/>
              <a:gd name="connsiteY3" fmla="*/ 2088868 h 2088868"/>
            </a:gdLst>
            <a:ahLst/>
            <a:cxnLst>
              <a:cxn ang="0">
                <a:pos x="connsiteX0" y="connsiteY0"/>
              </a:cxn>
              <a:cxn ang="0">
                <a:pos x="connsiteX1" y="connsiteY1"/>
              </a:cxn>
              <a:cxn ang="0">
                <a:pos x="connsiteX2" y="connsiteY2"/>
              </a:cxn>
              <a:cxn ang="0">
                <a:pos x="connsiteX3" y="connsiteY3"/>
              </a:cxn>
            </a:cxnLst>
            <a:rect l="l" t="t" r="r" b="b"/>
            <a:pathLst>
              <a:path w="2099437" h="2088868">
                <a:moveTo>
                  <a:pt x="0" y="0"/>
                </a:moveTo>
                <a:lnTo>
                  <a:pt x="2099437" y="0"/>
                </a:lnTo>
                <a:lnTo>
                  <a:pt x="2099437" y="2088868"/>
                </a:lnTo>
                <a:lnTo>
                  <a:pt x="0" y="2088868"/>
                </a:lnTo>
                <a:close/>
              </a:path>
            </a:pathLst>
          </a:custGeom>
        </p:spPr>
        <p:txBody>
          <a:bodyPr wrap="square">
            <a:noAutofit/>
          </a:bodyPr>
          <a:lstStyle/>
          <a:p>
            <a:pPr lvl="0"/>
            <a:endParaRPr lang="zh-CN" altLang="en-US" noProof="0"/>
          </a:p>
        </p:txBody>
      </p:sp>
    </p:spTree>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自定义版式">
    <p:spTree>
      <p:nvGrpSpPr>
        <p:cNvPr id="1" name=""/>
        <p:cNvGrpSpPr/>
        <p:nvPr/>
      </p:nvGrpSpPr>
      <p:grpSpPr>
        <a:xfrm>
          <a:off x="0" y="0"/>
          <a:ext cx="0" cy="0"/>
          <a:chOff x="0" y="0"/>
          <a:chExt cx="0" cy="0"/>
        </a:xfrm>
      </p:grpSpPr>
      <p:sp>
        <p:nvSpPr>
          <p:cNvPr id="12" name="图片占位符 11">
            <a:extLst/>
          </p:cNvPr>
          <p:cNvSpPr>
            <a:spLocks noGrp="1"/>
          </p:cNvSpPr>
          <p:nvPr>
            <p:ph type="pic" sz="quarter" idx="10"/>
          </p:nvPr>
        </p:nvSpPr>
        <p:spPr>
          <a:xfrm>
            <a:off x="874714" y="3285709"/>
            <a:ext cx="2320729" cy="2452418"/>
          </a:xfrm>
          <a:custGeom>
            <a:avLst/>
            <a:gdLst>
              <a:gd name="connsiteX0" fmla="*/ 0 w 2320729"/>
              <a:gd name="connsiteY0" fmla="*/ 0 h 2452418"/>
              <a:gd name="connsiteX1" fmla="*/ 2320729 w 2320729"/>
              <a:gd name="connsiteY1" fmla="*/ 0 h 2452418"/>
              <a:gd name="connsiteX2" fmla="*/ 2320729 w 2320729"/>
              <a:gd name="connsiteY2" fmla="*/ 2452418 h 2452418"/>
              <a:gd name="connsiteX3" fmla="*/ 0 w 2320729"/>
              <a:gd name="connsiteY3" fmla="*/ 2452418 h 2452418"/>
            </a:gdLst>
            <a:ahLst/>
            <a:cxnLst>
              <a:cxn ang="0">
                <a:pos x="connsiteX0" y="connsiteY0"/>
              </a:cxn>
              <a:cxn ang="0">
                <a:pos x="connsiteX1" y="connsiteY1"/>
              </a:cxn>
              <a:cxn ang="0">
                <a:pos x="connsiteX2" y="connsiteY2"/>
              </a:cxn>
              <a:cxn ang="0">
                <a:pos x="connsiteX3" y="connsiteY3"/>
              </a:cxn>
            </a:cxnLst>
            <a:rect l="l" t="t" r="r" b="b"/>
            <a:pathLst>
              <a:path w="2320729" h="2452418">
                <a:moveTo>
                  <a:pt x="0" y="0"/>
                </a:moveTo>
                <a:lnTo>
                  <a:pt x="2320729" y="0"/>
                </a:lnTo>
                <a:lnTo>
                  <a:pt x="2320729" y="2452418"/>
                </a:lnTo>
                <a:lnTo>
                  <a:pt x="0" y="2452418"/>
                </a:lnTo>
                <a:close/>
              </a:path>
            </a:pathLst>
          </a:custGeom>
        </p:spPr>
        <p:txBody>
          <a:bodyPr wrap="square">
            <a:noAutofit/>
          </a:bodyPr>
          <a:lstStyle/>
          <a:p>
            <a:pPr lvl="0"/>
            <a:endParaRPr lang="zh-CN" altLang="en-US" noProof="0"/>
          </a:p>
        </p:txBody>
      </p:sp>
      <p:sp>
        <p:nvSpPr>
          <p:cNvPr id="13" name="图片占位符 12">
            <a:extLst/>
          </p:cNvPr>
          <p:cNvSpPr>
            <a:spLocks noGrp="1"/>
          </p:cNvSpPr>
          <p:nvPr>
            <p:ph type="pic" sz="quarter" idx="11"/>
          </p:nvPr>
        </p:nvSpPr>
        <p:spPr>
          <a:xfrm>
            <a:off x="3576126" y="3285709"/>
            <a:ext cx="2320729" cy="2452418"/>
          </a:xfrm>
          <a:custGeom>
            <a:avLst/>
            <a:gdLst>
              <a:gd name="connsiteX0" fmla="*/ 0 w 2320729"/>
              <a:gd name="connsiteY0" fmla="*/ 0 h 2452418"/>
              <a:gd name="connsiteX1" fmla="*/ 2320729 w 2320729"/>
              <a:gd name="connsiteY1" fmla="*/ 0 h 2452418"/>
              <a:gd name="connsiteX2" fmla="*/ 2320729 w 2320729"/>
              <a:gd name="connsiteY2" fmla="*/ 2452418 h 2452418"/>
              <a:gd name="connsiteX3" fmla="*/ 0 w 2320729"/>
              <a:gd name="connsiteY3" fmla="*/ 2452418 h 2452418"/>
            </a:gdLst>
            <a:ahLst/>
            <a:cxnLst>
              <a:cxn ang="0">
                <a:pos x="connsiteX0" y="connsiteY0"/>
              </a:cxn>
              <a:cxn ang="0">
                <a:pos x="connsiteX1" y="connsiteY1"/>
              </a:cxn>
              <a:cxn ang="0">
                <a:pos x="connsiteX2" y="connsiteY2"/>
              </a:cxn>
              <a:cxn ang="0">
                <a:pos x="connsiteX3" y="connsiteY3"/>
              </a:cxn>
            </a:cxnLst>
            <a:rect l="l" t="t" r="r" b="b"/>
            <a:pathLst>
              <a:path w="2320729" h="2452418">
                <a:moveTo>
                  <a:pt x="0" y="0"/>
                </a:moveTo>
                <a:lnTo>
                  <a:pt x="2320729" y="0"/>
                </a:lnTo>
                <a:lnTo>
                  <a:pt x="2320729" y="2452418"/>
                </a:lnTo>
                <a:lnTo>
                  <a:pt x="0" y="2452418"/>
                </a:lnTo>
                <a:close/>
              </a:path>
            </a:pathLst>
          </a:custGeom>
        </p:spPr>
        <p:txBody>
          <a:bodyPr wrap="square">
            <a:noAutofit/>
          </a:bodyPr>
          <a:lstStyle/>
          <a:p>
            <a:pPr lvl="0"/>
            <a:endParaRPr lang="zh-CN" altLang="en-US" noProof="0"/>
          </a:p>
        </p:txBody>
      </p:sp>
      <p:sp>
        <p:nvSpPr>
          <p:cNvPr id="14" name="图片占位符 13">
            <a:extLst/>
          </p:cNvPr>
          <p:cNvSpPr>
            <a:spLocks noGrp="1"/>
          </p:cNvSpPr>
          <p:nvPr>
            <p:ph type="pic" sz="quarter" idx="12"/>
          </p:nvPr>
        </p:nvSpPr>
        <p:spPr>
          <a:xfrm>
            <a:off x="6292255" y="3285709"/>
            <a:ext cx="2320729" cy="2452418"/>
          </a:xfrm>
          <a:custGeom>
            <a:avLst/>
            <a:gdLst>
              <a:gd name="connsiteX0" fmla="*/ 0 w 2320729"/>
              <a:gd name="connsiteY0" fmla="*/ 0 h 2452418"/>
              <a:gd name="connsiteX1" fmla="*/ 2320729 w 2320729"/>
              <a:gd name="connsiteY1" fmla="*/ 0 h 2452418"/>
              <a:gd name="connsiteX2" fmla="*/ 2320729 w 2320729"/>
              <a:gd name="connsiteY2" fmla="*/ 2452418 h 2452418"/>
              <a:gd name="connsiteX3" fmla="*/ 0 w 2320729"/>
              <a:gd name="connsiteY3" fmla="*/ 2452418 h 2452418"/>
            </a:gdLst>
            <a:ahLst/>
            <a:cxnLst>
              <a:cxn ang="0">
                <a:pos x="connsiteX0" y="connsiteY0"/>
              </a:cxn>
              <a:cxn ang="0">
                <a:pos x="connsiteX1" y="connsiteY1"/>
              </a:cxn>
              <a:cxn ang="0">
                <a:pos x="connsiteX2" y="connsiteY2"/>
              </a:cxn>
              <a:cxn ang="0">
                <a:pos x="connsiteX3" y="connsiteY3"/>
              </a:cxn>
            </a:cxnLst>
            <a:rect l="l" t="t" r="r" b="b"/>
            <a:pathLst>
              <a:path w="2320729" h="2452418">
                <a:moveTo>
                  <a:pt x="0" y="0"/>
                </a:moveTo>
                <a:lnTo>
                  <a:pt x="2320729" y="0"/>
                </a:lnTo>
                <a:lnTo>
                  <a:pt x="2320729" y="2452418"/>
                </a:lnTo>
                <a:lnTo>
                  <a:pt x="0" y="2452418"/>
                </a:lnTo>
                <a:close/>
              </a:path>
            </a:pathLst>
          </a:custGeom>
        </p:spPr>
        <p:txBody>
          <a:bodyPr wrap="square">
            <a:noAutofit/>
          </a:bodyPr>
          <a:lstStyle/>
          <a:p>
            <a:pPr lvl="0"/>
            <a:endParaRPr lang="zh-CN" altLang="en-US" noProof="0" dirty="0"/>
          </a:p>
        </p:txBody>
      </p:sp>
      <p:sp>
        <p:nvSpPr>
          <p:cNvPr id="15" name="图片占位符 14">
            <a:extLst/>
          </p:cNvPr>
          <p:cNvSpPr>
            <a:spLocks noGrp="1"/>
          </p:cNvSpPr>
          <p:nvPr>
            <p:ph type="pic" sz="quarter" idx="13"/>
          </p:nvPr>
        </p:nvSpPr>
        <p:spPr>
          <a:xfrm>
            <a:off x="8996560" y="3285709"/>
            <a:ext cx="2320729" cy="2452418"/>
          </a:xfrm>
          <a:custGeom>
            <a:avLst/>
            <a:gdLst>
              <a:gd name="connsiteX0" fmla="*/ 0 w 2320729"/>
              <a:gd name="connsiteY0" fmla="*/ 0 h 2452418"/>
              <a:gd name="connsiteX1" fmla="*/ 2320729 w 2320729"/>
              <a:gd name="connsiteY1" fmla="*/ 0 h 2452418"/>
              <a:gd name="connsiteX2" fmla="*/ 2320729 w 2320729"/>
              <a:gd name="connsiteY2" fmla="*/ 2452418 h 2452418"/>
              <a:gd name="connsiteX3" fmla="*/ 0 w 2320729"/>
              <a:gd name="connsiteY3" fmla="*/ 2452418 h 2452418"/>
            </a:gdLst>
            <a:ahLst/>
            <a:cxnLst>
              <a:cxn ang="0">
                <a:pos x="connsiteX0" y="connsiteY0"/>
              </a:cxn>
              <a:cxn ang="0">
                <a:pos x="connsiteX1" y="connsiteY1"/>
              </a:cxn>
              <a:cxn ang="0">
                <a:pos x="connsiteX2" y="connsiteY2"/>
              </a:cxn>
              <a:cxn ang="0">
                <a:pos x="connsiteX3" y="connsiteY3"/>
              </a:cxn>
            </a:cxnLst>
            <a:rect l="l" t="t" r="r" b="b"/>
            <a:pathLst>
              <a:path w="2320729" h="2452418">
                <a:moveTo>
                  <a:pt x="0" y="0"/>
                </a:moveTo>
                <a:lnTo>
                  <a:pt x="2320729" y="0"/>
                </a:lnTo>
                <a:lnTo>
                  <a:pt x="2320729" y="2452418"/>
                </a:lnTo>
                <a:lnTo>
                  <a:pt x="0" y="2452418"/>
                </a:lnTo>
                <a:close/>
              </a:path>
            </a:pathLst>
          </a:custGeom>
        </p:spPr>
        <p:txBody>
          <a:bodyPr wrap="square">
            <a:noAutofit/>
          </a:bodyPr>
          <a:lstStyle/>
          <a:p>
            <a:pPr lvl="0"/>
            <a:endParaRPr lang="zh-CN" altLang="en-US" noProof="0"/>
          </a:p>
        </p:txBody>
      </p:sp>
    </p:spTree>
  </p:cSld>
  <p:clrMapOvr>
    <a:masterClrMapping/>
  </p:clrMapOvr>
  <p:transition spd="slow"/>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菱形 6">
            <a:extLst/>
          </p:cNvPr>
          <p:cNvSpPr/>
          <p:nvPr/>
        </p:nvSpPr>
        <p:spPr>
          <a:xfrm>
            <a:off x="1349375" y="622300"/>
            <a:ext cx="334963" cy="334963"/>
          </a:xfrm>
          <a:prstGeom prst="diamond">
            <a:avLst/>
          </a:prstGeom>
          <a:solidFill>
            <a:schemeClr val="accent1">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8" name="矩形 7">
            <a:extLst/>
          </p:cNvPr>
          <p:cNvSpPr/>
          <p:nvPr/>
        </p:nvSpPr>
        <p:spPr>
          <a:xfrm>
            <a:off x="0" y="0"/>
            <a:ext cx="12192000" cy="79375"/>
          </a:xfrm>
          <a:prstGeom prst="rect">
            <a:avLst/>
          </a:prstGeom>
          <a:solidFill>
            <a:srgbClr val="152E5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9" name="任意多边形: 形状 8">
            <a:extLst/>
          </p:cNvPr>
          <p:cNvSpPr/>
          <p:nvPr/>
        </p:nvSpPr>
        <p:spPr>
          <a:xfrm>
            <a:off x="511175" y="0"/>
            <a:ext cx="1676400" cy="914400"/>
          </a:xfrm>
          <a:custGeom>
            <a:avLst/>
            <a:gdLst>
              <a:gd name="connsiteX0" fmla="*/ 76200 w 1676402"/>
              <a:gd name="connsiteY0" fmla="*/ 0 h 914401"/>
              <a:gd name="connsiteX1" fmla="*/ 1600202 w 1676402"/>
              <a:gd name="connsiteY1" fmla="*/ 0 h 914401"/>
              <a:gd name="connsiteX2" fmla="*/ 1676402 w 1676402"/>
              <a:gd name="connsiteY2" fmla="*/ 76200 h 914401"/>
              <a:gd name="connsiteX3" fmla="*/ 838201 w 1676402"/>
              <a:gd name="connsiteY3" fmla="*/ 914401 h 914401"/>
              <a:gd name="connsiteX4" fmla="*/ 0 w 1676402"/>
              <a:gd name="connsiteY4" fmla="*/ 76200 h 914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6402" h="914401">
                <a:moveTo>
                  <a:pt x="76200" y="0"/>
                </a:moveTo>
                <a:lnTo>
                  <a:pt x="1600202" y="0"/>
                </a:lnTo>
                <a:lnTo>
                  <a:pt x="1676402" y="76200"/>
                </a:lnTo>
                <a:lnTo>
                  <a:pt x="838201" y="914401"/>
                </a:lnTo>
                <a:lnTo>
                  <a:pt x="0" y="762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0" name="菱形 9">
            <a:extLst/>
          </p:cNvPr>
          <p:cNvSpPr/>
          <p:nvPr/>
        </p:nvSpPr>
        <p:spPr>
          <a:xfrm>
            <a:off x="511175" y="222250"/>
            <a:ext cx="622300" cy="622300"/>
          </a:xfrm>
          <a:prstGeom prst="diamond">
            <a:avLst/>
          </a:prstGeom>
          <a:solidFill>
            <a:schemeClr val="accent1">
              <a:lumMod val="60000"/>
              <a:lumOff val="4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1" name="矩形 10">
            <a:extLst/>
          </p:cNvPr>
          <p:cNvSpPr/>
          <p:nvPr/>
        </p:nvSpPr>
        <p:spPr>
          <a:xfrm>
            <a:off x="0" y="6778625"/>
            <a:ext cx="12192000" cy="79375"/>
          </a:xfrm>
          <a:prstGeom prst="rect">
            <a:avLst/>
          </a:prstGeom>
          <a:solidFill>
            <a:srgbClr val="152E5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Tree>
  </p:cSld>
  <p:clrMap bg1="lt1" tx1="dk1" bg2="lt2" tx2="dk2" accent1="accent1" accent2="accent2" accent3="accent3" accent4="accent4" accent5="accent5" accent6="accent6" hlink="hlink" folHlink="folHlink"/>
  <p:sldLayoutIdLst>
    <p:sldLayoutId id="2147484546" r:id="rId1"/>
    <p:sldLayoutId id="2147484547" r:id="rId2"/>
    <p:sldLayoutId id="2147484548" r:id="rId3"/>
    <p:sldLayoutId id="2147484549" r:id="rId4"/>
    <p:sldLayoutId id="2147484550" r:id="rId5"/>
    <p:sldLayoutId id="2147484551" r:id="rId6"/>
    <p:sldLayoutId id="2147484552" r:id="rId7"/>
    <p:sldLayoutId id="2147484532" r:id="rId8"/>
    <p:sldLayoutId id="2147484533" r:id="rId9"/>
    <p:sldLayoutId id="2147484534" r:id="rId10"/>
    <p:sldLayoutId id="2147484535" r:id="rId11"/>
    <p:sldLayoutId id="2147484536" r:id="rId12"/>
    <p:sldLayoutId id="2147484537" r:id="rId13"/>
    <p:sldLayoutId id="2147484538" r:id="rId14"/>
    <p:sldLayoutId id="2147484563" r:id="rId15"/>
  </p:sldLayoutIdLst>
  <p:transition spd="slow"/>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2pPr>
      <a:lvl3pPr algn="l" rtl="0" eaLnBrk="0" fontAlgn="base" hangingPunct="0">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3pPr>
      <a:lvl4pPr algn="l" rtl="0" eaLnBrk="0" fontAlgn="base" hangingPunct="0">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4pPr>
      <a:lvl5pPr algn="l" rtl="0" eaLnBrk="0" fontAlgn="base" hangingPunct="0">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5pPr>
      <a:lvl6pPr marL="457200" algn="l" rtl="0" fontAlgn="base">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6pPr>
      <a:lvl7pPr marL="914400" algn="l" rtl="0" fontAlgn="base">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7pPr>
      <a:lvl8pPr marL="1371600" algn="l" rtl="0" fontAlgn="base">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8pPr>
      <a:lvl9pPr marL="1828800" algn="l" rtl="0" fontAlgn="base">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9pPr>
    </p:titleStyle>
    <p:bodyStyle>
      <a:lvl1pPr marL="228600" indent="-228600" algn="l" rtl="0" eaLnBrk="0" fontAlgn="base" hangingPunct="0">
        <a:lnSpc>
          <a:spcPct val="90000"/>
        </a:lnSpc>
        <a:spcBef>
          <a:spcPts val="1000"/>
        </a:spcBef>
        <a:spcAft>
          <a:spcPct val="0"/>
        </a:spcAft>
        <a:buFont typeface="Arial"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菱形 6">
            <a:extLst/>
          </p:cNvPr>
          <p:cNvSpPr/>
          <p:nvPr/>
        </p:nvSpPr>
        <p:spPr>
          <a:xfrm>
            <a:off x="11245850" y="635000"/>
            <a:ext cx="334963" cy="334963"/>
          </a:xfrm>
          <a:prstGeom prst="diamond">
            <a:avLst/>
          </a:prstGeom>
          <a:solidFill>
            <a:schemeClr val="accent1">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8" name="矩形 7">
            <a:extLst/>
          </p:cNvPr>
          <p:cNvSpPr/>
          <p:nvPr/>
        </p:nvSpPr>
        <p:spPr>
          <a:xfrm>
            <a:off x="0" y="0"/>
            <a:ext cx="12192000" cy="79375"/>
          </a:xfrm>
          <a:prstGeom prst="rect">
            <a:avLst/>
          </a:prstGeom>
          <a:solidFill>
            <a:srgbClr val="152E5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9" name="任意多边形: 形状 8">
            <a:extLst/>
          </p:cNvPr>
          <p:cNvSpPr/>
          <p:nvPr/>
        </p:nvSpPr>
        <p:spPr>
          <a:xfrm>
            <a:off x="10407650" y="12700"/>
            <a:ext cx="1676400" cy="914400"/>
          </a:xfrm>
          <a:custGeom>
            <a:avLst/>
            <a:gdLst>
              <a:gd name="connsiteX0" fmla="*/ 76200 w 1676402"/>
              <a:gd name="connsiteY0" fmla="*/ 0 h 914401"/>
              <a:gd name="connsiteX1" fmla="*/ 1600202 w 1676402"/>
              <a:gd name="connsiteY1" fmla="*/ 0 h 914401"/>
              <a:gd name="connsiteX2" fmla="*/ 1676402 w 1676402"/>
              <a:gd name="connsiteY2" fmla="*/ 76200 h 914401"/>
              <a:gd name="connsiteX3" fmla="*/ 838201 w 1676402"/>
              <a:gd name="connsiteY3" fmla="*/ 914401 h 914401"/>
              <a:gd name="connsiteX4" fmla="*/ 0 w 1676402"/>
              <a:gd name="connsiteY4" fmla="*/ 76200 h 914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6402" h="914401">
                <a:moveTo>
                  <a:pt x="76200" y="0"/>
                </a:moveTo>
                <a:lnTo>
                  <a:pt x="1600202" y="0"/>
                </a:lnTo>
                <a:lnTo>
                  <a:pt x="1676402" y="76200"/>
                </a:lnTo>
                <a:lnTo>
                  <a:pt x="838201" y="914401"/>
                </a:lnTo>
                <a:lnTo>
                  <a:pt x="0" y="762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0" name="菱形 9">
            <a:extLst/>
          </p:cNvPr>
          <p:cNvSpPr/>
          <p:nvPr/>
        </p:nvSpPr>
        <p:spPr>
          <a:xfrm>
            <a:off x="10407650" y="234950"/>
            <a:ext cx="622300" cy="622300"/>
          </a:xfrm>
          <a:prstGeom prst="diamond">
            <a:avLst/>
          </a:prstGeom>
          <a:solidFill>
            <a:schemeClr val="accent1">
              <a:lumMod val="60000"/>
              <a:lumOff val="4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1" name="矩形 10">
            <a:extLst/>
          </p:cNvPr>
          <p:cNvSpPr/>
          <p:nvPr/>
        </p:nvSpPr>
        <p:spPr>
          <a:xfrm>
            <a:off x="0" y="6778625"/>
            <a:ext cx="12192000" cy="79375"/>
          </a:xfrm>
          <a:prstGeom prst="rect">
            <a:avLst/>
          </a:prstGeom>
          <a:solidFill>
            <a:srgbClr val="152E5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Tree>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 id="2147484556" r:id="rId4"/>
    <p:sldLayoutId id="2147484557" r:id="rId5"/>
    <p:sldLayoutId id="2147484558" r:id="rId6"/>
    <p:sldLayoutId id="2147484559" r:id="rId7"/>
    <p:sldLayoutId id="2147484560" r:id="rId8"/>
    <p:sldLayoutId id="2147484561" r:id="rId9"/>
    <p:sldLayoutId id="2147484539" r:id="rId10"/>
    <p:sldLayoutId id="2147484540" r:id="rId11"/>
    <p:sldLayoutId id="2147484541" r:id="rId12"/>
    <p:sldLayoutId id="2147484542" r:id="rId13"/>
    <p:sldLayoutId id="2147484543" r:id="rId14"/>
    <p:sldLayoutId id="2147484544" r:id="rId15"/>
    <p:sldLayoutId id="2147484545" r:id="rId16"/>
    <p:sldLayoutId id="2147484562" r:id="rId17"/>
  </p:sldLayoutIdLst>
  <p:transition spd="slow"/>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2pPr>
      <a:lvl3pPr algn="l" rtl="0" eaLnBrk="0" fontAlgn="base" hangingPunct="0">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3pPr>
      <a:lvl4pPr algn="l" rtl="0" eaLnBrk="0" fontAlgn="base" hangingPunct="0">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4pPr>
      <a:lvl5pPr algn="l" rtl="0" eaLnBrk="0" fontAlgn="base" hangingPunct="0">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5pPr>
      <a:lvl6pPr marL="457200" algn="l" rtl="0" fontAlgn="base">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6pPr>
      <a:lvl7pPr marL="914400" algn="l" rtl="0" fontAlgn="base">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7pPr>
      <a:lvl8pPr marL="1371600" algn="l" rtl="0" fontAlgn="base">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8pPr>
      <a:lvl9pPr marL="1828800" algn="l" rtl="0" fontAlgn="base">
        <a:lnSpc>
          <a:spcPct val="90000"/>
        </a:lnSpc>
        <a:spcBef>
          <a:spcPct val="0"/>
        </a:spcBef>
        <a:spcAft>
          <a:spcPct val="0"/>
        </a:spcAft>
        <a:defRPr sz="4400">
          <a:solidFill>
            <a:schemeClr val="tx1"/>
          </a:solidFill>
          <a:latin typeface="Arial" panose="020B0604020202020204" pitchFamily="34" charset="0"/>
          <a:ea typeface="微软雅黑" panose="020B0503020204020204" pitchFamily="34" charset="-122"/>
        </a:defRPr>
      </a:lvl9pPr>
    </p:titleStyle>
    <p:bodyStyle>
      <a:lvl1pPr marL="228600" indent="-228600" algn="l" rtl="0" eaLnBrk="0" fontAlgn="base" hangingPunct="0">
        <a:lnSpc>
          <a:spcPct val="90000"/>
        </a:lnSpc>
        <a:spcBef>
          <a:spcPts val="1000"/>
        </a:spcBef>
        <a:spcAft>
          <a:spcPct val="0"/>
        </a:spcAft>
        <a:buFont typeface="Arial"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jpeg"/><Relationship Id="rId7" Type="http://schemas.openxmlformats.org/officeDocument/2006/relationships/image" Target="../media/image28.jpg"/><Relationship Id="rId2" Type="http://schemas.openxmlformats.org/officeDocument/2006/relationships/image" Target="../media/image23.png"/><Relationship Id="rId1" Type="http://schemas.openxmlformats.org/officeDocument/2006/relationships/slideLayout" Target="../slideLayouts/slideLayout15.xml"/><Relationship Id="rId6" Type="http://schemas.openxmlformats.org/officeDocument/2006/relationships/image" Target="../media/image27.jpg"/><Relationship Id="rId5" Type="http://schemas.openxmlformats.org/officeDocument/2006/relationships/image" Target="../media/image26.jpg"/><Relationship Id="rId4" Type="http://schemas.openxmlformats.org/officeDocument/2006/relationships/image" Target="../media/image25.jpg"/></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5.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png"/></Relationships>
</file>

<file path=ppt/slides/_rels/slide1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15.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s>
</file>

<file path=ppt/slides/_rels/slide1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png"/><Relationship Id="rId1" Type="http://schemas.openxmlformats.org/officeDocument/2006/relationships/slideLayout" Target="../slideLayouts/slideLayout15.xml"/><Relationship Id="rId5" Type="http://schemas.openxmlformats.org/officeDocument/2006/relationships/image" Target="../media/image43.png"/><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image" Target="../media/image49.png"/><Relationship Id="rId1" Type="http://schemas.openxmlformats.org/officeDocument/2006/relationships/slideLayout" Target="../slideLayouts/slideLayout15.xml"/><Relationship Id="rId6" Type="http://schemas.openxmlformats.org/officeDocument/2006/relationships/image" Target="../media/image53.png"/><Relationship Id="rId5" Type="http://schemas.openxmlformats.org/officeDocument/2006/relationships/image" Target="../media/image52.png"/><Relationship Id="rId10" Type="http://schemas.openxmlformats.org/officeDocument/2006/relationships/image" Target="../media/image57.jpeg"/><Relationship Id="rId4" Type="http://schemas.openxmlformats.org/officeDocument/2006/relationships/image" Target="../media/image51.png"/><Relationship Id="rId9" Type="http://schemas.openxmlformats.org/officeDocument/2006/relationships/image" Target="../media/image56.png"/></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2.jpeg"/></Relationships>
</file>

<file path=ppt/slides/_rels/slide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2.jpeg"/></Relationships>
</file>

<file path=ppt/slides/_rels/slide21.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8" Type="http://schemas.openxmlformats.org/officeDocument/2006/relationships/image" Target="../media/image64.jpeg"/><Relationship Id="rId13" Type="http://schemas.openxmlformats.org/officeDocument/2006/relationships/image" Target="../media/image68.jpg"/><Relationship Id="rId3" Type="http://schemas.openxmlformats.org/officeDocument/2006/relationships/image" Target="../media/image59.png"/><Relationship Id="rId7" Type="http://schemas.openxmlformats.org/officeDocument/2006/relationships/image" Target="../media/image63.jpeg"/><Relationship Id="rId12" Type="http://schemas.openxmlformats.org/officeDocument/2006/relationships/image" Target="../media/image67.jpg"/><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image" Target="../media/image62.jpeg"/><Relationship Id="rId11" Type="http://schemas.openxmlformats.org/officeDocument/2006/relationships/image" Target="../media/image27.jpg"/><Relationship Id="rId5" Type="http://schemas.openxmlformats.org/officeDocument/2006/relationships/image" Target="../media/image61.png"/><Relationship Id="rId15" Type="http://schemas.openxmlformats.org/officeDocument/2006/relationships/image" Target="../media/image70.jpeg"/><Relationship Id="rId10" Type="http://schemas.openxmlformats.org/officeDocument/2006/relationships/image" Target="../media/image66.jpeg"/><Relationship Id="rId4" Type="http://schemas.openxmlformats.org/officeDocument/2006/relationships/image" Target="../media/image60.png"/><Relationship Id="rId9" Type="http://schemas.openxmlformats.org/officeDocument/2006/relationships/image" Target="../media/image65.jpeg"/><Relationship Id="rId14" Type="http://schemas.openxmlformats.org/officeDocument/2006/relationships/image" Target="../media/image69.jpeg"/></Relationships>
</file>

<file path=ppt/slides/_rels/slide23.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image" Target="../media/image71.jpeg"/><Relationship Id="rId7" Type="http://schemas.openxmlformats.org/officeDocument/2006/relationships/image" Target="../media/image75.jpeg"/><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jpeg"/></Relationships>
</file>

<file path=ppt/slides/_rels/slide24.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1.xml"/><Relationship Id="rId1" Type="http://schemas.openxmlformats.org/officeDocument/2006/relationships/slideLayout" Target="../slideLayouts/slideLayout19.xml"/><Relationship Id="rId4" Type="http://schemas.openxmlformats.org/officeDocument/2006/relationships/image" Target="../media/image78.png"/></Relationships>
</file>

<file path=ppt/slides/_rels/slide2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3.xml"/><Relationship Id="rId1" Type="http://schemas.openxmlformats.org/officeDocument/2006/relationships/slideLayout" Target="../slideLayouts/slideLayout19.xml"/><Relationship Id="rId5" Type="http://schemas.openxmlformats.org/officeDocument/2006/relationships/image" Target="../media/image82.png"/><Relationship Id="rId4" Type="http://schemas.openxmlformats.org/officeDocument/2006/relationships/image" Target="../media/image81.png"/></Relationships>
</file>

<file path=ppt/slides/_rels/slide2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openxmlformats.org/officeDocument/2006/relationships/image" Target="../media/image86.png"/></Relationships>
</file>

<file path=ppt/slides/_rels/slide33.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18.xml"/><Relationship Id="rId1" Type="http://schemas.openxmlformats.org/officeDocument/2006/relationships/slideLayout" Target="../slideLayouts/slideLayout19.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34.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22.xml"/><Relationship Id="rId1" Type="http://schemas.openxmlformats.org/officeDocument/2006/relationships/slideLayout" Target="../slideLayouts/slideLayout19.xml"/><Relationship Id="rId4" Type="http://schemas.openxmlformats.org/officeDocument/2006/relationships/image" Target="../media/image91.png"/></Relationships>
</file>

<file path=ppt/slides/_rels/slide38.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23.xml"/><Relationship Id="rId1" Type="http://schemas.openxmlformats.org/officeDocument/2006/relationships/slideLayout" Target="../slideLayouts/slideLayout19.xml"/><Relationship Id="rId4" Type="http://schemas.openxmlformats.org/officeDocument/2006/relationships/image" Target="../media/image92.png"/></Relationships>
</file>

<file path=ppt/slides/_rels/slide39.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93.png"/><Relationship Id="rId18" Type="http://schemas.openxmlformats.org/officeDocument/2006/relationships/image" Target="../media/image98.jpeg"/><Relationship Id="rId26" Type="http://schemas.openxmlformats.org/officeDocument/2006/relationships/image" Target="../media/image105.png"/><Relationship Id="rId3" Type="http://schemas.openxmlformats.org/officeDocument/2006/relationships/tags" Target="../tags/tag4.xml"/><Relationship Id="rId21" Type="http://schemas.openxmlformats.org/officeDocument/2006/relationships/image" Target="../media/image101.png"/><Relationship Id="rId7" Type="http://schemas.openxmlformats.org/officeDocument/2006/relationships/tags" Target="../tags/tag8.xml"/><Relationship Id="rId12" Type="http://schemas.openxmlformats.org/officeDocument/2006/relationships/notesSlide" Target="../notesSlides/notesSlide24.xml"/><Relationship Id="rId17" Type="http://schemas.openxmlformats.org/officeDocument/2006/relationships/image" Target="../media/image97.png"/><Relationship Id="rId25" Type="http://schemas.openxmlformats.org/officeDocument/2006/relationships/image" Target="../media/image104.png"/><Relationship Id="rId2" Type="http://schemas.openxmlformats.org/officeDocument/2006/relationships/tags" Target="../tags/tag3.xml"/><Relationship Id="rId16" Type="http://schemas.openxmlformats.org/officeDocument/2006/relationships/image" Target="../media/image96.png"/><Relationship Id="rId20" Type="http://schemas.openxmlformats.org/officeDocument/2006/relationships/image" Target="../media/image100.png"/><Relationship Id="rId29" Type="http://schemas.openxmlformats.org/officeDocument/2006/relationships/image" Target="../media/image108.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slideLayout" Target="../slideLayouts/slideLayout19.xml"/><Relationship Id="rId24" Type="http://schemas.openxmlformats.org/officeDocument/2006/relationships/image" Target="../media/image103.png"/><Relationship Id="rId5" Type="http://schemas.openxmlformats.org/officeDocument/2006/relationships/tags" Target="../tags/tag6.xml"/><Relationship Id="rId15" Type="http://schemas.openxmlformats.org/officeDocument/2006/relationships/image" Target="../media/image95.png"/><Relationship Id="rId23" Type="http://schemas.openxmlformats.org/officeDocument/2006/relationships/hyperlink" Target="file:///C:\Documents%20and%20Settings\cn03dxw1\Local%20Settings\Temp\Rar$DI01.609\KPI-Quality_20111209-final.pdf" TargetMode="External"/><Relationship Id="rId28" Type="http://schemas.openxmlformats.org/officeDocument/2006/relationships/image" Target="../media/image107.jpeg"/><Relationship Id="rId10" Type="http://schemas.openxmlformats.org/officeDocument/2006/relationships/tags" Target="../tags/tag11.xml"/><Relationship Id="rId19" Type="http://schemas.openxmlformats.org/officeDocument/2006/relationships/image" Target="../media/image99.pn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94.png"/><Relationship Id="rId22" Type="http://schemas.openxmlformats.org/officeDocument/2006/relationships/image" Target="../media/image102.png"/><Relationship Id="rId27" Type="http://schemas.openxmlformats.org/officeDocument/2006/relationships/image" Target="../media/image106.jpe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1.xml"/><Relationship Id="rId1" Type="http://schemas.openxmlformats.org/officeDocument/2006/relationships/slideLayout" Target="../slideLayouts/slideLayout15.xml"/><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5.xml"/><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6.xml"/><Relationship Id="rId1" Type="http://schemas.openxmlformats.org/officeDocument/2006/relationships/slideLayout" Target="../slideLayouts/slideLayout20.xml"/><Relationship Id="rId4" Type="http://schemas.openxmlformats.org/officeDocument/2006/relationships/image" Target="../media/image2.jpeg"/></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7.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9.xml"/><Relationship Id="rId1" Type="http://schemas.openxmlformats.org/officeDocument/2006/relationships/vmlDrawing" Target="../drawings/vmlDrawing1.vml"/><Relationship Id="rId6" Type="http://schemas.openxmlformats.org/officeDocument/2006/relationships/image" Target="../media/image110.png"/><Relationship Id="rId5" Type="http://schemas.openxmlformats.org/officeDocument/2006/relationships/image" Target="../media/image111.emf"/><Relationship Id="rId4" Type="http://schemas.openxmlformats.org/officeDocument/2006/relationships/oleObject" Target="../embeddings/oleObject1.bin"/></Relationships>
</file>

<file path=ppt/slides/_rels/slide44.xml.rels><?xml version="1.0" encoding="UTF-8" standalone="yes"?>
<Relationships xmlns="http://schemas.openxmlformats.org/package/2006/relationships"><Relationship Id="rId8" Type="http://schemas.openxmlformats.org/officeDocument/2006/relationships/image" Target="../media/image116.emf"/><Relationship Id="rId13" Type="http://schemas.openxmlformats.org/officeDocument/2006/relationships/image" Target="../media/image121.emf"/><Relationship Id="rId3" Type="http://schemas.openxmlformats.org/officeDocument/2006/relationships/slide" Target="slide1.xml"/><Relationship Id="rId7" Type="http://schemas.openxmlformats.org/officeDocument/2006/relationships/image" Target="../media/image115.png"/><Relationship Id="rId12" Type="http://schemas.openxmlformats.org/officeDocument/2006/relationships/image" Target="../media/image120.emf"/><Relationship Id="rId2" Type="http://schemas.openxmlformats.org/officeDocument/2006/relationships/notesSlide" Target="../notesSlides/notesSlide29.xml"/><Relationship Id="rId16" Type="http://schemas.openxmlformats.org/officeDocument/2006/relationships/image" Target="../media/image124.png"/><Relationship Id="rId1" Type="http://schemas.openxmlformats.org/officeDocument/2006/relationships/slideLayout" Target="../slideLayouts/slideLayout19.xml"/><Relationship Id="rId6" Type="http://schemas.openxmlformats.org/officeDocument/2006/relationships/image" Target="../media/image114.png"/><Relationship Id="rId11" Type="http://schemas.openxmlformats.org/officeDocument/2006/relationships/image" Target="../media/image119.emf"/><Relationship Id="rId5" Type="http://schemas.openxmlformats.org/officeDocument/2006/relationships/image" Target="../media/image113.jpeg"/><Relationship Id="rId15" Type="http://schemas.openxmlformats.org/officeDocument/2006/relationships/image" Target="../media/image123.emf"/><Relationship Id="rId10" Type="http://schemas.openxmlformats.org/officeDocument/2006/relationships/image" Target="../media/image118.emf"/><Relationship Id="rId4" Type="http://schemas.openxmlformats.org/officeDocument/2006/relationships/image" Target="../media/image112.png"/><Relationship Id="rId9" Type="http://schemas.openxmlformats.org/officeDocument/2006/relationships/image" Target="../media/image117.emf"/><Relationship Id="rId14" Type="http://schemas.openxmlformats.org/officeDocument/2006/relationships/image" Target="../media/image122.emf"/></Relationships>
</file>

<file path=ppt/slides/_rels/slide45.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slideLayout" Target="../slideLayouts/slideLayout19.xml"/><Relationship Id="rId7" Type="http://schemas.openxmlformats.org/officeDocument/2006/relationships/image" Target="../media/image126.jpeg"/><Relationship Id="rId2" Type="http://schemas.openxmlformats.org/officeDocument/2006/relationships/video" Target="../media/media1.wmv"/><Relationship Id="rId1" Type="http://schemas.microsoft.com/office/2007/relationships/media" Target="../media/media1.wmv"/><Relationship Id="rId6" Type="http://schemas.openxmlformats.org/officeDocument/2006/relationships/image" Target="../media/image125.png"/><Relationship Id="rId11" Type="http://schemas.openxmlformats.org/officeDocument/2006/relationships/image" Target="../media/image130.png"/><Relationship Id="rId5" Type="http://schemas.openxmlformats.org/officeDocument/2006/relationships/slide" Target="slide1.xml"/><Relationship Id="rId10" Type="http://schemas.openxmlformats.org/officeDocument/2006/relationships/image" Target="../media/image129.png"/><Relationship Id="rId4" Type="http://schemas.openxmlformats.org/officeDocument/2006/relationships/notesSlide" Target="../notesSlides/notesSlide30.xml"/><Relationship Id="rId9" Type="http://schemas.openxmlformats.org/officeDocument/2006/relationships/image" Target="../media/image128.png"/></Relationships>
</file>

<file path=ppt/slides/_rels/slide46.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31.xml"/><Relationship Id="rId1" Type="http://schemas.openxmlformats.org/officeDocument/2006/relationships/slideLayout" Target="../slideLayouts/slideLayout19.xml"/><Relationship Id="rId4" Type="http://schemas.openxmlformats.org/officeDocument/2006/relationships/image" Target="../media/image131.jpeg"/></Relationships>
</file>

<file path=ppt/slides/_rels/slide47.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32.xml"/><Relationship Id="rId1" Type="http://schemas.openxmlformats.org/officeDocument/2006/relationships/slideLayout" Target="../slideLayouts/slideLayout19.xml"/><Relationship Id="rId4" Type="http://schemas.openxmlformats.org/officeDocument/2006/relationships/image" Target="../media/image132.png"/></Relationships>
</file>

<file path=ppt/slides/_rels/slide48.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slide" Target="slide1.xml"/><Relationship Id="rId7" Type="http://schemas.openxmlformats.org/officeDocument/2006/relationships/image" Target="../media/image136.png"/><Relationship Id="rId12" Type="http://schemas.openxmlformats.org/officeDocument/2006/relationships/image" Target="../media/image141.png"/><Relationship Id="rId2" Type="http://schemas.openxmlformats.org/officeDocument/2006/relationships/notesSlide" Target="../notesSlides/notesSlide33.xml"/><Relationship Id="rId1" Type="http://schemas.openxmlformats.org/officeDocument/2006/relationships/slideLayout" Target="../slideLayouts/slideLayout19.xml"/><Relationship Id="rId6" Type="http://schemas.openxmlformats.org/officeDocument/2006/relationships/image" Target="../media/image135.jpeg"/><Relationship Id="rId11" Type="http://schemas.openxmlformats.org/officeDocument/2006/relationships/image" Target="../media/image140.png"/><Relationship Id="rId5" Type="http://schemas.openxmlformats.org/officeDocument/2006/relationships/image" Target="../media/image134.png"/><Relationship Id="rId10" Type="http://schemas.openxmlformats.org/officeDocument/2006/relationships/image" Target="../media/image139.png"/><Relationship Id="rId4" Type="http://schemas.openxmlformats.org/officeDocument/2006/relationships/image" Target="../media/image133.png"/><Relationship Id="rId9" Type="http://schemas.openxmlformats.org/officeDocument/2006/relationships/image" Target="../media/image138.png"/></Relationships>
</file>

<file path=ppt/slides/_rels/slide4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3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3" Type="http://schemas.openxmlformats.org/officeDocument/2006/relationships/slide" Target="slide1.xml"/><Relationship Id="rId7" Type="http://schemas.openxmlformats.org/officeDocument/2006/relationships/image" Target="../media/image146.png"/><Relationship Id="rId2" Type="http://schemas.openxmlformats.org/officeDocument/2006/relationships/notesSlide" Target="../notesSlides/notesSlide35.xml"/><Relationship Id="rId1" Type="http://schemas.openxmlformats.org/officeDocument/2006/relationships/slideLayout" Target="../slideLayouts/slideLayout19.xml"/><Relationship Id="rId6" Type="http://schemas.openxmlformats.org/officeDocument/2006/relationships/image" Target="../media/image145.png"/><Relationship Id="rId5" Type="http://schemas.openxmlformats.org/officeDocument/2006/relationships/image" Target="../media/image144.png"/><Relationship Id="rId4" Type="http://schemas.openxmlformats.org/officeDocument/2006/relationships/image" Target="../media/image143.png"/></Relationships>
</file>

<file path=ppt/slides/_rels/slide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6.xml"/><Relationship Id="rId1" Type="http://schemas.openxmlformats.org/officeDocument/2006/relationships/slideLayout" Target="../slideLayouts/slideLayout20.xml"/><Relationship Id="rId4" Type="http://schemas.openxmlformats.org/officeDocument/2006/relationships/image" Target="../media/image2.jpeg"/></Relationships>
</file>

<file path=ppt/slides/_rels/slide52.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slide" Target="slide1.xml"/><Relationship Id="rId7" Type="http://schemas.openxmlformats.org/officeDocument/2006/relationships/image" Target="../media/image150.jpeg"/><Relationship Id="rId12" Type="http://schemas.openxmlformats.org/officeDocument/2006/relationships/image" Target="../media/image155.png"/><Relationship Id="rId2" Type="http://schemas.openxmlformats.org/officeDocument/2006/relationships/notesSlide" Target="../notesSlides/notesSlide37.xml"/><Relationship Id="rId1" Type="http://schemas.openxmlformats.org/officeDocument/2006/relationships/slideLayout" Target="../slideLayouts/slideLayout19.xml"/><Relationship Id="rId6" Type="http://schemas.openxmlformats.org/officeDocument/2006/relationships/image" Target="../media/image149.png"/><Relationship Id="rId11" Type="http://schemas.openxmlformats.org/officeDocument/2006/relationships/image" Target="../media/image154.jpeg"/><Relationship Id="rId5" Type="http://schemas.openxmlformats.org/officeDocument/2006/relationships/image" Target="../media/image148.png"/><Relationship Id="rId10" Type="http://schemas.openxmlformats.org/officeDocument/2006/relationships/image" Target="../media/image153.jpeg"/><Relationship Id="rId4" Type="http://schemas.openxmlformats.org/officeDocument/2006/relationships/image" Target="../media/image147.jpeg"/><Relationship Id="rId9" Type="http://schemas.openxmlformats.org/officeDocument/2006/relationships/image" Target="../media/image152.jpeg"/></Relationships>
</file>

<file path=ppt/slides/_rels/slide53.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38.xml"/><Relationship Id="rId1" Type="http://schemas.openxmlformats.org/officeDocument/2006/relationships/slideLayout" Target="../slideLayouts/slideLayout19.xml"/><Relationship Id="rId4" Type="http://schemas.openxmlformats.org/officeDocument/2006/relationships/image" Target="../media/image156.png"/></Relationships>
</file>

<file path=ppt/slides/_rels/slide54.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39.xml"/><Relationship Id="rId1" Type="http://schemas.openxmlformats.org/officeDocument/2006/relationships/slideLayout" Target="../slideLayouts/slideLayout19.xml"/><Relationship Id="rId4" Type="http://schemas.openxmlformats.org/officeDocument/2006/relationships/image" Target="../media/image157.png"/></Relationships>
</file>

<file path=ppt/slides/_rels/slide55.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notesSlide" Target="../notesSlides/notesSlide40.xml"/><Relationship Id="rId1" Type="http://schemas.openxmlformats.org/officeDocument/2006/relationships/slideLayout" Target="../slideLayouts/slideLayout19.xml"/><Relationship Id="rId6" Type="http://schemas.openxmlformats.org/officeDocument/2006/relationships/image" Target="../media/image160.png"/><Relationship Id="rId5" Type="http://schemas.openxmlformats.org/officeDocument/2006/relationships/image" Target="../media/image159.jpeg"/><Relationship Id="rId4" Type="http://schemas.openxmlformats.org/officeDocument/2006/relationships/image" Target="../media/image158.png"/></Relationships>
</file>

<file path=ppt/slides/_rels/slide56.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41.xml"/><Relationship Id="rId1" Type="http://schemas.openxmlformats.org/officeDocument/2006/relationships/slideLayout" Target="../slideLayouts/slideLayout1.xml"/><Relationship Id="rId6" Type="http://schemas.openxmlformats.org/officeDocument/2006/relationships/image" Target="../media/image164.jpeg"/><Relationship Id="rId5" Type="http://schemas.openxmlformats.org/officeDocument/2006/relationships/image" Target="../media/image163.png"/><Relationship Id="rId4" Type="http://schemas.openxmlformats.org/officeDocument/2006/relationships/image" Target="../media/image162.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15.xml"/><Relationship Id="rId4" Type="http://schemas.openxmlformats.org/officeDocument/2006/relationships/image" Target="../media/image12.jpeg"/></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15.xml"/><Relationship Id="rId6" Type="http://schemas.openxmlformats.org/officeDocument/2006/relationships/image" Target="../media/image17.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7" name="任意多边形: 形状 416">
            <a:extLst/>
          </p:cNvPr>
          <p:cNvSpPr/>
          <p:nvPr/>
        </p:nvSpPr>
        <p:spPr>
          <a:xfrm>
            <a:off x="0" y="5068888"/>
            <a:ext cx="1789113" cy="1789112"/>
          </a:xfrm>
          <a:custGeom>
            <a:avLst/>
            <a:gdLst>
              <a:gd name="connsiteX0" fmla="*/ 0 w 1789793"/>
              <a:gd name="connsiteY0" fmla="*/ 0 h 1789793"/>
              <a:gd name="connsiteX1" fmla="*/ 1789793 w 1789793"/>
              <a:gd name="connsiteY1" fmla="*/ 1789793 h 1789793"/>
              <a:gd name="connsiteX2" fmla="*/ 0 w 1789793"/>
              <a:gd name="connsiteY2" fmla="*/ 1789793 h 1789793"/>
            </a:gdLst>
            <a:ahLst/>
            <a:cxnLst>
              <a:cxn ang="0">
                <a:pos x="connsiteX0" y="connsiteY0"/>
              </a:cxn>
              <a:cxn ang="0">
                <a:pos x="connsiteX1" y="connsiteY1"/>
              </a:cxn>
              <a:cxn ang="0">
                <a:pos x="connsiteX2" y="connsiteY2"/>
              </a:cxn>
            </a:cxnLst>
            <a:rect l="l" t="t" r="r" b="b"/>
            <a:pathLst>
              <a:path w="1789793" h="1789793">
                <a:moveTo>
                  <a:pt x="0" y="0"/>
                </a:moveTo>
                <a:lnTo>
                  <a:pt x="1789793" y="1789793"/>
                </a:lnTo>
                <a:lnTo>
                  <a:pt x="0" y="1789793"/>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pic>
        <p:nvPicPr>
          <p:cNvPr id="24580" name="图片 3"/>
          <p:cNvPicPr>
            <a:picLocks noChangeAspect="1"/>
          </p:cNvPicPr>
          <p:nvPr/>
        </p:nvPicPr>
        <p:blipFill>
          <a:blip r:embed="rId4"/>
          <a:srcRect/>
          <a:stretch>
            <a:fillRect/>
          </a:stretch>
        </p:blipFill>
        <p:spPr bwMode="auto">
          <a:xfrm>
            <a:off x="459995" y="474321"/>
            <a:ext cx="1638300" cy="647700"/>
          </a:xfrm>
          <a:prstGeom prst="rect">
            <a:avLst/>
          </a:prstGeom>
          <a:noFill/>
          <a:ln w="9525">
            <a:noFill/>
            <a:miter lim="800000"/>
            <a:headEnd/>
            <a:tailEnd/>
          </a:ln>
        </p:spPr>
      </p:pic>
      <p:sp>
        <p:nvSpPr>
          <p:cNvPr id="15" name="矩形 14"/>
          <p:cNvSpPr/>
          <p:nvPr/>
        </p:nvSpPr>
        <p:spPr>
          <a:xfrm>
            <a:off x="4763171" y="5579300"/>
            <a:ext cx="3376245" cy="384144"/>
          </a:xfrm>
          <a:prstGeom prst="rect">
            <a:avLst/>
          </a:prstGeom>
        </p:spPr>
        <p:txBody>
          <a:bodyPr wrap="none">
            <a:spAutoFit/>
          </a:bodyPr>
          <a:lstStyle/>
          <a:p>
            <a:pPr fontAlgn="auto">
              <a:lnSpc>
                <a:spcPct val="114000"/>
              </a:lnSpc>
              <a:spcBef>
                <a:spcPts val="0"/>
              </a:spcBef>
              <a:spcAft>
                <a:spcPts val="0"/>
              </a:spcAft>
              <a:defRPr/>
            </a:pPr>
            <a:r>
              <a:rPr lang="zh-CN" altLang="en-US" dirty="0">
                <a:solidFill>
                  <a:schemeClr val="bg1">
                    <a:lumMod val="50000"/>
                  </a:schemeClr>
                </a:solidFill>
                <a:latin typeface="微软雅黑" panose="020B0503020204020204" pitchFamily="34" charset="-122"/>
                <a:ea typeface="微软雅黑" pitchFamily="34" charset="-122"/>
              </a:rPr>
              <a:t>楚天科技，王宏伟 </a:t>
            </a:r>
            <a:r>
              <a:rPr lang="en-US" altLang="zh-CN" dirty="0" smtClean="0">
                <a:solidFill>
                  <a:schemeClr val="bg1">
                    <a:lumMod val="50000"/>
                  </a:schemeClr>
                </a:solidFill>
                <a:latin typeface="微软雅黑" panose="020B0503020204020204" pitchFamily="34" charset="-122"/>
                <a:ea typeface="微软雅黑" pitchFamily="34" charset="-122"/>
              </a:rPr>
              <a:t>2019-03-26</a:t>
            </a:r>
            <a:endParaRPr lang="en-US" altLang="zh-CN" dirty="0">
              <a:solidFill>
                <a:schemeClr val="bg1">
                  <a:lumMod val="50000"/>
                </a:schemeClr>
              </a:solidFill>
              <a:latin typeface="微软雅黑" panose="020B0503020204020204" pitchFamily="34" charset="-122"/>
              <a:ea typeface="微软雅黑" pitchFamily="34" charset="-122"/>
            </a:endParaRPr>
          </a:p>
        </p:txBody>
      </p:sp>
      <p:sp>
        <p:nvSpPr>
          <p:cNvPr id="24582" name="矩形 1"/>
          <p:cNvSpPr>
            <a:spLocks noChangeArrowheads="1"/>
          </p:cNvSpPr>
          <p:nvPr/>
        </p:nvSpPr>
        <p:spPr bwMode="auto">
          <a:xfrm>
            <a:off x="1542621" y="2365911"/>
            <a:ext cx="8663182" cy="1692771"/>
          </a:xfrm>
          <a:prstGeom prst="rect">
            <a:avLst/>
          </a:prstGeom>
          <a:noFill/>
          <a:ln w="9525">
            <a:noFill/>
            <a:miter lim="800000"/>
            <a:headEnd/>
            <a:tailEnd/>
          </a:ln>
        </p:spPr>
        <p:txBody>
          <a:bodyPr wrap="square">
            <a:spAutoFit/>
          </a:bodyPr>
          <a:lstStyle/>
          <a:p>
            <a:pPr algn="ctr"/>
            <a:r>
              <a:rPr lang="zh-CN" altLang="en-US" sz="4000" b="1" dirty="0">
                <a:solidFill>
                  <a:srgbClr val="006EBC"/>
                </a:solidFill>
                <a:latin typeface="微软雅黑" pitchFamily="34" charset="-122"/>
                <a:ea typeface="微软雅黑" pitchFamily="34" charset="-122"/>
              </a:rPr>
              <a:t>自动化、数字化、智能化</a:t>
            </a:r>
            <a:endParaRPr lang="en-US" altLang="zh-CN" sz="4000" b="1" dirty="0">
              <a:solidFill>
                <a:srgbClr val="006EBC"/>
              </a:solidFill>
              <a:latin typeface="微软雅黑" pitchFamily="34" charset="-122"/>
              <a:ea typeface="微软雅黑" pitchFamily="34" charset="-122"/>
            </a:endParaRPr>
          </a:p>
          <a:p>
            <a:pPr algn="ctr"/>
            <a:endParaRPr lang="en-US" altLang="zh-CN" sz="4000" b="1" dirty="0">
              <a:solidFill>
                <a:srgbClr val="006EBC"/>
              </a:solidFill>
              <a:latin typeface="微软雅黑" pitchFamily="34" charset="-122"/>
              <a:ea typeface="微软雅黑" pitchFamily="34" charset="-122"/>
            </a:endParaRPr>
          </a:p>
          <a:p>
            <a:pPr algn="ctr"/>
            <a:r>
              <a:rPr lang="en-US" altLang="zh-CN" sz="2400" b="1" dirty="0">
                <a:solidFill>
                  <a:srgbClr val="006EBC"/>
                </a:solidFill>
                <a:latin typeface="微软雅黑" pitchFamily="34" charset="-122"/>
                <a:ea typeface="微软雅黑" pitchFamily="34" charset="-122"/>
              </a:rPr>
              <a:t>---------------</a:t>
            </a:r>
            <a:r>
              <a:rPr lang="zh-CN" altLang="en-US" sz="2400" b="1" dirty="0">
                <a:solidFill>
                  <a:srgbClr val="006EBC"/>
                </a:solidFill>
                <a:latin typeface="微软雅黑" pitchFamily="34" charset="-122"/>
                <a:ea typeface="微软雅黑" pitchFamily="34" charset="-122"/>
              </a:rPr>
              <a:t>医药工业制造模式转变的探索与实践</a:t>
            </a:r>
            <a:endParaRPr lang="en-US" altLang="zh-CN" sz="2400" b="1" dirty="0">
              <a:solidFill>
                <a:srgbClr val="006EBC"/>
              </a:solidFill>
              <a:latin typeface="微软雅黑" pitchFamily="34" charset="-122"/>
              <a:ea typeface="微软雅黑" pitchFamily="34" charset="-122"/>
            </a:endParaRPr>
          </a:p>
        </p:txBody>
      </p:sp>
    </p:spTree>
  </p:cSld>
  <p:clrMapOvr>
    <a:masterClrMapping/>
  </p:clrMapOvr>
  <p:transition spd="slow" advTm="0">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F8B9B0BE-9ACB-4956-A3EC-E03B928190B2}"/>
              </a:ext>
            </a:extLst>
          </p:cNvPr>
          <p:cNvSpPr/>
          <p:nvPr/>
        </p:nvSpPr>
        <p:spPr bwMode="auto">
          <a:xfrm>
            <a:off x="635428" y="114300"/>
            <a:ext cx="3644472"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zh-CN" altLang="en-US" sz="3600" b="1" dirty="0">
                <a:solidFill>
                  <a:srgbClr val="0070C0"/>
                </a:solidFill>
                <a:latin typeface="+mj-ea"/>
                <a:ea typeface="+mj-ea"/>
              </a:rPr>
              <a:t>前端工艺自动化</a:t>
            </a:r>
          </a:p>
        </p:txBody>
      </p:sp>
      <p:pic>
        <p:nvPicPr>
          <p:cNvPr id="6" name="图片 5">
            <a:extLst>
              <a:ext uri="{FF2B5EF4-FFF2-40B4-BE49-F238E27FC236}">
                <a16:creationId xmlns:a16="http://schemas.microsoft.com/office/drawing/2014/main" id="{9A7E8B0E-31DE-4100-9E2A-51A57F6CA2A9}"/>
              </a:ext>
            </a:extLst>
          </p:cNvPr>
          <p:cNvPicPr>
            <a:picLocks noChangeAspect="1"/>
          </p:cNvPicPr>
          <p:nvPr/>
        </p:nvPicPr>
        <p:blipFill>
          <a:blip r:embed="rId3"/>
          <a:stretch>
            <a:fillRect/>
          </a:stretch>
        </p:blipFill>
        <p:spPr>
          <a:xfrm>
            <a:off x="2614349" y="838200"/>
            <a:ext cx="9189617" cy="5910537"/>
          </a:xfrm>
          <a:prstGeom prst="rect">
            <a:avLst/>
          </a:prstGeom>
        </p:spPr>
      </p:pic>
      <p:sp>
        <p:nvSpPr>
          <p:cNvPr id="7" name="矩形: 圆角 6">
            <a:extLst>
              <a:ext uri="{FF2B5EF4-FFF2-40B4-BE49-F238E27FC236}">
                <a16:creationId xmlns:a16="http://schemas.microsoft.com/office/drawing/2014/main" id="{559D4E25-7354-4B68-ACD0-3DDE7A7C0E6A}"/>
              </a:ext>
            </a:extLst>
          </p:cNvPr>
          <p:cNvSpPr/>
          <p:nvPr/>
        </p:nvSpPr>
        <p:spPr>
          <a:xfrm>
            <a:off x="2447778" y="2686929"/>
            <a:ext cx="9356188" cy="405677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a:extLst>
              <a:ext uri="{FF2B5EF4-FFF2-40B4-BE49-F238E27FC236}">
                <a16:creationId xmlns:a16="http://schemas.microsoft.com/office/drawing/2014/main" id="{4F70155C-E708-4AE2-8C50-BE952E5C7CE6}"/>
              </a:ext>
            </a:extLst>
          </p:cNvPr>
          <p:cNvSpPr/>
          <p:nvPr/>
        </p:nvSpPr>
        <p:spPr>
          <a:xfrm>
            <a:off x="208669" y="5821119"/>
            <a:ext cx="2192284" cy="646113"/>
          </a:xfrm>
          <a:prstGeom prst="rect">
            <a:avLst/>
          </a:prstGeom>
          <a:solidFill>
            <a:schemeClr val="accent1">
              <a:lumMod val="75000"/>
            </a:schemeClr>
          </a:solidFill>
        </p:spPr>
        <p:txBody>
          <a:bodyPr wrap="square">
            <a:spAutoFit/>
          </a:bodyPr>
          <a:lstStyle/>
          <a:p>
            <a:pPr>
              <a:defRPr/>
            </a:pPr>
            <a:r>
              <a:rPr lang="zh-CN" altLang="en-US" dirty="0">
                <a:solidFill>
                  <a:srgbClr val="000000"/>
                </a:solidFill>
                <a:latin typeface="宋体" panose="02010600030101010101" pitchFamily="2" charset="-122"/>
              </a:rPr>
              <a:t>变送器，阀门，测量仪，</a:t>
            </a:r>
            <a:r>
              <a:rPr lang="en-US" altLang="zh-CN" dirty="0">
                <a:solidFill>
                  <a:srgbClr val="000000"/>
                </a:solidFill>
                <a:latin typeface="宋体" panose="02010600030101010101" pitchFamily="2" charset="-122"/>
              </a:rPr>
              <a:t>I/O</a:t>
            </a:r>
            <a:r>
              <a:rPr lang="zh-CN" altLang="en-US" dirty="0">
                <a:solidFill>
                  <a:srgbClr val="000000"/>
                </a:solidFill>
                <a:latin typeface="宋体" panose="02010600030101010101" pitchFamily="2" charset="-122"/>
              </a:rPr>
              <a:t>卡件</a:t>
            </a:r>
            <a:endParaRPr lang="zh-CN" altLang="en-US" dirty="0"/>
          </a:p>
        </p:txBody>
      </p:sp>
      <p:sp>
        <p:nvSpPr>
          <p:cNvPr id="8" name="矩形 7">
            <a:extLst>
              <a:ext uri="{FF2B5EF4-FFF2-40B4-BE49-F238E27FC236}">
                <a16:creationId xmlns:a16="http://schemas.microsoft.com/office/drawing/2014/main" id="{51B6643E-BE79-4DBB-96FB-665D0E571CA0}"/>
              </a:ext>
            </a:extLst>
          </p:cNvPr>
          <p:cNvSpPr/>
          <p:nvPr/>
        </p:nvSpPr>
        <p:spPr>
          <a:xfrm>
            <a:off x="234510" y="4897789"/>
            <a:ext cx="2187428" cy="646113"/>
          </a:xfrm>
          <a:prstGeom prst="rect">
            <a:avLst/>
          </a:prstGeom>
          <a:solidFill>
            <a:schemeClr val="accent6">
              <a:lumMod val="20000"/>
              <a:lumOff val="80000"/>
            </a:schemeClr>
          </a:solidFill>
        </p:spPr>
        <p:txBody>
          <a:bodyPr wrap="square">
            <a:spAutoFit/>
          </a:bodyPr>
          <a:lstStyle/>
          <a:p>
            <a:pPr>
              <a:defRPr/>
            </a:pPr>
            <a:r>
              <a:rPr lang="zh-CN" altLang="en-US" dirty="0">
                <a:solidFill>
                  <a:srgbClr val="000000"/>
                </a:solidFill>
                <a:latin typeface="宋体" panose="02010600030101010101" pitchFamily="2" charset="-122"/>
              </a:rPr>
              <a:t>控制器（算法，逻辑，通讯）</a:t>
            </a:r>
          </a:p>
        </p:txBody>
      </p:sp>
      <p:sp>
        <p:nvSpPr>
          <p:cNvPr id="9" name="矩形 8">
            <a:extLst>
              <a:ext uri="{FF2B5EF4-FFF2-40B4-BE49-F238E27FC236}">
                <a16:creationId xmlns:a16="http://schemas.microsoft.com/office/drawing/2014/main" id="{B203CC19-2637-4A3C-B818-FDB54D2CA1B2}"/>
              </a:ext>
            </a:extLst>
          </p:cNvPr>
          <p:cNvSpPr>
            <a:spLocks noChangeArrowheads="1"/>
          </p:cNvSpPr>
          <p:nvPr/>
        </p:nvSpPr>
        <p:spPr bwMode="auto">
          <a:xfrm>
            <a:off x="208669" y="3954010"/>
            <a:ext cx="2187428" cy="923330"/>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r>
              <a:rPr lang="zh-CN" altLang="en-US" sz="1800" dirty="0">
                <a:solidFill>
                  <a:srgbClr val="000000"/>
                </a:solidFill>
                <a:latin typeface="宋体" panose="02010600030101010101" pitchFamily="2" charset="-122"/>
              </a:rPr>
              <a:t>中控室、现场、远程操作站（画面监控，操作</a:t>
            </a:r>
            <a:endParaRPr lang="zh-CN" altLang="en-US" sz="1800" dirty="0"/>
          </a:p>
        </p:txBody>
      </p:sp>
      <p:sp>
        <p:nvSpPr>
          <p:cNvPr id="10" name="矩形 9">
            <a:extLst>
              <a:ext uri="{FF2B5EF4-FFF2-40B4-BE49-F238E27FC236}">
                <a16:creationId xmlns:a16="http://schemas.microsoft.com/office/drawing/2014/main" id="{36CFD2DF-1DFC-4BA4-B02E-E001305C96F5}"/>
              </a:ext>
            </a:extLst>
          </p:cNvPr>
          <p:cNvSpPr/>
          <p:nvPr/>
        </p:nvSpPr>
        <p:spPr>
          <a:xfrm>
            <a:off x="234510" y="2199684"/>
            <a:ext cx="2187428" cy="1754326"/>
          </a:xfrm>
          <a:prstGeom prst="rect">
            <a:avLst/>
          </a:prstGeom>
          <a:solidFill>
            <a:schemeClr val="accent3">
              <a:lumMod val="95000"/>
            </a:schemeClr>
          </a:solidFill>
        </p:spPr>
        <p:txBody>
          <a:bodyPr wrap="square">
            <a:spAutoFit/>
          </a:bodyPr>
          <a:lstStyle/>
          <a:p>
            <a:pPr>
              <a:defRPr/>
            </a:pPr>
            <a:r>
              <a:rPr lang="zh-CN" altLang="en-US" dirty="0">
                <a:solidFill>
                  <a:srgbClr val="000000"/>
                </a:solidFill>
                <a:latin typeface="宋体" panose="02010600030101010101" pitchFamily="2" charset="-122"/>
              </a:rPr>
              <a:t>实时</a:t>
            </a:r>
            <a:r>
              <a:rPr lang="en-US" altLang="zh-CN" dirty="0">
                <a:solidFill>
                  <a:srgbClr val="000000"/>
                </a:solidFill>
                <a:latin typeface="宋体" panose="02010600030101010101" pitchFamily="2" charset="-122"/>
              </a:rPr>
              <a:t>/</a:t>
            </a:r>
            <a:r>
              <a:rPr lang="zh-CN" altLang="en-US" dirty="0">
                <a:solidFill>
                  <a:srgbClr val="000000"/>
                </a:solidFill>
                <a:latin typeface="宋体" panose="02010600030101010101" pitchFamily="2" charset="-122"/>
              </a:rPr>
              <a:t>历史数据站，</a:t>
            </a:r>
            <a:endParaRPr lang="en-US" altLang="zh-CN" dirty="0">
              <a:solidFill>
                <a:srgbClr val="000000"/>
              </a:solidFill>
              <a:latin typeface="宋体" panose="02010600030101010101" pitchFamily="2" charset="-122"/>
            </a:endParaRPr>
          </a:p>
          <a:p>
            <a:pPr>
              <a:defRPr/>
            </a:pPr>
            <a:r>
              <a:rPr lang="zh-CN" altLang="en-US" dirty="0">
                <a:solidFill>
                  <a:srgbClr val="000000"/>
                </a:solidFill>
                <a:latin typeface="宋体" panose="02010600030101010101" pitchFamily="2" charset="-122"/>
              </a:rPr>
              <a:t>应用站（扩展应用组件，批处理报警管理，通讯软件</a:t>
            </a:r>
            <a:r>
              <a:rPr lang="en-US" altLang="zh-CN" dirty="0">
                <a:solidFill>
                  <a:srgbClr val="000000"/>
                </a:solidFill>
                <a:latin typeface="宋体" panose="02010600030101010101" pitchFamily="2" charset="-122"/>
              </a:rPr>
              <a:t>OPC</a:t>
            </a:r>
            <a:r>
              <a:rPr lang="zh-CN" altLang="en-US" dirty="0">
                <a:solidFill>
                  <a:srgbClr val="000000"/>
                </a:solidFill>
                <a:latin typeface="宋体" panose="02010600030101010101" pitchFamily="2" charset="-122"/>
              </a:rPr>
              <a:t>）</a:t>
            </a:r>
            <a:r>
              <a:rPr lang="en-US" altLang="zh-CN" dirty="0">
                <a:solidFill>
                  <a:srgbClr val="000000"/>
                </a:solidFill>
                <a:latin typeface="宋体" panose="02010600030101010101" pitchFamily="2" charset="-122"/>
              </a:rPr>
              <a:t>,</a:t>
            </a:r>
            <a:r>
              <a:rPr lang="zh-CN" altLang="en-US" dirty="0">
                <a:solidFill>
                  <a:srgbClr val="000000"/>
                </a:solidFill>
                <a:latin typeface="宋体" panose="02010600030101010101" pitchFamily="2" charset="-122"/>
              </a:rPr>
              <a:t>工程师站（</a:t>
            </a:r>
            <a:r>
              <a:rPr lang="en-US" altLang="zh-CN" dirty="0">
                <a:solidFill>
                  <a:srgbClr val="000000"/>
                </a:solidFill>
                <a:latin typeface="宋体" panose="02010600030101010101" pitchFamily="2" charset="-122"/>
              </a:rPr>
              <a:t>DCS</a:t>
            </a:r>
            <a:r>
              <a:rPr lang="zh-CN" altLang="en-US" dirty="0">
                <a:solidFill>
                  <a:srgbClr val="000000"/>
                </a:solidFill>
                <a:latin typeface="宋体" panose="02010600030101010101" pitchFamily="2" charset="-122"/>
              </a:rPr>
              <a:t>软件主要组件）</a:t>
            </a:r>
          </a:p>
        </p:txBody>
      </p:sp>
      <p:sp>
        <p:nvSpPr>
          <p:cNvPr id="3" name="文本框 2">
            <a:extLst>
              <a:ext uri="{FF2B5EF4-FFF2-40B4-BE49-F238E27FC236}">
                <a16:creationId xmlns:a16="http://schemas.microsoft.com/office/drawing/2014/main" id="{91B6686D-9D46-4EC9-88D2-EBE57B483788}"/>
              </a:ext>
            </a:extLst>
          </p:cNvPr>
          <p:cNvSpPr txBox="1"/>
          <p:nvPr/>
        </p:nvSpPr>
        <p:spPr>
          <a:xfrm>
            <a:off x="129645" y="976699"/>
            <a:ext cx="2990487" cy="646331"/>
          </a:xfrm>
          <a:prstGeom prst="rect">
            <a:avLst/>
          </a:prstGeom>
          <a:noFill/>
        </p:spPr>
        <p:txBody>
          <a:bodyPr wrap="square" rtlCol="0">
            <a:spAutoFit/>
          </a:bodyPr>
          <a:lstStyle/>
          <a:p>
            <a:pPr marL="285750" indent="-285750">
              <a:buFont typeface="Wingdings" panose="05000000000000000000" pitchFamily="2" charset="2"/>
              <a:buChar char="n"/>
            </a:pPr>
            <a:r>
              <a:rPr lang="zh-CN" altLang="en-US" b="1" dirty="0">
                <a:latin typeface="+mj-ea"/>
                <a:ea typeface="+mj-ea"/>
              </a:rPr>
              <a:t>基于</a:t>
            </a:r>
            <a:r>
              <a:rPr lang="en-US" altLang="zh-CN" b="1" dirty="0">
                <a:latin typeface="+mj-ea"/>
                <a:ea typeface="+mj-ea"/>
              </a:rPr>
              <a:t>DCS</a:t>
            </a:r>
            <a:r>
              <a:rPr lang="zh-CN" altLang="en-US" b="1" dirty="0">
                <a:latin typeface="+mj-ea"/>
                <a:ea typeface="+mj-ea"/>
              </a:rPr>
              <a:t>的全自动化过程代替局部自动化</a:t>
            </a:r>
          </a:p>
        </p:txBody>
      </p:sp>
    </p:spTree>
    <p:extLst>
      <p:ext uri="{BB962C8B-B14F-4D97-AF65-F5344CB8AC3E}">
        <p14:creationId xmlns:p14="http://schemas.microsoft.com/office/powerpoint/2010/main" val="1989540435"/>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9D87ABA5-1272-4CF6-A9BD-DD4F8AFA287F}"/>
              </a:ext>
            </a:extLst>
          </p:cNvPr>
          <p:cNvSpPr/>
          <p:nvPr/>
        </p:nvSpPr>
        <p:spPr bwMode="auto">
          <a:xfrm>
            <a:off x="635428" y="114300"/>
            <a:ext cx="3644472"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zh-CN" altLang="en-US" sz="3600" b="1" dirty="0">
                <a:solidFill>
                  <a:srgbClr val="0070C0"/>
                </a:solidFill>
                <a:latin typeface="+mj-ea"/>
                <a:ea typeface="+mj-ea"/>
              </a:rPr>
              <a:t>后端工艺自动化</a:t>
            </a:r>
          </a:p>
        </p:txBody>
      </p:sp>
      <p:pic>
        <p:nvPicPr>
          <p:cNvPr id="4" name="Picture 7">
            <a:extLst>
              <a:ext uri="{FF2B5EF4-FFF2-40B4-BE49-F238E27FC236}">
                <a16:creationId xmlns:a16="http://schemas.microsoft.com/office/drawing/2014/main" id="{B80258E5-15FC-488C-9619-EA08A6784327}"/>
              </a:ext>
            </a:extLst>
          </p:cNvPr>
          <p:cNvPicPr>
            <a:picLocks noChangeAspect="1" noChangeArrowheads="1"/>
          </p:cNvPicPr>
          <p:nvPr/>
        </p:nvPicPr>
        <p:blipFill>
          <a:blip r:embed="rId2"/>
          <a:srcRect/>
          <a:stretch>
            <a:fillRect/>
          </a:stretch>
        </p:blipFill>
        <p:spPr bwMode="auto">
          <a:xfrm>
            <a:off x="6003009" y="2695252"/>
            <a:ext cx="2494408" cy="1697088"/>
          </a:xfrm>
          <a:prstGeom prst="rect">
            <a:avLst/>
          </a:prstGeom>
          <a:noFill/>
          <a:ln w="9525">
            <a:noFill/>
            <a:miter lim="800000"/>
            <a:headEnd/>
            <a:tailEnd/>
          </a:ln>
          <a:effectLst>
            <a:prstShdw prst="shdw17" dist="17961" dir="2700000">
              <a:schemeClr val="accent1">
                <a:gamma/>
                <a:shade val="60000"/>
                <a:invGamma/>
              </a:schemeClr>
            </a:prstShdw>
          </a:effectLst>
        </p:spPr>
      </p:pic>
      <p:grpSp>
        <p:nvGrpSpPr>
          <p:cNvPr id="9" name="组合 8">
            <a:extLst>
              <a:ext uri="{FF2B5EF4-FFF2-40B4-BE49-F238E27FC236}">
                <a16:creationId xmlns:a16="http://schemas.microsoft.com/office/drawing/2014/main" id="{1712F80E-920E-4BB4-8B02-F3971B2E4762}"/>
              </a:ext>
            </a:extLst>
          </p:cNvPr>
          <p:cNvGrpSpPr/>
          <p:nvPr/>
        </p:nvGrpSpPr>
        <p:grpSpPr>
          <a:xfrm>
            <a:off x="2924742" y="733232"/>
            <a:ext cx="8468401" cy="5700222"/>
            <a:chOff x="8989" y="1830"/>
            <a:chExt cx="8421" cy="7494"/>
          </a:xfrm>
        </p:grpSpPr>
        <p:grpSp>
          <p:nvGrpSpPr>
            <p:cNvPr id="10" name="组合 9">
              <a:extLst>
                <a:ext uri="{FF2B5EF4-FFF2-40B4-BE49-F238E27FC236}">
                  <a16:creationId xmlns:a16="http://schemas.microsoft.com/office/drawing/2014/main" id="{D5CBC060-1117-4819-B459-54F46A0A397A}"/>
                </a:ext>
              </a:extLst>
            </p:cNvPr>
            <p:cNvGrpSpPr/>
            <p:nvPr/>
          </p:nvGrpSpPr>
          <p:grpSpPr>
            <a:xfrm>
              <a:off x="8989" y="1830"/>
              <a:ext cx="8421" cy="7494"/>
              <a:chOff x="8989" y="1830"/>
              <a:chExt cx="8421" cy="7494"/>
            </a:xfrm>
          </p:grpSpPr>
          <p:grpSp>
            <p:nvGrpSpPr>
              <p:cNvPr id="12" name="组合 11">
                <a:extLst>
                  <a:ext uri="{FF2B5EF4-FFF2-40B4-BE49-F238E27FC236}">
                    <a16:creationId xmlns:a16="http://schemas.microsoft.com/office/drawing/2014/main" id="{0660A5ED-05BB-4E89-BB83-5D0724F3C962}"/>
                  </a:ext>
                </a:extLst>
              </p:cNvPr>
              <p:cNvGrpSpPr/>
              <p:nvPr/>
            </p:nvGrpSpPr>
            <p:grpSpPr>
              <a:xfrm>
                <a:off x="8989" y="6424"/>
                <a:ext cx="3255" cy="1845"/>
                <a:chOff x="747" y="4413"/>
                <a:chExt cx="3255" cy="1845"/>
              </a:xfrm>
            </p:grpSpPr>
            <p:cxnSp>
              <p:nvCxnSpPr>
                <p:cNvPr id="53" name="Straight Connector 23">
                  <a:extLst>
                    <a:ext uri="{FF2B5EF4-FFF2-40B4-BE49-F238E27FC236}">
                      <a16:creationId xmlns:a16="http://schemas.microsoft.com/office/drawing/2014/main" id="{93468FAB-58D8-4BEC-8835-FD7D44D08BB5}"/>
                    </a:ext>
                  </a:extLst>
                </p:cNvPr>
                <p:cNvCxnSpPr>
                  <a:cxnSpLocks noChangeShapeType="1"/>
                </p:cNvCxnSpPr>
                <p:nvPr/>
              </p:nvCxnSpPr>
              <p:spPr bwMode="auto">
                <a:xfrm flipH="1">
                  <a:off x="2227" y="4413"/>
                  <a:ext cx="1775" cy="965"/>
                </a:xfrm>
                <a:prstGeom prst="line">
                  <a:avLst/>
                </a:prstGeom>
                <a:noFill/>
                <a:ln w="3175" algn="ctr">
                  <a:solidFill>
                    <a:srgbClr val="000000"/>
                  </a:solidFill>
                  <a:round/>
                </a:ln>
              </p:spPr>
            </p:cxnSp>
            <p:grpSp>
              <p:nvGrpSpPr>
                <p:cNvPr id="54" name="组合 53">
                  <a:extLst>
                    <a:ext uri="{FF2B5EF4-FFF2-40B4-BE49-F238E27FC236}">
                      <a16:creationId xmlns:a16="http://schemas.microsoft.com/office/drawing/2014/main" id="{BFD670A5-206F-4271-92BF-B2BAC705C1E4}"/>
                    </a:ext>
                  </a:extLst>
                </p:cNvPr>
                <p:cNvGrpSpPr/>
                <p:nvPr/>
              </p:nvGrpSpPr>
              <p:grpSpPr bwMode="auto">
                <a:xfrm>
                  <a:off x="747" y="4498"/>
                  <a:ext cx="1954" cy="1760"/>
                  <a:chOff x="378743" y="1352594"/>
                  <a:chExt cx="793360" cy="728416"/>
                </a:xfrm>
              </p:grpSpPr>
              <p:grpSp>
                <p:nvGrpSpPr>
                  <p:cNvPr id="55" name="组合 17">
                    <a:extLst>
                      <a:ext uri="{FF2B5EF4-FFF2-40B4-BE49-F238E27FC236}">
                        <a16:creationId xmlns:a16="http://schemas.microsoft.com/office/drawing/2014/main" id="{7C6DE4D5-02FC-4E32-8772-F3F7C231AE70}"/>
                      </a:ext>
                    </a:extLst>
                  </p:cNvPr>
                  <p:cNvGrpSpPr/>
                  <p:nvPr/>
                </p:nvGrpSpPr>
                <p:grpSpPr bwMode="auto">
                  <a:xfrm>
                    <a:off x="443582" y="1352594"/>
                    <a:ext cx="728521" cy="728416"/>
                    <a:chOff x="4580560" y="2620847"/>
                    <a:chExt cx="1675153" cy="1674905"/>
                  </a:xfrm>
                </p:grpSpPr>
                <p:sp>
                  <p:nvSpPr>
                    <p:cNvPr id="58" name="椭圆 57">
                      <a:extLst>
                        <a:ext uri="{FF2B5EF4-FFF2-40B4-BE49-F238E27FC236}">
                          <a16:creationId xmlns:a16="http://schemas.microsoft.com/office/drawing/2014/main" id="{D9E3F3B2-0009-44C6-8D84-EE7EF6A81277}"/>
                        </a:ext>
                      </a:extLst>
                    </p:cNvPr>
                    <p:cNvSpPr/>
                    <p:nvPr/>
                  </p:nvSpPr>
                  <p:spPr>
                    <a:xfrm>
                      <a:off x="4580560" y="2620847"/>
                      <a:ext cx="1675153" cy="1674905"/>
                    </a:xfrm>
                    <a:prstGeom prst="ellipse">
                      <a:avLst/>
                    </a:prstGeom>
                    <a:gradFill>
                      <a:gsLst>
                        <a:gs pos="100000">
                          <a:schemeClr val="bg1">
                            <a:lumMod val="97000"/>
                          </a:schemeClr>
                        </a:gs>
                        <a:gs pos="0">
                          <a:schemeClr val="bg1">
                            <a:lumMod val="6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59" name="椭圆 58">
                      <a:extLst>
                        <a:ext uri="{FF2B5EF4-FFF2-40B4-BE49-F238E27FC236}">
                          <a16:creationId xmlns:a16="http://schemas.microsoft.com/office/drawing/2014/main" id="{1C650A87-D165-4038-A745-5883DEA8A1A7}"/>
                        </a:ext>
                      </a:extLst>
                    </p:cNvPr>
                    <p:cNvSpPr/>
                    <p:nvPr/>
                  </p:nvSpPr>
                  <p:spPr>
                    <a:xfrm>
                      <a:off x="4690324" y="2729946"/>
                      <a:ext cx="1428518" cy="1456709"/>
                    </a:xfrm>
                    <a:prstGeom prst="ellipse">
                      <a:avLst/>
                    </a:prstGeom>
                    <a:solidFill>
                      <a:schemeClr val="bg1">
                        <a:lumMod val="75000"/>
                      </a:schemeClr>
                    </a:solidFill>
                    <a:ln w="19050">
                      <a:gradFill flip="none" rotWithShape="1">
                        <a:gsLst>
                          <a:gs pos="0">
                            <a:schemeClr val="bg1">
                              <a:lumMod val="60000"/>
                            </a:schemeClr>
                          </a:gs>
                          <a:gs pos="100000">
                            <a:schemeClr val="bg1"/>
                          </a:gs>
                        </a:gsLst>
                        <a:lin ang="2700000" scaled="1"/>
                        <a:tileRect/>
                      </a:gradFill>
                    </a:ln>
                    <a:effectLst>
                      <a:innerShdw blurRad="1270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325"/>
                        </a:lnSpc>
                      </a:pPr>
                      <a:endParaRPr lang="en-US" altLang="zh-CN" sz="1000">
                        <a:solidFill>
                          <a:srgbClr val="FFFFFF"/>
                        </a:solidFill>
                        <a:latin typeface="微软雅黑" panose="020B0503020204020204" pitchFamily="34" charset="-122"/>
                      </a:endParaRPr>
                    </a:p>
                  </p:txBody>
                </p:sp>
              </p:grpSp>
              <p:sp>
                <p:nvSpPr>
                  <p:cNvPr id="56" name="矩形 55">
                    <a:extLst>
                      <a:ext uri="{FF2B5EF4-FFF2-40B4-BE49-F238E27FC236}">
                        <a16:creationId xmlns:a16="http://schemas.microsoft.com/office/drawing/2014/main" id="{E33DD85E-6F6A-48C0-9B00-3FE78C957995}"/>
                      </a:ext>
                    </a:extLst>
                  </p:cNvPr>
                  <p:cNvSpPr/>
                  <p:nvPr/>
                </p:nvSpPr>
                <p:spPr>
                  <a:xfrm>
                    <a:off x="378743" y="1581305"/>
                    <a:ext cx="778037" cy="209327"/>
                  </a:xfrm>
                  <a:prstGeom prst="rect">
                    <a:avLst/>
                  </a:prstGeom>
                </p:spPr>
                <p:txBody>
                  <a:bodyPr wrap="square">
                    <a:spAutoFit/>
                  </a:bodyPr>
                  <a:lstStyle/>
                  <a:p>
                    <a:pPr algn="ctr" eaLnBrk="1" latinLnBrk="0" hangingPunct="1">
                      <a:lnSpc>
                        <a:spcPct val="100000"/>
                      </a:lnSpc>
                      <a:defRPr/>
                    </a:pPr>
                    <a:r>
                      <a:rPr lang="zh-CN" altLang="en-US" sz="1900" b="1" kern="0" dirty="0">
                        <a:solidFill>
                          <a:sysClr val="window" lastClr="FFFFFF"/>
                        </a:solidFill>
                        <a:latin typeface="宋体" panose="02010600030101010101" pitchFamily="2" charset="-122"/>
                        <a:ea typeface="宋体" panose="02010600030101010101" pitchFamily="2" charset="-122"/>
                        <a:cs typeface="Gotham Light"/>
                      </a:rPr>
                      <a:t>运动控制</a:t>
                    </a:r>
                  </a:p>
                </p:txBody>
              </p:sp>
            </p:grpSp>
          </p:grpSp>
          <p:grpSp>
            <p:nvGrpSpPr>
              <p:cNvPr id="13" name="组合 12">
                <a:extLst>
                  <a:ext uri="{FF2B5EF4-FFF2-40B4-BE49-F238E27FC236}">
                    <a16:creationId xmlns:a16="http://schemas.microsoft.com/office/drawing/2014/main" id="{2BF0B227-26AC-49DD-913D-ACB402014708}"/>
                  </a:ext>
                </a:extLst>
              </p:cNvPr>
              <p:cNvGrpSpPr/>
              <p:nvPr/>
            </p:nvGrpSpPr>
            <p:grpSpPr>
              <a:xfrm>
                <a:off x="11830" y="1830"/>
                <a:ext cx="1917" cy="3117"/>
                <a:chOff x="911" y="4136"/>
                <a:chExt cx="1917" cy="3117"/>
              </a:xfrm>
            </p:grpSpPr>
            <p:cxnSp>
              <p:nvCxnSpPr>
                <p:cNvPr id="46" name="Straight Connector 23">
                  <a:extLst>
                    <a:ext uri="{FF2B5EF4-FFF2-40B4-BE49-F238E27FC236}">
                      <a16:creationId xmlns:a16="http://schemas.microsoft.com/office/drawing/2014/main" id="{5A5F9003-BE22-418F-A40A-BAA3B49D5711}"/>
                    </a:ext>
                  </a:extLst>
                </p:cNvPr>
                <p:cNvCxnSpPr>
                  <a:cxnSpLocks noChangeShapeType="1"/>
                  <a:endCxn id="11" idx="0"/>
                </p:cNvCxnSpPr>
                <p:nvPr/>
              </p:nvCxnSpPr>
              <p:spPr bwMode="auto">
                <a:xfrm>
                  <a:off x="2000" y="5726"/>
                  <a:ext cx="263" cy="1527"/>
                </a:xfrm>
                <a:prstGeom prst="line">
                  <a:avLst/>
                </a:prstGeom>
                <a:noFill/>
                <a:ln w="3175" algn="ctr">
                  <a:solidFill>
                    <a:srgbClr val="000000"/>
                  </a:solidFill>
                  <a:round/>
                </a:ln>
              </p:spPr>
            </p:cxnSp>
            <p:grpSp>
              <p:nvGrpSpPr>
                <p:cNvPr id="47" name="组合 46">
                  <a:extLst>
                    <a:ext uri="{FF2B5EF4-FFF2-40B4-BE49-F238E27FC236}">
                      <a16:creationId xmlns:a16="http://schemas.microsoft.com/office/drawing/2014/main" id="{74CBB843-CBC3-4888-8025-CEB42B2F58A9}"/>
                    </a:ext>
                  </a:extLst>
                </p:cNvPr>
                <p:cNvGrpSpPr/>
                <p:nvPr/>
              </p:nvGrpSpPr>
              <p:grpSpPr bwMode="auto">
                <a:xfrm>
                  <a:off x="911" y="4136"/>
                  <a:ext cx="1917" cy="1760"/>
                  <a:chOff x="445477" y="1202958"/>
                  <a:chExt cx="778037" cy="728416"/>
                </a:xfrm>
              </p:grpSpPr>
              <p:grpSp>
                <p:nvGrpSpPr>
                  <p:cNvPr id="48" name="组合 17">
                    <a:extLst>
                      <a:ext uri="{FF2B5EF4-FFF2-40B4-BE49-F238E27FC236}">
                        <a16:creationId xmlns:a16="http://schemas.microsoft.com/office/drawing/2014/main" id="{D22829A5-54CD-41A1-B57F-8BD4E1D4085A}"/>
                      </a:ext>
                    </a:extLst>
                  </p:cNvPr>
                  <p:cNvGrpSpPr/>
                  <p:nvPr/>
                </p:nvGrpSpPr>
                <p:grpSpPr bwMode="auto">
                  <a:xfrm>
                    <a:off x="445477" y="1202958"/>
                    <a:ext cx="728521" cy="728416"/>
                    <a:chOff x="4584917" y="2276777"/>
                    <a:chExt cx="1675153" cy="1674905"/>
                  </a:xfrm>
                </p:grpSpPr>
                <p:sp>
                  <p:nvSpPr>
                    <p:cNvPr id="51" name="椭圆 50">
                      <a:extLst>
                        <a:ext uri="{FF2B5EF4-FFF2-40B4-BE49-F238E27FC236}">
                          <a16:creationId xmlns:a16="http://schemas.microsoft.com/office/drawing/2014/main" id="{B8FE2C6C-BC53-49EE-BEF1-255DA8ED53D0}"/>
                        </a:ext>
                      </a:extLst>
                    </p:cNvPr>
                    <p:cNvSpPr/>
                    <p:nvPr/>
                  </p:nvSpPr>
                  <p:spPr>
                    <a:xfrm>
                      <a:off x="4584917" y="2276777"/>
                      <a:ext cx="1675153" cy="1674905"/>
                    </a:xfrm>
                    <a:prstGeom prst="ellipse">
                      <a:avLst/>
                    </a:prstGeom>
                    <a:gradFill>
                      <a:gsLst>
                        <a:gs pos="100000">
                          <a:schemeClr val="bg1">
                            <a:lumMod val="97000"/>
                          </a:schemeClr>
                        </a:gs>
                        <a:gs pos="0">
                          <a:schemeClr val="bg1">
                            <a:lumMod val="6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52" name="椭圆 51">
                      <a:extLst>
                        <a:ext uri="{FF2B5EF4-FFF2-40B4-BE49-F238E27FC236}">
                          <a16:creationId xmlns:a16="http://schemas.microsoft.com/office/drawing/2014/main" id="{3F8F0863-1610-4928-B019-2517516D6CDB}"/>
                        </a:ext>
                      </a:extLst>
                    </p:cNvPr>
                    <p:cNvSpPr/>
                    <p:nvPr/>
                  </p:nvSpPr>
                  <p:spPr>
                    <a:xfrm>
                      <a:off x="4680506" y="2333603"/>
                      <a:ext cx="1428518" cy="1456709"/>
                    </a:xfrm>
                    <a:prstGeom prst="ellipse">
                      <a:avLst/>
                    </a:prstGeom>
                    <a:solidFill>
                      <a:schemeClr val="bg1">
                        <a:lumMod val="75000"/>
                      </a:schemeClr>
                    </a:solidFill>
                    <a:ln w="19050">
                      <a:gradFill flip="none" rotWithShape="1">
                        <a:gsLst>
                          <a:gs pos="0">
                            <a:schemeClr val="bg1">
                              <a:lumMod val="60000"/>
                            </a:schemeClr>
                          </a:gs>
                          <a:gs pos="100000">
                            <a:schemeClr val="bg1"/>
                          </a:gs>
                        </a:gsLst>
                        <a:lin ang="2700000" scaled="1"/>
                        <a:tileRect/>
                      </a:gradFill>
                    </a:ln>
                    <a:effectLst>
                      <a:innerShdw blurRad="1270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325"/>
                        </a:lnSpc>
                      </a:pPr>
                      <a:endParaRPr lang="en-US" altLang="zh-CN" sz="1000" dirty="0">
                        <a:solidFill>
                          <a:srgbClr val="FFFFFF"/>
                        </a:solidFill>
                        <a:latin typeface="微软雅黑" panose="020B0503020204020204" pitchFamily="34" charset="-122"/>
                      </a:endParaRPr>
                    </a:p>
                  </p:txBody>
                </p:sp>
              </p:grpSp>
              <p:sp>
                <p:nvSpPr>
                  <p:cNvPr id="49" name="矩形 48">
                    <a:extLst>
                      <a:ext uri="{FF2B5EF4-FFF2-40B4-BE49-F238E27FC236}">
                        <a16:creationId xmlns:a16="http://schemas.microsoft.com/office/drawing/2014/main" id="{93D91A01-5C90-4583-AE8E-A923B172E36B}"/>
                      </a:ext>
                    </a:extLst>
                  </p:cNvPr>
                  <p:cNvSpPr/>
                  <p:nvPr/>
                </p:nvSpPr>
                <p:spPr>
                  <a:xfrm>
                    <a:off x="445477" y="1450838"/>
                    <a:ext cx="778037" cy="217700"/>
                  </a:xfrm>
                  <a:prstGeom prst="rect">
                    <a:avLst/>
                  </a:prstGeom>
                </p:spPr>
                <p:txBody>
                  <a:bodyPr wrap="square">
                    <a:spAutoFit/>
                  </a:bodyPr>
                  <a:lstStyle/>
                  <a:p>
                    <a:pPr algn="ctr" eaLnBrk="1" latinLnBrk="0" hangingPunct="1">
                      <a:lnSpc>
                        <a:spcPct val="100000"/>
                      </a:lnSpc>
                      <a:defRPr/>
                    </a:pPr>
                    <a:r>
                      <a:rPr lang="en-US" altLang="zh-CN" sz="2000" b="1" kern="0" dirty="0">
                        <a:solidFill>
                          <a:sysClr val="window" lastClr="FFFFFF"/>
                        </a:solidFill>
                        <a:latin typeface="宋体" panose="02010600030101010101" pitchFamily="2" charset="-122"/>
                        <a:ea typeface="宋体" panose="02010600030101010101" pitchFamily="2" charset="-122"/>
                        <a:cs typeface="Gotham Light"/>
                      </a:rPr>
                      <a:t>PLC</a:t>
                    </a:r>
                    <a:r>
                      <a:rPr lang="zh-CN" altLang="en-US" sz="2000" b="1" kern="0" dirty="0">
                        <a:solidFill>
                          <a:sysClr val="window" lastClr="FFFFFF"/>
                        </a:solidFill>
                        <a:latin typeface="宋体" panose="02010600030101010101" pitchFamily="2" charset="-122"/>
                        <a:ea typeface="宋体" panose="02010600030101010101" pitchFamily="2" charset="-122"/>
                        <a:cs typeface="Gotham Light"/>
                      </a:rPr>
                      <a:t>控制</a:t>
                    </a:r>
                  </a:p>
                </p:txBody>
              </p:sp>
            </p:grpSp>
          </p:grpSp>
          <p:grpSp>
            <p:nvGrpSpPr>
              <p:cNvPr id="14" name="组合 13">
                <a:extLst>
                  <a:ext uri="{FF2B5EF4-FFF2-40B4-BE49-F238E27FC236}">
                    <a16:creationId xmlns:a16="http://schemas.microsoft.com/office/drawing/2014/main" id="{01AF3FE3-7EA3-4BA1-B1E6-AE9E293AAF87}"/>
                  </a:ext>
                </a:extLst>
              </p:cNvPr>
              <p:cNvGrpSpPr/>
              <p:nvPr/>
            </p:nvGrpSpPr>
            <p:grpSpPr>
              <a:xfrm>
                <a:off x="9011" y="3273"/>
                <a:ext cx="3201" cy="1760"/>
                <a:chOff x="831" y="4415"/>
                <a:chExt cx="3201" cy="1760"/>
              </a:xfrm>
            </p:grpSpPr>
            <p:cxnSp>
              <p:nvCxnSpPr>
                <p:cNvPr id="39" name="Straight Connector 23">
                  <a:extLst>
                    <a:ext uri="{FF2B5EF4-FFF2-40B4-BE49-F238E27FC236}">
                      <a16:creationId xmlns:a16="http://schemas.microsoft.com/office/drawing/2014/main" id="{14A3C595-9E4C-42E8-8EFB-A2B46E3370BE}"/>
                    </a:ext>
                  </a:extLst>
                </p:cNvPr>
                <p:cNvCxnSpPr>
                  <a:cxnSpLocks noChangeShapeType="1"/>
                </p:cNvCxnSpPr>
                <p:nvPr/>
              </p:nvCxnSpPr>
              <p:spPr bwMode="auto">
                <a:xfrm>
                  <a:off x="2400" y="5289"/>
                  <a:ext cx="1632" cy="879"/>
                </a:xfrm>
                <a:prstGeom prst="line">
                  <a:avLst/>
                </a:prstGeom>
                <a:noFill/>
                <a:ln w="3175" algn="ctr">
                  <a:solidFill>
                    <a:srgbClr val="000000"/>
                  </a:solidFill>
                  <a:round/>
                </a:ln>
              </p:spPr>
            </p:cxnSp>
            <p:grpSp>
              <p:nvGrpSpPr>
                <p:cNvPr id="40" name="组合 39">
                  <a:extLst>
                    <a:ext uri="{FF2B5EF4-FFF2-40B4-BE49-F238E27FC236}">
                      <a16:creationId xmlns:a16="http://schemas.microsoft.com/office/drawing/2014/main" id="{D6FD07A1-BF3F-41AB-B2BE-76E3540FF5B3}"/>
                    </a:ext>
                  </a:extLst>
                </p:cNvPr>
                <p:cNvGrpSpPr/>
                <p:nvPr/>
              </p:nvGrpSpPr>
              <p:grpSpPr bwMode="auto">
                <a:xfrm>
                  <a:off x="831" y="4415"/>
                  <a:ext cx="1917" cy="1760"/>
                  <a:chOff x="412467" y="1318243"/>
                  <a:chExt cx="778037" cy="728416"/>
                </a:xfrm>
              </p:grpSpPr>
              <p:grpSp>
                <p:nvGrpSpPr>
                  <p:cNvPr id="41" name="组合 17">
                    <a:extLst>
                      <a:ext uri="{FF2B5EF4-FFF2-40B4-BE49-F238E27FC236}">
                        <a16:creationId xmlns:a16="http://schemas.microsoft.com/office/drawing/2014/main" id="{1C10964D-620D-4CCF-A2AA-6923F8C93452}"/>
                      </a:ext>
                    </a:extLst>
                  </p:cNvPr>
                  <p:cNvGrpSpPr/>
                  <p:nvPr/>
                </p:nvGrpSpPr>
                <p:grpSpPr bwMode="auto">
                  <a:xfrm>
                    <a:off x="437252" y="1318243"/>
                    <a:ext cx="728521" cy="728416"/>
                    <a:chOff x="4566003" y="2541861"/>
                    <a:chExt cx="1675153" cy="1674905"/>
                  </a:xfrm>
                </p:grpSpPr>
                <p:sp>
                  <p:nvSpPr>
                    <p:cNvPr id="44" name="椭圆 43">
                      <a:extLst>
                        <a:ext uri="{FF2B5EF4-FFF2-40B4-BE49-F238E27FC236}">
                          <a16:creationId xmlns:a16="http://schemas.microsoft.com/office/drawing/2014/main" id="{31A4B2F7-C274-40E5-B6D9-A86629D2B323}"/>
                        </a:ext>
                      </a:extLst>
                    </p:cNvPr>
                    <p:cNvSpPr/>
                    <p:nvPr/>
                  </p:nvSpPr>
                  <p:spPr>
                    <a:xfrm>
                      <a:off x="4566003" y="2541861"/>
                      <a:ext cx="1675153" cy="1674905"/>
                    </a:xfrm>
                    <a:prstGeom prst="ellipse">
                      <a:avLst/>
                    </a:prstGeom>
                    <a:gradFill>
                      <a:gsLst>
                        <a:gs pos="100000">
                          <a:schemeClr val="bg1">
                            <a:lumMod val="97000"/>
                          </a:schemeClr>
                        </a:gs>
                        <a:gs pos="0">
                          <a:schemeClr val="bg1">
                            <a:lumMod val="6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45" name="椭圆 44">
                      <a:extLst>
                        <a:ext uri="{FF2B5EF4-FFF2-40B4-BE49-F238E27FC236}">
                          <a16:creationId xmlns:a16="http://schemas.microsoft.com/office/drawing/2014/main" id="{D7F30F2D-70D1-47F7-BAA8-9CF46C502253}"/>
                        </a:ext>
                      </a:extLst>
                    </p:cNvPr>
                    <p:cNvSpPr/>
                    <p:nvPr/>
                  </p:nvSpPr>
                  <p:spPr>
                    <a:xfrm>
                      <a:off x="4689259" y="2650421"/>
                      <a:ext cx="1428518" cy="1456709"/>
                    </a:xfrm>
                    <a:prstGeom prst="ellipse">
                      <a:avLst/>
                    </a:prstGeom>
                    <a:solidFill>
                      <a:schemeClr val="bg1">
                        <a:lumMod val="75000"/>
                      </a:schemeClr>
                    </a:solidFill>
                    <a:ln w="19050">
                      <a:gradFill flip="none" rotWithShape="1">
                        <a:gsLst>
                          <a:gs pos="0">
                            <a:schemeClr val="bg1">
                              <a:lumMod val="60000"/>
                            </a:schemeClr>
                          </a:gs>
                          <a:gs pos="100000">
                            <a:schemeClr val="bg1"/>
                          </a:gs>
                        </a:gsLst>
                        <a:lin ang="2700000" scaled="1"/>
                        <a:tileRect/>
                      </a:gradFill>
                    </a:ln>
                    <a:effectLst>
                      <a:innerShdw blurRad="1270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325"/>
                        </a:lnSpc>
                      </a:pPr>
                      <a:endParaRPr lang="en-US" altLang="zh-CN" sz="1000">
                        <a:solidFill>
                          <a:srgbClr val="FFFFFF"/>
                        </a:solidFill>
                        <a:latin typeface="微软雅黑" panose="020B0503020204020204" pitchFamily="34" charset="-122"/>
                        <a:ea typeface="Gotham Light"/>
                        <a:cs typeface="Gotham Light"/>
                      </a:endParaRPr>
                    </a:p>
                  </p:txBody>
                </p:sp>
              </p:grpSp>
              <p:sp>
                <p:nvSpPr>
                  <p:cNvPr id="42" name="矩形 41">
                    <a:extLst>
                      <a:ext uri="{FF2B5EF4-FFF2-40B4-BE49-F238E27FC236}">
                        <a16:creationId xmlns:a16="http://schemas.microsoft.com/office/drawing/2014/main" id="{1A6861BE-3E84-42EA-8BCF-EAF3A5349296}"/>
                      </a:ext>
                    </a:extLst>
                  </p:cNvPr>
                  <p:cNvSpPr/>
                  <p:nvPr/>
                </p:nvSpPr>
                <p:spPr>
                  <a:xfrm>
                    <a:off x="412467" y="1550374"/>
                    <a:ext cx="778037" cy="217700"/>
                  </a:xfrm>
                  <a:prstGeom prst="rect">
                    <a:avLst/>
                  </a:prstGeom>
                </p:spPr>
                <p:txBody>
                  <a:bodyPr wrap="square">
                    <a:spAutoFit/>
                  </a:bodyPr>
                  <a:lstStyle/>
                  <a:p>
                    <a:pPr algn="ctr" eaLnBrk="1" latinLnBrk="0" hangingPunct="1">
                      <a:lnSpc>
                        <a:spcPct val="100000"/>
                      </a:lnSpc>
                      <a:defRPr/>
                    </a:pPr>
                    <a:r>
                      <a:rPr lang="zh-CN" altLang="en-US" sz="2000" b="1" kern="0" dirty="0">
                        <a:solidFill>
                          <a:sysClr val="window" lastClr="FFFFFF"/>
                        </a:solidFill>
                        <a:latin typeface="宋体" panose="02010600030101010101" pitchFamily="2" charset="-122"/>
                        <a:ea typeface="宋体" panose="02010600030101010101" pitchFamily="2" charset="-122"/>
                        <a:cs typeface="Gotham Light"/>
                      </a:rPr>
                      <a:t>传感与检测</a:t>
                    </a:r>
                  </a:p>
                </p:txBody>
              </p:sp>
            </p:grpSp>
          </p:grpSp>
          <p:grpSp>
            <p:nvGrpSpPr>
              <p:cNvPr id="15" name="组合 14">
                <a:extLst>
                  <a:ext uri="{FF2B5EF4-FFF2-40B4-BE49-F238E27FC236}">
                    <a16:creationId xmlns:a16="http://schemas.microsoft.com/office/drawing/2014/main" id="{1D96A8C0-5D5C-45E9-B608-53CB5E0998AE}"/>
                  </a:ext>
                </a:extLst>
              </p:cNvPr>
              <p:cNvGrpSpPr/>
              <p:nvPr/>
            </p:nvGrpSpPr>
            <p:grpSpPr>
              <a:xfrm>
                <a:off x="14080" y="2882"/>
                <a:ext cx="3330" cy="2192"/>
                <a:chOff x="435" y="4024"/>
                <a:chExt cx="3330" cy="2192"/>
              </a:xfrm>
            </p:grpSpPr>
            <p:cxnSp>
              <p:nvCxnSpPr>
                <p:cNvPr id="32" name="Straight Connector 23">
                  <a:extLst>
                    <a:ext uri="{FF2B5EF4-FFF2-40B4-BE49-F238E27FC236}">
                      <a16:creationId xmlns:a16="http://schemas.microsoft.com/office/drawing/2014/main" id="{3B920076-90F7-4A1A-B564-49E9C0E1C952}"/>
                    </a:ext>
                  </a:extLst>
                </p:cNvPr>
                <p:cNvCxnSpPr>
                  <a:cxnSpLocks noChangeShapeType="1"/>
                  <a:stCxn id="38" idx="2"/>
                </p:cNvCxnSpPr>
                <p:nvPr/>
              </p:nvCxnSpPr>
              <p:spPr bwMode="auto">
                <a:xfrm flipH="1">
                  <a:off x="435" y="4916"/>
                  <a:ext cx="1580" cy="1300"/>
                </a:xfrm>
                <a:prstGeom prst="line">
                  <a:avLst/>
                </a:prstGeom>
                <a:noFill/>
                <a:ln w="3175" algn="ctr">
                  <a:solidFill>
                    <a:srgbClr val="000000"/>
                  </a:solidFill>
                  <a:round/>
                </a:ln>
              </p:spPr>
            </p:cxnSp>
            <p:grpSp>
              <p:nvGrpSpPr>
                <p:cNvPr id="33" name="组合 32">
                  <a:extLst>
                    <a:ext uri="{FF2B5EF4-FFF2-40B4-BE49-F238E27FC236}">
                      <a16:creationId xmlns:a16="http://schemas.microsoft.com/office/drawing/2014/main" id="{7A6E911D-F16A-4FF6-8709-6AB4FA7634F2}"/>
                    </a:ext>
                  </a:extLst>
                </p:cNvPr>
                <p:cNvGrpSpPr/>
                <p:nvPr/>
              </p:nvGrpSpPr>
              <p:grpSpPr bwMode="auto">
                <a:xfrm>
                  <a:off x="1848" y="4024"/>
                  <a:ext cx="1917" cy="1760"/>
                  <a:chOff x="825573" y="1156653"/>
                  <a:chExt cx="778037" cy="728416"/>
                </a:xfrm>
              </p:grpSpPr>
              <p:grpSp>
                <p:nvGrpSpPr>
                  <p:cNvPr id="34" name="组合 17">
                    <a:extLst>
                      <a:ext uri="{FF2B5EF4-FFF2-40B4-BE49-F238E27FC236}">
                        <a16:creationId xmlns:a16="http://schemas.microsoft.com/office/drawing/2014/main" id="{7BC33918-96F7-4FA1-9F52-04EFF2C9BC36}"/>
                      </a:ext>
                    </a:extLst>
                  </p:cNvPr>
                  <p:cNvGrpSpPr/>
                  <p:nvPr/>
                </p:nvGrpSpPr>
                <p:grpSpPr bwMode="auto">
                  <a:xfrm>
                    <a:off x="839792" y="1156653"/>
                    <a:ext cx="728521" cy="728416"/>
                    <a:chOff x="5491600" y="2170306"/>
                    <a:chExt cx="1675153" cy="1674905"/>
                  </a:xfrm>
                </p:grpSpPr>
                <p:sp>
                  <p:nvSpPr>
                    <p:cNvPr id="37" name="椭圆 36">
                      <a:extLst>
                        <a:ext uri="{FF2B5EF4-FFF2-40B4-BE49-F238E27FC236}">
                          <a16:creationId xmlns:a16="http://schemas.microsoft.com/office/drawing/2014/main" id="{DFE2979D-E5E6-4C1A-A60A-27C0A16CE12C}"/>
                        </a:ext>
                      </a:extLst>
                    </p:cNvPr>
                    <p:cNvSpPr/>
                    <p:nvPr/>
                  </p:nvSpPr>
                  <p:spPr>
                    <a:xfrm>
                      <a:off x="5491600" y="2170306"/>
                      <a:ext cx="1675153" cy="1674905"/>
                    </a:xfrm>
                    <a:prstGeom prst="ellipse">
                      <a:avLst/>
                    </a:prstGeom>
                    <a:gradFill>
                      <a:gsLst>
                        <a:gs pos="100000">
                          <a:schemeClr val="bg1">
                            <a:lumMod val="97000"/>
                          </a:schemeClr>
                        </a:gs>
                        <a:gs pos="0">
                          <a:schemeClr val="bg1">
                            <a:lumMod val="6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38" name="椭圆 37">
                      <a:extLst>
                        <a:ext uri="{FF2B5EF4-FFF2-40B4-BE49-F238E27FC236}">
                          <a16:creationId xmlns:a16="http://schemas.microsoft.com/office/drawing/2014/main" id="{72DAB4D6-5590-4CDD-9C6F-299234F738D6}"/>
                        </a:ext>
                      </a:extLst>
                    </p:cNvPr>
                    <p:cNvSpPr/>
                    <p:nvPr/>
                  </p:nvSpPr>
                  <p:spPr>
                    <a:xfrm>
                      <a:off x="5614919" y="2291229"/>
                      <a:ext cx="1428518" cy="1456709"/>
                    </a:xfrm>
                    <a:prstGeom prst="ellipse">
                      <a:avLst/>
                    </a:prstGeom>
                    <a:solidFill>
                      <a:schemeClr val="bg1">
                        <a:lumMod val="75000"/>
                      </a:schemeClr>
                    </a:solidFill>
                    <a:ln w="19050">
                      <a:gradFill flip="none" rotWithShape="1">
                        <a:gsLst>
                          <a:gs pos="0">
                            <a:schemeClr val="bg1">
                              <a:lumMod val="60000"/>
                            </a:schemeClr>
                          </a:gs>
                          <a:gs pos="100000">
                            <a:schemeClr val="bg1"/>
                          </a:gs>
                        </a:gsLst>
                        <a:lin ang="2700000" scaled="1"/>
                        <a:tileRect/>
                      </a:gradFill>
                    </a:ln>
                    <a:effectLst>
                      <a:innerShdw blurRad="1270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325"/>
                        </a:lnSpc>
                      </a:pPr>
                      <a:endParaRPr lang="en-US" altLang="zh-CN" sz="1000">
                        <a:solidFill>
                          <a:srgbClr val="FFFFFF"/>
                        </a:solidFill>
                        <a:latin typeface="微软雅黑" panose="020B0503020204020204" pitchFamily="34" charset="-122"/>
                      </a:endParaRPr>
                    </a:p>
                  </p:txBody>
                </p:sp>
              </p:grpSp>
              <p:sp>
                <p:nvSpPr>
                  <p:cNvPr id="35" name="矩形 34">
                    <a:extLst>
                      <a:ext uri="{FF2B5EF4-FFF2-40B4-BE49-F238E27FC236}">
                        <a16:creationId xmlns:a16="http://schemas.microsoft.com/office/drawing/2014/main" id="{A7F6B84E-B7DD-4890-B4EE-66DD5BF621DA}"/>
                      </a:ext>
                    </a:extLst>
                  </p:cNvPr>
                  <p:cNvSpPr/>
                  <p:nvPr/>
                </p:nvSpPr>
                <p:spPr>
                  <a:xfrm>
                    <a:off x="825573" y="1371937"/>
                    <a:ext cx="778037" cy="368423"/>
                  </a:xfrm>
                  <a:prstGeom prst="rect">
                    <a:avLst/>
                  </a:prstGeom>
                </p:spPr>
                <p:txBody>
                  <a:bodyPr wrap="square">
                    <a:spAutoFit/>
                  </a:bodyPr>
                  <a:lstStyle/>
                  <a:p>
                    <a:pPr algn="ctr" eaLnBrk="1" latinLnBrk="0" hangingPunct="1">
                      <a:lnSpc>
                        <a:spcPct val="100000"/>
                      </a:lnSpc>
                      <a:defRPr/>
                    </a:pPr>
                    <a:r>
                      <a:rPr lang="en-US" altLang="zh-CN" sz="1900" b="1" kern="0" dirty="0">
                        <a:solidFill>
                          <a:sysClr val="window" lastClr="FFFFFF"/>
                        </a:solidFill>
                        <a:latin typeface="宋体" panose="02010600030101010101" pitchFamily="2" charset="-122"/>
                        <a:ea typeface="宋体" panose="02010600030101010101" pitchFamily="2" charset="-122"/>
                        <a:cs typeface="Gotham Light"/>
                      </a:rPr>
                      <a:t>SCADA</a:t>
                    </a:r>
                    <a:r>
                      <a:rPr lang="zh-CN" altLang="en-US" sz="1900" b="1" kern="0" dirty="0">
                        <a:solidFill>
                          <a:sysClr val="window" lastClr="FFFFFF"/>
                        </a:solidFill>
                        <a:latin typeface="宋体" panose="02010600030101010101" pitchFamily="2" charset="-122"/>
                        <a:cs typeface="Gotham Light"/>
                      </a:rPr>
                      <a:t>系统</a:t>
                    </a:r>
                    <a:endParaRPr lang="en-US" altLang="zh-CN" sz="1900" b="1" kern="0" dirty="0">
                      <a:solidFill>
                        <a:sysClr val="window" lastClr="FFFFFF"/>
                      </a:solidFill>
                      <a:latin typeface="宋体" panose="02010600030101010101" pitchFamily="2" charset="-122"/>
                      <a:cs typeface="Gotham Light"/>
                    </a:endParaRPr>
                  </a:p>
                  <a:p>
                    <a:pPr algn="ctr" eaLnBrk="1" latinLnBrk="0" hangingPunct="1">
                      <a:lnSpc>
                        <a:spcPct val="100000"/>
                      </a:lnSpc>
                      <a:defRPr/>
                    </a:pPr>
                    <a:r>
                      <a:rPr lang="zh-CN" altLang="en-US" sz="1900" b="1" kern="0" dirty="0">
                        <a:solidFill>
                          <a:sysClr val="window" lastClr="FFFFFF"/>
                        </a:solidFill>
                        <a:latin typeface="宋体" panose="02010600030101010101" pitchFamily="2" charset="-122"/>
                        <a:ea typeface="宋体" panose="02010600030101010101" pitchFamily="2" charset="-122"/>
                        <a:cs typeface="Gotham Light"/>
                      </a:rPr>
                      <a:t>（</a:t>
                    </a:r>
                    <a:r>
                      <a:rPr lang="en-US" altLang="zh-CN" sz="1900" b="1" kern="0" dirty="0">
                        <a:solidFill>
                          <a:sysClr val="window" lastClr="FFFFFF"/>
                        </a:solidFill>
                        <a:latin typeface="宋体" panose="02010600030101010101" pitchFamily="2" charset="-122"/>
                        <a:ea typeface="宋体" panose="02010600030101010101" pitchFamily="2" charset="-122"/>
                        <a:cs typeface="Gotham Light"/>
                      </a:rPr>
                      <a:t>HMI</a:t>
                    </a:r>
                    <a:r>
                      <a:rPr lang="zh-CN" altLang="en-US" sz="1900" b="1" kern="0" dirty="0">
                        <a:solidFill>
                          <a:sysClr val="window" lastClr="FFFFFF"/>
                        </a:solidFill>
                        <a:latin typeface="宋体" panose="02010600030101010101" pitchFamily="2" charset="-122"/>
                        <a:ea typeface="宋体" panose="02010600030101010101" pitchFamily="2" charset="-122"/>
                        <a:cs typeface="Gotham Light"/>
                      </a:rPr>
                      <a:t>）</a:t>
                    </a:r>
                  </a:p>
                </p:txBody>
              </p:sp>
            </p:grpSp>
          </p:grpSp>
          <p:grpSp>
            <p:nvGrpSpPr>
              <p:cNvPr id="16" name="组合 15">
                <a:extLst>
                  <a:ext uri="{FF2B5EF4-FFF2-40B4-BE49-F238E27FC236}">
                    <a16:creationId xmlns:a16="http://schemas.microsoft.com/office/drawing/2014/main" id="{713CE275-687E-4F1A-AE8D-4E9F0CD0EF4C}"/>
                  </a:ext>
                </a:extLst>
              </p:cNvPr>
              <p:cNvGrpSpPr/>
              <p:nvPr/>
            </p:nvGrpSpPr>
            <p:grpSpPr>
              <a:xfrm>
                <a:off x="12160" y="6569"/>
                <a:ext cx="1935" cy="2755"/>
                <a:chOff x="1228" y="3426"/>
                <a:chExt cx="1935" cy="2755"/>
              </a:xfrm>
            </p:grpSpPr>
            <p:cxnSp>
              <p:nvCxnSpPr>
                <p:cNvPr id="25" name="Straight Connector 23">
                  <a:extLst>
                    <a:ext uri="{FF2B5EF4-FFF2-40B4-BE49-F238E27FC236}">
                      <a16:creationId xmlns:a16="http://schemas.microsoft.com/office/drawing/2014/main" id="{E5C1C05D-0A4F-4602-8FC2-8D68E818D934}"/>
                    </a:ext>
                  </a:extLst>
                </p:cNvPr>
                <p:cNvCxnSpPr>
                  <a:cxnSpLocks noChangeShapeType="1"/>
                  <a:stCxn id="11" idx="2"/>
                </p:cNvCxnSpPr>
                <p:nvPr/>
              </p:nvCxnSpPr>
              <p:spPr bwMode="auto">
                <a:xfrm>
                  <a:off x="2250" y="3426"/>
                  <a:ext cx="2" cy="1491"/>
                </a:xfrm>
                <a:prstGeom prst="line">
                  <a:avLst/>
                </a:prstGeom>
                <a:noFill/>
                <a:ln w="3175" algn="ctr">
                  <a:solidFill>
                    <a:srgbClr val="000000"/>
                  </a:solidFill>
                  <a:round/>
                </a:ln>
              </p:spPr>
            </p:cxnSp>
            <p:grpSp>
              <p:nvGrpSpPr>
                <p:cNvPr id="26" name="组合 25">
                  <a:extLst>
                    <a:ext uri="{FF2B5EF4-FFF2-40B4-BE49-F238E27FC236}">
                      <a16:creationId xmlns:a16="http://schemas.microsoft.com/office/drawing/2014/main" id="{08B980B9-2889-4856-AE21-7CA4E5F84C00}"/>
                    </a:ext>
                  </a:extLst>
                </p:cNvPr>
                <p:cNvGrpSpPr/>
                <p:nvPr/>
              </p:nvGrpSpPr>
              <p:grpSpPr bwMode="auto">
                <a:xfrm>
                  <a:off x="1228" y="4421"/>
                  <a:ext cx="1935" cy="1760"/>
                  <a:chOff x="573686" y="1320738"/>
                  <a:chExt cx="785247" cy="728416"/>
                </a:xfrm>
              </p:grpSpPr>
              <p:grpSp>
                <p:nvGrpSpPr>
                  <p:cNvPr id="27" name="组合 17">
                    <a:extLst>
                      <a:ext uri="{FF2B5EF4-FFF2-40B4-BE49-F238E27FC236}">
                        <a16:creationId xmlns:a16="http://schemas.microsoft.com/office/drawing/2014/main" id="{2B49A37C-7E31-47CE-86D8-E73B58A383B9}"/>
                      </a:ext>
                    </a:extLst>
                  </p:cNvPr>
                  <p:cNvGrpSpPr/>
                  <p:nvPr/>
                </p:nvGrpSpPr>
                <p:grpSpPr bwMode="auto">
                  <a:xfrm>
                    <a:off x="573686" y="1320738"/>
                    <a:ext cx="728521" cy="728416"/>
                    <a:chOff x="4879719" y="2547600"/>
                    <a:chExt cx="1675153" cy="1674905"/>
                  </a:xfrm>
                </p:grpSpPr>
                <p:sp>
                  <p:nvSpPr>
                    <p:cNvPr id="30" name="椭圆 29">
                      <a:extLst>
                        <a:ext uri="{FF2B5EF4-FFF2-40B4-BE49-F238E27FC236}">
                          <a16:creationId xmlns:a16="http://schemas.microsoft.com/office/drawing/2014/main" id="{55C7B151-29F4-49EE-B36C-EE5114B598F6}"/>
                        </a:ext>
                      </a:extLst>
                    </p:cNvPr>
                    <p:cNvSpPr/>
                    <p:nvPr/>
                  </p:nvSpPr>
                  <p:spPr>
                    <a:xfrm>
                      <a:off x="4879719" y="2547600"/>
                      <a:ext cx="1675153" cy="1674905"/>
                    </a:xfrm>
                    <a:prstGeom prst="ellipse">
                      <a:avLst/>
                    </a:prstGeom>
                    <a:gradFill>
                      <a:gsLst>
                        <a:gs pos="100000">
                          <a:schemeClr val="bg1">
                            <a:lumMod val="97000"/>
                          </a:schemeClr>
                        </a:gs>
                        <a:gs pos="0">
                          <a:schemeClr val="bg1">
                            <a:lumMod val="6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prstClr val="white"/>
                        </a:solidFill>
                      </a:endParaRPr>
                    </a:p>
                  </p:txBody>
                </p:sp>
                <p:sp>
                  <p:nvSpPr>
                    <p:cNvPr id="31" name="椭圆 30">
                      <a:extLst>
                        <a:ext uri="{FF2B5EF4-FFF2-40B4-BE49-F238E27FC236}">
                          <a16:creationId xmlns:a16="http://schemas.microsoft.com/office/drawing/2014/main" id="{EFA2870A-B759-4D0A-A858-010E37E7C404}"/>
                        </a:ext>
                      </a:extLst>
                    </p:cNvPr>
                    <p:cNvSpPr/>
                    <p:nvPr/>
                  </p:nvSpPr>
                  <p:spPr>
                    <a:xfrm>
                      <a:off x="5009804" y="2636725"/>
                      <a:ext cx="1428518" cy="1456709"/>
                    </a:xfrm>
                    <a:prstGeom prst="ellipse">
                      <a:avLst/>
                    </a:prstGeom>
                    <a:solidFill>
                      <a:schemeClr val="bg1">
                        <a:lumMod val="75000"/>
                      </a:schemeClr>
                    </a:solidFill>
                    <a:ln w="19050">
                      <a:gradFill flip="none" rotWithShape="1">
                        <a:gsLst>
                          <a:gs pos="0">
                            <a:schemeClr val="bg1">
                              <a:lumMod val="60000"/>
                            </a:schemeClr>
                          </a:gs>
                          <a:gs pos="100000">
                            <a:schemeClr val="bg1"/>
                          </a:gs>
                        </a:gsLst>
                        <a:lin ang="2700000" scaled="1"/>
                        <a:tileRect/>
                      </a:gradFill>
                    </a:ln>
                    <a:effectLst>
                      <a:innerShdw blurRad="1270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325"/>
                        </a:lnSpc>
                      </a:pPr>
                      <a:endParaRPr lang="en-US" altLang="zh-CN" sz="1000">
                        <a:solidFill>
                          <a:srgbClr val="FFFFFF"/>
                        </a:solidFill>
                        <a:latin typeface="微软雅黑" panose="020B0503020204020204" pitchFamily="34" charset="-122"/>
                      </a:endParaRPr>
                    </a:p>
                  </p:txBody>
                </p:sp>
              </p:grpSp>
              <p:sp>
                <p:nvSpPr>
                  <p:cNvPr id="28" name="矩形 27">
                    <a:extLst>
                      <a:ext uri="{FF2B5EF4-FFF2-40B4-BE49-F238E27FC236}">
                        <a16:creationId xmlns:a16="http://schemas.microsoft.com/office/drawing/2014/main" id="{4F61DEF5-9A7F-4061-9966-0D85956B3810}"/>
                      </a:ext>
                    </a:extLst>
                  </p:cNvPr>
                  <p:cNvSpPr/>
                  <p:nvPr/>
                </p:nvSpPr>
                <p:spPr>
                  <a:xfrm>
                    <a:off x="580896" y="1540284"/>
                    <a:ext cx="778037" cy="209327"/>
                  </a:xfrm>
                  <a:prstGeom prst="rect">
                    <a:avLst/>
                  </a:prstGeom>
                </p:spPr>
                <p:txBody>
                  <a:bodyPr wrap="square">
                    <a:spAutoFit/>
                  </a:bodyPr>
                  <a:lstStyle/>
                  <a:p>
                    <a:pPr algn="ctr" eaLnBrk="1" latinLnBrk="0" hangingPunct="1">
                      <a:lnSpc>
                        <a:spcPct val="100000"/>
                      </a:lnSpc>
                      <a:defRPr/>
                    </a:pPr>
                    <a:r>
                      <a:rPr lang="zh-CN" altLang="en-US" sz="1900" b="1" kern="0" dirty="0">
                        <a:solidFill>
                          <a:sysClr val="window" lastClr="FFFFFF"/>
                        </a:solidFill>
                        <a:latin typeface="宋体" panose="02010600030101010101" pitchFamily="2" charset="-122"/>
                        <a:ea typeface="宋体" panose="02010600030101010101" pitchFamily="2" charset="-122"/>
                        <a:cs typeface="Gotham Light"/>
                      </a:rPr>
                      <a:t>执行机构</a:t>
                    </a:r>
                  </a:p>
                </p:txBody>
              </p:sp>
            </p:grpSp>
          </p:grpSp>
          <p:grpSp>
            <p:nvGrpSpPr>
              <p:cNvPr id="17" name="组合 16">
                <a:extLst>
                  <a:ext uri="{FF2B5EF4-FFF2-40B4-BE49-F238E27FC236}">
                    <a16:creationId xmlns:a16="http://schemas.microsoft.com/office/drawing/2014/main" id="{2B5431D8-6A6B-493D-B7B4-4B44AC7C4CFF}"/>
                  </a:ext>
                </a:extLst>
              </p:cNvPr>
              <p:cNvGrpSpPr/>
              <p:nvPr/>
            </p:nvGrpSpPr>
            <p:grpSpPr>
              <a:xfrm>
                <a:off x="14128" y="6408"/>
                <a:ext cx="3256" cy="1976"/>
                <a:chOff x="392" y="4397"/>
                <a:chExt cx="3256" cy="1976"/>
              </a:xfrm>
            </p:grpSpPr>
            <p:cxnSp>
              <p:nvCxnSpPr>
                <p:cNvPr id="18" name="Straight Connector 23">
                  <a:extLst>
                    <a:ext uri="{FF2B5EF4-FFF2-40B4-BE49-F238E27FC236}">
                      <a16:creationId xmlns:a16="http://schemas.microsoft.com/office/drawing/2014/main" id="{C49F2B5E-54A6-4265-A80F-A66131A20138}"/>
                    </a:ext>
                  </a:extLst>
                </p:cNvPr>
                <p:cNvCxnSpPr>
                  <a:cxnSpLocks noChangeShapeType="1"/>
                </p:cNvCxnSpPr>
                <p:nvPr/>
              </p:nvCxnSpPr>
              <p:spPr bwMode="auto">
                <a:xfrm>
                  <a:off x="392" y="4397"/>
                  <a:ext cx="1695" cy="895"/>
                </a:xfrm>
                <a:prstGeom prst="line">
                  <a:avLst/>
                </a:prstGeom>
                <a:noFill/>
                <a:ln w="3175" algn="ctr">
                  <a:solidFill>
                    <a:srgbClr val="000000"/>
                  </a:solidFill>
                  <a:round/>
                </a:ln>
              </p:spPr>
            </p:cxnSp>
            <p:grpSp>
              <p:nvGrpSpPr>
                <p:cNvPr id="19" name="组合 18">
                  <a:extLst>
                    <a:ext uri="{FF2B5EF4-FFF2-40B4-BE49-F238E27FC236}">
                      <a16:creationId xmlns:a16="http://schemas.microsoft.com/office/drawing/2014/main" id="{4680A764-5D34-47DD-8703-E6627BF04EC5}"/>
                    </a:ext>
                  </a:extLst>
                </p:cNvPr>
                <p:cNvGrpSpPr/>
                <p:nvPr/>
              </p:nvGrpSpPr>
              <p:grpSpPr bwMode="auto">
                <a:xfrm>
                  <a:off x="1731" y="4613"/>
                  <a:ext cx="1917" cy="1760"/>
                  <a:chOff x="777985" y="1400054"/>
                  <a:chExt cx="778037" cy="728416"/>
                </a:xfrm>
              </p:grpSpPr>
              <p:grpSp>
                <p:nvGrpSpPr>
                  <p:cNvPr id="20" name="组合 17">
                    <a:extLst>
                      <a:ext uri="{FF2B5EF4-FFF2-40B4-BE49-F238E27FC236}">
                        <a16:creationId xmlns:a16="http://schemas.microsoft.com/office/drawing/2014/main" id="{5FBCF99D-6E2D-4E64-80FF-2FF6D66CF7CF}"/>
                      </a:ext>
                    </a:extLst>
                  </p:cNvPr>
                  <p:cNvGrpSpPr/>
                  <p:nvPr/>
                </p:nvGrpSpPr>
                <p:grpSpPr bwMode="auto">
                  <a:xfrm>
                    <a:off x="784650" y="1400054"/>
                    <a:ext cx="728521" cy="728416"/>
                    <a:chOff x="5364806" y="2729977"/>
                    <a:chExt cx="1675153" cy="1674905"/>
                  </a:xfrm>
                </p:grpSpPr>
                <p:sp>
                  <p:nvSpPr>
                    <p:cNvPr id="23" name="椭圆 22">
                      <a:extLst>
                        <a:ext uri="{FF2B5EF4-FFF2-40B4-BE49-F238E27FC236}">
                          <a16:creationId xmlns:a16="http://schemas.microsoft.com/office/drawing/2014/main" id="{079C164F-1BD6-4541-B7FF-03064B734B6E}"/>
                        </a:ext>
                      </a:extLst>
                    </p:cNvPr>
                    <p:cNvSpPr/>
                    <p:nvPr/>
                  </p:nvSpPr>
                  <p:spPr>
                    <a:xfrm>
                      <a:off x="5364806" y="2729977"/>
                      <a:ext cx="1675153" cy="1674905"/>
                    </a:xfrm>
                    <a:prstGeom prst="ellipse">
                      <a:avLst/>
                    </a:prstGeom>
                    <a:gradFill>
                      <a:gsLst>
                        <a:gs pos="100000">
                          <a:schemeClr val="bg1">
                            <a:lumMod val="97000"/>
                          </a:schemeClr>
                        </a:gs>
                        <a:gs pos="0">
                          <a:schemeClr val="bg1">
                            <a:lumMod val="65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24" name="椭圆 23">
                      <a:extLst>
                        <a:ext uri="{FF2B5EF4-FFF2-40B4-BE49-F238E27FC236}">
                          <a16:creationId xmlns:a16="http://schemas.microsoft.com/office/drawing/2014/main" id="{91A93FAA-0ABC-49A0-81B6-5A2AAC4E17DF}"/>
                        </a:ext>
                      </a:extLst>
                    </p:cNvPr>
                    <p:cNvSpPr/>
                    <p:nvPr/>
                  </p:nvSpPr>
                  <p:spPr>
                    <a:xfrm>
                      <a:off x="5488719" y="2862157"/>
                      <a:ext cx="1428518" cy="1456710"/>
                    </a:xfrm>
                    <a:prstGeom prst="ellipse">
                      <a:avLst/>
                    </a:prstGeom>
                    <a:solidFill>
                      <a:schemeClr val="bg1">
                        <a:lumMod val="75000"/>
                      </a:schemeClr>
                    </a:solidFill>
                    <a:ln w="19050">
                      <a:gradFill flip="none" rotWithShape="1">
                        <a:gsLst>
                          <a:gs pos="0">
                            <a:schemeClr val="bg1">
                              <a:lumMod val="60000"/>
                            </a:schemeClr>
                          </a:gs>
                          <a:gs pos="100000">
                            <a:schemeClr val="bg1"/>
                          </a:gs>
                        </a:gsLst>
                        <a:lin ang="2700000" scaled="1"/>
                        <a:tileRect/>
                      </a:gradFill>
                    </a:ln>
                    <a:effectLst>
                      <a:innerShdw blurRad="127000" dist="635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325"/>
                        </a:lnSpc>
                      </a:pPr>
                      <a:endParaRPr lang="en-US" altLang="zh-CN" sz="1000">
                        <a:solidFill>
                          <a:srgbClr val="FFFFFF"/>
                        </a:solidFill>
                        <a:latin typeface="微软雅黑" panose="020B0503020204020204" pitchFamily="34" charset="-122"/>
                      </a:endParaRPr>
                    </a:p>
                  </p:txBody>
                </p:sp>
              </p:grpSp>
              <p:sp>
                <p:nvSpPr>
                  <p:cNvPr id="21" name="矩形 20">
                    <a:extLst>
                      <a:ext uri="{FF2B5EF4-FFF2-40B4-BE49-F238E27FC236}">
                        <a16:creationId xmlns:a16="http://schemas.microsoft.com/office/drawing/2014/main" id="{96DB0335-506C-49C2-BE5B-8809A77496CB}"/>
                      </a:ext>
                    </a:extLst>
                  </p:cNvPr>
                  <p:cNvSpPr/>
                  <p:nvPr/>
                </p:nvSpPr>
                <p:spPr>
                  <a:xfrm>
                    <a:off x="777985" y="1614069"/>
                    <a:ext cx="778037" cy="209331"/>
                  </a:xfrm>
                  <a:prstGeom prst="rect">
                    <a:avLst/>
                  </a:prstGeom>
                </p:spPr>
                <p:txBody>
                  <a:bodyPr wrap="square">
                    <a:spAutoFit/>
                  </a:bodyPr>
                  <a:lstStyle/>
                  <a:p>
                    <a:pPr algn="ctr" eaLnBrk="1" latinLnBrk="0" hangingPunct="1">
                      <a:lnSpc>
                        <a:spcPct val="100000"/>
                      </a:lnSpc>
                      <a:defRPr/>
                    </a:pPr>
                    <a:r>
                      <a:rPr lang="zh-CN" altLang="en-US" sz="1900" b="1" kern="0" dirty="0">
                        <a:solidFill>
                          <a:sysClr val="window" lastClr="FFFFFF"/>
                        </a:solidFill>
                        <a:latin typeface="宋体" panose="02010600030101010101" pitchFamily="2" charset="-122"/>
                        <a:ea typeface="宋体" panose="02010600030101010101" pitchFamily="2" charset="-122"/>
                        <a:cs typeface="Gotham Light"/>
                      </a:rPr>
                      <a:t>机械结构</a:t>
                    </a:r>
                  </a:p>
                </p:txBody>
              </p:sp>
            </p:grpSp>
          </p:grpSp>
        </p:grpSp>
        <p:sp>
          <p:nvSpPr>
            <p:cNvPr id="11" name="圆角矩形 98">
              <a:extLst>
                <a:ext uri="{FF2B5EF4-FFF2-40B4-BE49-F238E27FC236}">
                  <a16:creationId xmlns:a16="http://schemas.microsoft.com/office/drawing/2014/main" id="{F2085B56-1B2E-43AF-A25F-CC066AD0023C}"/>
                </a:ext>
              </a:extLst>
            </p:cNvPr>
            <p:cNvSpPr/>
            <p:nvPr/>
          </p:nvSpPr>
          <p:spPr>
            <a:xfrm>
              <a:off x="12211" y="4947"/>
              <a:ext cx="1942" cy="1622"/>
            </a:xfrm>
            <a:prstGeom prst="roundRect">
              <a:avLst/>
            </a:prstGeom>
            <a:noFill/>
            <a:ln w="38100">
              <a:noFill/>
              <a:prstDash val="sysDot"/>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solidFill>
                  <a:schemeClr val="tx1"/>
                </a:solidFill>
              </a:endParaRPr>
            </a:p>
          </p:txBody>
        </p:sp>
      </p:grpSp>
      <p:pic>
        <p:nvPicPr>
          <p:cNvPr id="60" name="图片 3">
            <a:extLst>
              <a:ext uri="{FF2B5EF4-FFF2-40B4-BE49-F238E27FC236}">
                <a16:creationId xmlns:a16="http://schemas.microsoft.com/office/drawing/2014/main" id="{EC71A6F7-F60D-4B5A-BB37-CB446D7CB70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39396" y="1609544"/>
            <a:ext cx="1230971" cy="766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图片 63">
            <a:extLst>
              <a:ext uri="{FF2B5EF4-FFF2-40B4-BE49-F238E27FC236}">
                <a16:creationId xmlns:a16="http://schemas.microsoft.com/office/drawing/2014/main" id="{CF493AF3-96B9-4021-A32A-0A7594D5704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279" t="7647" r="10181" b="8170"/>
          <a:stretch/>
        </p:blipFill>
        <p:spPr>
          <a:xfrm>
            <a:off x="4956323" y="4573524"/>
            <a:ext cx="1058821" cy="1044148"/>
          </a:xfrm>
          <a:prstGeom prst="rect">
            <a:avLst/>
          </a:prstGeom>
        </p:spPr>
      </p:pic>
      <p:pic>
        <p:nvPicPr>
          <p:cNvPr id="66" name="图片 65">
            <a:extLst>
              <a:ext uri="{FF2B5EF4-FFF2-40B4-BE49-F238E27FC236}">
                <a16:creationId xmlns:a16="http://schemas.microsoft.com/office/drawing/2014/main" id="{0AFCB268-53A8-48DE-A080-A6DE603945CD}"/>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1313" r="10044"/>
          <a:stretch/>
        </p:blipFill>
        <p:spPr>
          <a:xfrm>
            <a:off x="7206726" y="4375013"/>
            <a:ext cx="837673" cy="959607"/>
          </a:xfrm>
          <a:prstGeom prst="rect">
            <a:avLst/>
          </a:prstGeom>
        </p:spPr>
      </p:pic>
      <p:sp>
        <p:nvSpPr>
          <p:cNvPr id="67" name="object 5">
            <a:extLst>
              <a:ext uri="{FF2B5EF4-FFF2-40B4-BE49-F238E27FC236}">
                <a16:creationId xmlns:a16="http://schemas.microsoft.com/office/drawing/2014/main" id="{6773F2B0-B70E-46C7-B43B-280F5986FCAB}"/>
              </a:ext>
            </a:extLst>
          </p:cNvPr>
          <p:cNvSpPr/>
          <p:nvPr/>
        </p:nvSpPr>
        <p:spPr>
          <a:xfrm>
            <a:off x="4255865" y="2887249"/>
            <a:ext cx="1380663" cy="1098286"/>
          </a:xfrm>
          <a:prstGeom prst="rect">
            <a:avLst/>
          </a:prstGeom>
          <a:blipFill>
            <a:blip r:embed="rId6" cstate="print"/>
            <a:stretch>
              <a:fillRect t="-9206" b="-5692"/>
            </a:stretch>
          </a:blipFill>
        </p:spPr>
        <p:txBody>
          <a:bodyPr wrap="square" lIns="0" tIns="0" rIns="0" bIns="0" rtlCol="0">
            <a:noAutofit/>
          </a:bodyPr>
          <a:lstStyle/>
          <a:p>
            <a:endParaRPr/>
          </a:p>
        </p:txBody>
      </p:sp>
      <p:pic>
        <p:nvPicPr>
          <p:cNvPr id="69" name="图片 68">
            <a:extLst>
              <a:ext uri="{FF2B5EF4-FFF2-40B4-BE49-F238E27FC236}">
                <a16:creationId xmlns:a16="http://schemas.microsoft.com/office/drawing/2014/main" id="{4C9281BE-BC10-4D8E-A587-ACEE1CF4BA99}"/>
              </a:ext>
            </a:extLst>
          </p:cNvPr>
          <p:cNvPicPr>
            <a:picLocks noChangeAspect="1"/>
          </p:cNvPicPr>
          <p:nvPr/>
        </p:nvPicPr>
        <p:blipFill rotWithShape="1">
          <a:blip r:embed="rId7">
            <a:extLst>
              <a:ext uri="{28A0092B-C50C-407E-A947-70E740481C1C}">
                <a14:useLocalDpi xmlns:a14="http://schemas.microsoft.com/office/drawing/2010/main" val="0"/>
              </a:ext>
            </a:extLst>
          </a:blip>
          <a:srcRect l="31244" t="4430" r="4959" b="23753"/>
          <a:stretch/>
        </p:blipFill>
        <p:spPr>
          <a:xfrm>
            <a:off x="8497417" y="4590879"/>
            <a:ext cx="1102132" cy="931557"/>
          </a:xfrm>
          <a:prstGeom prst="rect">
            <a:avLst/>
          </a:prstGeom>
        </p:spPr>
      </p:pic>
      <p:sp>
        <p:nvSpPr>
          <p:cNvPr id="72" name="矩形 71">
            <a:extLst>
              <a:ext uri="{FF2B5EF4-FFF2-40B4-BE49-F238E27FC236}">
                <a16:creationId xmlns:a16="http://schemas.microsoft.com/office/drawing/2014/main" id="{02FC74D8-2E18-4B13-9660-3144A10A0A43}"/>
              </a:ext>
            </a:extLst>
          </p:cNvPr>
          <p:cNvSpPr/>
          <p:nvPr/>
        </p:nvSpPr>
        <p:spPr>
          <a:xfrm>
            <a:off x="499135" y="1989373"/>
            <a:ext cx="2134518" cy="2308324"/>
          </a:xfrm>
          <a:prstGeom prst="rect">
            <a:avLst/>
          </a:prstGeom>
          <a:ln>
            <a:solidFill>
              <a:schemeClr val="accent1">
                <a:shade val="50000"/>
              </a:schemeClr>
            </a:solidFill>
          </a:ln>
        </p:spPr>
        <p:txBody>
          <a:bodyPr wrap="square">
            <a:spAutoFit/>
          </a:bodyPr>
          <a:lstStyle/>
          <a:p>
            <a:pPr marL="285750" indent="-285750">
              <a:buFont typeface="Wingdings" panose="05000000000000000000" pitchFamily="2" charset="2"/>
              <a:buChar char="Ø"/>
            </a:pPr>
            <a:r>
              <a:rPr lang="zh-CN" altLang="en-US" b="1" dirty="0"/>
              <a:t>机械功能多元化</a:t>
            </a:r>
            <a:endParaRPr lang="en-US" altLang="zh-CN" b="1" dirty="0"/>
          </a:p>
          <a:p>
            <a:pPr marL="285750" indent="-285750">
              <a:buFont typeface="Wingdings" panose="05000000000000000000" pitchFamily="2" charset="2"/>
              <a:buChar char="Ø"/>
            </a:pPr>
            <a:r>
              <a:rPr lang="zh-CN" altLang="en-US" b="1" dirty="0"/>
              <a:t>结构设计模块化</a:t>
            </a:r>
            <a:endParaRPr lang="en-US" altLang="zh-CN" b="1" dirty="0"/>
          </a:p>
          <a:p>
            <a:pPr marL="285750" indent="-285750">
              <a:buFont typeface="Wingdings" panose="05000000000000000000" pitchFamily="2" charset="2"/>
              <a:buChar char="Ø"/>
            </a:pPr>
            <a:r>
              <a:rPr lang="zh-CN" altLang="en-US" b="1" dirty="0"/>
              <a:t>检测在线化</a:t>
            </a:r>
            <a:endParaRPr lang="en-US" altLang="zh-CN" b="1" dirty="0"/>
          </a:p>
          <a:p>
            <a:pPr marL="285750" indent="-285750">
              <a:buFont typeface="Wingdings" panose="05000000000000000000" pitchFamily="2" charset="2"/>
              <a:buChar char="Ø"/>
            </a:pPr>
            <a:r>
              <a:rPr lang="zh-CN" altLang="en-US" b="1" dirty="0"/>
              <a:t>控制智能化</a:t>
            </a:r>
            <a:endParaRPr lang="en-US" altLang="zh-CN" b="1" dirty="0"/>
          </a:p>
          <a:p>
            <a:pPr marL="285750" indent="-285750">
              <a:buFont typeface="Wingdings" panose="05000000000000000000" pitchFamily="2" charset="2"/>
              <a:buChar char="Ø"/>
            </a:pPr>
            <a:r>
              <a:rPr lang="zh-CN" altLang="en-US" b="1" dirty="0"/>
              <a:t>操作软件化</a:t>
            </a:r>
            <a:endParaRPr lang="en-US" altLang="zh-CN" b="1" dirty="0"/>
          </a:p>
          <a:p>
            <a:pPr marL="285750" indent="-285750">
              <a:buFont typeface="Wingdings" panose="05000000000000000000" pitchFamily="2" charset="2"/>
              <a:buChar char="Ø"/>
            </a:pPr>
            <a:r>
              <a:rPr lang="zh-CN" altLang="en-US" b="1" dirty="0"/>
              <a:t>运动高精度化</a:t>
            </a:r>
            <a:endParaRPr lang="en-US" altLang="zh-CN" b="1" dirty="0"/>
          </a:p>
          <a:p>
            <a:pPr marL="285750" indent="-285750">
              <a:buFont typeface="Wingdings" panose="05000000000000000000" pitchFamily="2" charset="2"/>
              <a:buChar char="Ø"/>
            </a:pPr>
            <a:r>
              <a:rPr lang="zh-CN" altLang="en-US" b="1" dirty="0"/>
              <a:t>执行机构自动化</a:t>
            </a:r>
            <a:endParaRPr lang="en-US" altLang="zh-CN" b="1" dirty="0"/>
          </a:p>
          <a:p>
            <a:endParaRPr lang="en-US" altLang="zh-CN" dirty="0"/>
          </a:p>
        </p:txBody>
      </p:sp>
      <p:sp>
        <p:nvSpPr>
          <p:cNvPr id="73" name="箭头: 下 72">
            <a:extLst>
              <a:ext uri="{FF2B5EF4-FFF2-40B4-BE49-F238E27FC236}">
                <a16:creationId xmlns:a16="http://schemas.microsoft.com/office/drawing/2014/main" id="{A64E1E43-9C41-4786-9E60-C93241B28F89}"/>
              </a:ext>
            </a:extLst>
          </p:cNvPr>
          <p:cNvSpPr/>
          <p:nvPr/>
        </p:nvSpPr>
        <p:spPr>
          <a:xfrm>
            <a:off x="1269224" y="4298830"/>
            <a:ext cx="501229" cy="77134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矩形 74">
            <a:extLst>
              <a:ext uri="{FF2B5EF4-FFF2-40B4-BE49-F238E27FC236}">
                <a16:creationId xmlns:a16="http://schemas.microsoft.com/office/drawing/2014/main" id="{E1D7891B-7737-4BA5-B843-3234AA07CC74}"/>
              </a:ext>
            </a:extLst>
          </p:cNvPr>
          <p:cNvSpPr/>
          <p:nvPr/>
        </p:nvSpPr>
        <p:spPr>
          <a:xfrm>
            <a:off x="499135" y="5070174"/>
            <a:ext cx="2506773" cy="7713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矩形 75">
            <a:extLst>
              <a:ext uri="{FF2B5EF4-FFF2-40B4-BE49-F238E27FC236}">
                <a16:creationId xmlns:a16="http://schemas.microsoft.com/office/drawing/2014/main" id="{7EE9C63E-D4B4-4D7D-9073-DAF84B44F9A6}"/>
              </a:ext>
            </a:extLst>
          </p:cNvPr>
          <p:cNvSpPr/>
          <p:nvPr/>
        </p:nvSpPr>
        <p:spPr>
          <a:xfrm>
            <a:off x="522503" y="5132680"/>
            <a:ext cx="2509020" cy="646331"/>
          </a:xfrm>
          <a:prstGeom prst="rect">
            <a:avLst/>
          </a:prstGeom>
        </p:spPr>
        <p:txBody>
          <a:bodyPr wrap="none">
            <a:spAutoFit/>
          </a:bodyPr>
          <a:lstStyle/>
          <a:p>
            <a:r>
              <a:rPr lang="zh-CN" altLang="en-US" b="1" dirty="0"/>
              <a:t>多个工艺设备集成应用</a:t>
            </a:r>
            <a:endParaRPr lang="en-US" altLang="zh-CN" b="1" dirty="0"/>
          </a:p>
          <a:p>
            <a:r>
              <a:rPr lang="zh-CN" altLang="en-US" b="1" dirty="0"/>
              <a:t>构建自动化生产线</a:t>
            </a:r>
            <a:endParaRPr lang="en-US" altLang="zh-CN" b="1" dirty="0"/>
          </a:p>
        </p:txBody>
      </p:sp>
      <p:pic>
        <p:nvPicPr>
          <p:cNvPr id="77" name="图片 76">
            <a:extLst>
              <a:ext uri="{FF2B5EF4-FFF2-40B4-BE49-F238E27FC236}">
                <a16:creationId xmlns:a16="http://schemas.microsoft.com/office/drawing/2014/main" id="{E4DE35C4-FCC1-4C0F-83CE-D728FE100826}"/>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0816" t="25772" r="-1" b="10764"/>
          <a:stretch/>
        </p:blipFill>
        <p:spPr>
          <a:xfrm>
            <a:off x="8789484" y="2773595"/>
            <a:ext cx="1927881" cy="1296781"/>
          </a:xfrm>
          <a:prstGeom prst="rect">
            <a:avLst/>
          </a:prstGeom>
        </p:spPr>
      </p:pic>
      <p:sp>
        <p:nvSpPr>
          <p:cNvPr id="79" name="文本框 78">
            <a:extLst>
              <a:ext uri="{FF2B5EF4-FFF2-40B4-BE49-F238E27FC236}">
                <a16:creationId xmlns:a16="http://schemas.microsoft.com/office/drawing/2014/main" id="{CAB0E8EE-C9F4-4C15-9B0C-51B94C500E01}"/>
              </a:ext>
            </a:extLst>
          </p:cNvPr>
          <p:cNvSpPr txBox="1"/>
          <p:nvPr/>
        </p:nvSpPr>
        <p:spPr>
          <a:xfrm>
            <a:off x="301162" y="971190"/>
            <a:ext cx="4285547" cy="646331"/>
          </a:xfrm>
          <a:prstGeom prst="rect">
            <a:avLst/>
          </a:prstGeom>
          <a:noFill/>
        </p:spPr>
        <p:txBody>
          <a:bodyPr wrap="square" rtlCol="0">
            <a:spAutoFit/>
          </a:bodyPr>
          <a:lstStyle/>
          <a:p>
            <a:r>
              <a:rPr lang="zh-CN" altLang="en-US" b="1" dirty="0">
                <a:latin typeface="+mj-ea"/>
                <a:ea typeface="+mj-ea"/>
              </a:rPr>
              <a:t>注射剂、口服液体制剂、片剂、颗粒剂</a:t>
            </a:r>
            <a:r>
              <a:rPr lang="en-US" altLang="zh-CN" b="1" dirty="0">
                <a:latin typeface="+mj-ea"/>
                <a:ea typeface="+mj-ea"/>
              </a:rPr>
              <a:t>….</a:t>
            </a:r>
            <a:r>
              <a:rPr lang="zh-CN" altLang="en-US" b="1" dirty="0">
                <a:latin typeface="+mj-ea"/>
                <a:ea typeface="+mj-ea"/>
              </a:rPr>
              <a:t>单机自动化为主</a:t>
            </a:r>
          </a:p>
        </p:txBody>
      </p:sp>
    </p:spTree>
    <p:extLst>
      <p:ext uri="{BB962C8B-B14F-4D97-AF65-F5344CB8AC3E}">
        <p14:creationId xmlns:p14="http://schemas.microsoft.com/office/powerpoint/2010/main" val="176897685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4276875B-17BF-498E-97C3-B7508236A24F}"/>
              </a:ext>
            </a:extLst>
          </p:cNvPr>
          <p:cNvSpPr/>
          <p:nvPr/>
        </p:nvSpPr>
        <p:spPr>
          <a:xfrm>
            <a:off x="603325" y="204747"/>
            <a:ext cx="3595856" cy="452240"/>
          </a:xfrm>
          <a:prstGeom prst="rect">
            <a:avLst/>
          </a:prstGeom>
        </p:spPr>
        <p:txBody>
          <a:bodyPr wrap="none">
            <a:spAutoFit/>
          </a:bodyPr>
          <a:lstStyle/>
          <a:p>
            <a:pPr marL="177800">
              <a:lnSpc>
                <a:spcPts val="2600"/>
              </a:lnSpc>
              <a:defRPr/>
            </a:pPr>
            <a:r>
              <a:rPr lang="zh-CN" altLang="en-US" sz="3600" b="1" dirty="0">
                <a:solidFill>
                  <a:srgbClr val="0070C0"/>
                </a:solidFill>
                <a:latin typeface="+mj-ea"/>
                <a:ea typeface="+mj-ea"/>
              </a:rPr>
              <a:t>检测工艺自动化</a:t>
            </a:r>
          </a:p>
        </p:txBody>
      </p:sp>
      <p:pic>
        <p:nvPicPr>
          <p:cNvPr id="5" name="对象 9">
            <a:extLst>
              <a:ext uri="{FF2B5EF4-FFF2-40B4-BE49-F238E27FC236}">
                <a16:creationId xmlns:a16="http://schemas.microsoft.com/office/drawing/2014/main" id="{8069933B-187D-4A09-81DB-CB31BD9A328A}"/>
              </a:ext>
            </a:extLst>
          </p:cNvPr>
          <p:cNvPicPr>
            <a:picLocks noChangeArrowheads="1"/>
          </p:cNvPicPr>
          <p:nvPr/>
        </p:nvPicPr>
        <p:blipFill>
          <a:blip r:embed="rId2"/>
          <a:srcRect b="-378"/>
          <a:stretch>
            <a:fillRect/>
          </a:stretch>
        </p:blipFill>
        <p:spPr bwMode="auto">
          <a:xfrm>
            <a:off x="4199181" y="1016055"/>
            <a:ext cx="6831013" cy="1571625"/>
          </a:xfrm>
          <a:prstGeom prst="rect">
            <a:avLst/>
          </a:prstGeom>
          <a:noFill/>
          <a:ln w="9525">
            <a:noFill/>
            <a:miter lim="800000"/>
            <a:headEnd/>
            <a:tailEnd/>
          </a:ln>
        </p:spPr>
      </p:pic>
      <p:pic>
        <p:nvPicPr>
          <p:cNvPr id="6" name="图片 236">
            <a:extLst>
              <a:ext uri="{FF2B5EF4-FFF2-40B4-BE49-F238E27FC236}">
                <a16:creationId xmlns:a16="http://schemas.microsoft.com/office/drawing/2014/main" id="{62BFC755-27F7-49D1-A1FF-5A43733AB8F1}"/>
              </a:ext>
            </a:extLst>
          </p:cNvPr>
          <p:cNvPicPr>
            <a:picLocks noChangeAspect="1" noChangeArrowheads="1"/>
          </p:cNvPicPr>
          <p:nvPr/>
        </p:nvPicPr>
        <p:blipFill>
          <a:blip r:embed="rId3"/>
          <a:srcRect l="14723" t="2585" r="7631"/>
          <a:stretch>
            <a:fillRect/>
          </a:stretch>
        </p:blipFill>
        <p:spPr bwMode="auto">
          <a:xfrm>
            <a:off x="4189656" y="2925818"/>
            <a:ext cx="2293938" cy="2130425"/>
          </a:xfrm>
          <a:prstGeom prst="rect">
            <a:avLst/>
          </a:prstGeom>
          <a:noFill/>
          <a:ln w="9525">
            <a:noFill/>
            <a:miter lim="800000"/>
            <a:headEnd/>
            <a:tailEnd/>
          </a:ln>
        </p:spPr>
      </p:pic>
      <p:pic>
        <p:nvPicPr>
          <p:cNvPr id="7" name="图片 30">
            <a:extLst>
              <a:ext uri="{FF2B5EF4-FFF2-40B4-BE49-F238E27FC236}">
                <a16:creationId xmlns:a16="http://schemas.microsoft.com/office/drawing/2014/main" id="{0EDE7B10-ACE0-4AAB-A1D9-AA7FDF370119}"/>
              </a:ext>
            </a:extLst>
          </p:cNvPr>
          <p:cNvPicPr>
            <a:picLocks noChangeAspect="1" noChangeArrowheads="1"/>
          </p:cNvPicPr>
          <p:nvPr/>
        </p:nvPicPr>
        <p:blipFill>
          <a:blip r:embed="rId4"/>
          <a:srcRect l="3978" t="8109" r="4521" b="5856"/>
          <a:stretch>
            <a:fillRect/>
          </a:stretch>
        </p:blipFill>
        <p:spPr bwMode="auto">
          <a:xfrm>
            <a:off x="7502769" y="2962330"/>
            <a:ext cx="4354512" cy="1828800"/>
          </a:xfrm>
          <a:prstGeom prst="rect">
            <a:avLst/>
          </a:prstGeom>
          <a:noFill/>
          <a:ln w="9525">
            <a:noFill/>
            <a:miter lim="800000"/>
            <a:headEnd/>
            <a:tailEnd/>
          </a:ln>
        </p:spPr>
      </p:pic>
      <p:sp>
        <p:nvSpPr>
          <p:cNvPr id="8" name="矩形 7">
            <a:extLst>
              <a:ext uri="{FF2B5EF4-FFF2-40B4-BE49-F238E27FC236}">
                <a16:creationId xmlns:a16="http://schemas.microsoft.com/office/drawing/2014/main" id="{5A5F9722-15B7-46DE-B167-91795B149147}"/>
              </a:ext>
            </a:extLst>
          </p:cNvPr>
          <p:cNvSpPr/>
          <p:nvPr/>
        </p:nvSpPr>
        <p:spPr>
          <a:xfrm>
            <a:off x="5702544" y="4367268"/>
            <a:ext cx="1182687" cy="646112"/>
          </a:xfrm>
          <a:prstGeom prst="rect">
            <a:avLst/>
          </a:prstGeom>
          <a:ln>
            <a:prstDash val="sysDash"/>
          </a:ln>
        </p:spPr>
        <p:style>
          <a:lnRef idx="2">
            <a:schemeClr val="dk1"/>
          </a:lnRef>
          <a:fillRef idx="1">
            <a:schemeClr val="lt1"/>
          </a:fillRef>
          <a:effectRef idx="0">
            <a:schemeClr val="dk1"/>
          </a:effectRef>
          <a:fontRef idx="minor">
            <a:schemeClr val="dk1"/>
          </a:fontRef>
        </p:style>
        <p:txBody>
          <a:bodyPr>
            <a:spAutoFit/>
          </a:bodyPr>
          <a:lstStyle/>
          <a:p>
            <a:pPr>
              <a:defRPr/>
            </a:pPr>
            <a:r>
              <a:rPr lang="zh-CN" altLang="zh-CN" b="1" kern="100" dirty="0">
                <a:solidFill>
                  <a:srgbClr val="FF0000"/>
                </a:solidFill>
                <a:cs typeface="+mn-ea"/>
                <a:sym typeface="+mn-lt"/>
              </a:rPr>
              <a:t>差异</a:t>
            </a:r>
            <a:r>
              <a:rPr lang="zh-CN" altLang="en-US" b="1" kern="100" dirty="0">
                <a:solidFill>
                  <a:srgbClr val="FF0000"/>
                </a:solidFill>
                <a:cs typeface="+mn-ea"/>
                <a:sym typeface="+mn-lt"/>
              </a:rPr>
              <a:t>灵敏度</a:t>
            </a:r>
            <a:r>
              <a:rPr lang="zh-CN" altLang="zh-CN" b="1" kern="100" dirty="0">
                <a:solidFill>
                  <a:srgbClr val="FF0000"/>
                </a:solidFill>
                <a:cs typeface="+mn-ea"/>
                <a:sym typeface="+mn-lt"/>
              </a:rPr>
              <a:t>叠加</a:t>
            </a:r>
            <a:endParaRPr lang="zh-CN" altLang="en-US" b="1" dirty="0">
              <a:solidFill>
                <a:srgbClr val="FF0000"/>
              </a:solidFill>
              <a:cs typeface="+mn-ea"/>
              <a:sym typeface="+mn-lt"/>
            </a:endParaRPr>
          </a:p>
        </p:txBody>
      </p:sp>
      <p:sp>
        <p:nvSpPr>
          <p:cNvPr id="9" name="矩形 8">
            <a:extLst>
              <a:ext uri="{FF2B5EF4-FFF2-40B4-BE49-F238E27FC236}">
                <a16:creationId xmlns:a16="http://schemas.microsoft.com/office/drawing/2014/main" id="{9CC68137-2917-4A10-A007-062C74E255F9}"/>
              </a:ext>
            </a:extLst>
          </p:cNvPr>
          <p:cNvSpPr/>
          <p:nvPr/>
        </p:nvSpPr>
        <p:spPr>
          <a:xfrm>
            <a:off x="8725144" y="4695880"/>
            <a:ext cx="1801812" cy="369888"/>
          </a:xfrm>
          <a:prstGeom prst="rect">
            <a:avLst/>
          </a:prstGeom>
          <a:ln>
            <a:prstDash val="sysDash"/>
          </a:ln>
        </p:spPr>
        <p:style>
          <a:lnRef idx="2">
            <a:schemeClr val="dk1"/>
          </a:lnRef>
          <a:fillRef idx="1">
            <a:schemeClr val="lt1"/>
          </a:fillRef>
          <a:effectRef idx="0">
            <a:schemeClr val="dk1"/>
          </a:effectRef>
          <a:fontRef idx="minor">
            <a:schemeClr val="dk1"/>
          </a:fontRef>
        </p:style>
        <p:txBody>
          <a:bodyPr>
            <a:spAutoFit/>
          </a:bodyPr>
          <a:lstStyle/>
          <a:p>
            <a:pPr>
              <a:defRPr/>
            </a:pPr>
            <a:r>
              <a:rPr lang="zh-CN" altLang="en-US" b="1" kern="100" dirty="0">
                <a:solidFill>
                  <a:srgbClr val="FF0000"/>
                </a:solidFill>
                <a:cs typeface="+mn-ea"/>
                <a:sym typeface="+mn-lt"/>
              </a:rPr>
              <a:t>数学形态学运算</a:t>
            </a:r>
          </a:p>
        </p:txBody>
      </p:sp>
      <p:sp>
        <p:nvSpPr>
          <p:cNvPr id="10" name="矩形 9">
            <a:extLst>
              <a:ext uri="{FF2B5EF4-FFF2-40B4-BE49-F238E27FC236}">
                <a16:creationId xmlns:a16="http://schemas.microsoft.com/office/drawing/2014/main" id="{7A36D371-40AD-40E1-92B8-D638EE6AFE15}"/>
              </a:ext>
            </a:extLst>
          </p:cNvPr>
          <p:cNvSpPr/>
          <p:nvPr/>
        </p:nvSpPr>
        <p:spPr>
          <a:xfrm>
            <a:off x="6851894" y="1060505"/>
            <a:ext cx="1874837" cy="369888"/>
          </a:xfrm>
          <a:prstGeom prst="rect">
            <a:avLst/>
          </a:prstGeom>
          <a:ln>
            <a:prstDash val="sysDash"/>
          </a:ln>
        </p:spPr>
        <p:style>
          <a:lnRef idx="2">
            <a:schemeClr val="dk1"/>
          </a:lnRef>
          <a:fillRef idx="1">
            <a:schemeClr val="lt1"/>
          </a:fillRef>
          <a:effectRef idx="0">
            <a:schemeClr val="dk1"/>
          </a:effectRef>
          <a:fontRef idx="minor">
            <a:schemeClr val="dk1"/>
          </a:fontRef>
        </p:style>
        <p:txBody>
          <a:bodyPr>
            <a:spAutoFit/>
          </a:bodyPr>
          <a:lstStyle/>
          <a:p>
            <a:pPr>
              <a:defRPr/>
            </a:pPr>
            <a:r>
              <a:rPr lang="en-US" altLang="zh-CN" b="1" kern="100" dirty="0">
                <a:solidFill>
                  <a:srgbClr val="FF0000"/>
                </a:solidFill>
                <a:cs typeface="+mn-ea"/>
                <a:sym typeface="+mn-lt"/>
              </a:rPr>
              <a:t>X</a:t>
            </a:r>
            <a:r>
              <a:rPr lang="zh-CN" altLang="en-US" b="1" kern="100" dirty="0">
                <a:solidFill>
                  <a:srgbClr val="FF0000"/>
                </a:solidFill>
                <a:cs typeface="+mn-ea"/>
                <a:sym typeface="+mn-lt"/>
              </a:rPr>
              <a:t>射线成像获取</a:t>
            </a:r>
            <a:endParaRPr lang="zh-CN" altLang="en-US" b="1" dirty="0">
              <a:solidFill>
                <a:srgbClr val="FF0000"/>
              </a:solidFill>
              <a:cs typeface="+mn-ea"/>
              <a:sym typeface="+mn-lt"/>
            </a:endParaRPr>
          </a:p>
        </p:txBody>
      </p:sp>
      <p:sp>
        <p:nvSpPr>
          <p:cNvPr id="11" name="左弧形箭头 15">
            <a:extLst>
              <a:ext uri="{FF2B5EF4-FFF2-40B4-BE49-F238E27FC236}">
                <a16:creationId xmlns:a16="http://schemas.microsoft.com/office/drawing/2014/main" id="{064BCD67-202F-4513-B892-DE22BA234DB5}"/>
              </a:ext>
            </a:extLst>
          </p:cNvPr>
          <p:cNvSpPr/>
          <p:nvPr/>
        </p:nvSpPr>
        <p:spPr>
          <a:xfrm>
            <a:off x="3562594" y="2349555"/>
            <a:ext cx="431800" cy="1152525"/>
          </a:xfrm>
          <a:prstGeom prst="curvedRightArrow">
            <a:avLst/>
          </a:prstGeom>
          <a:solidFill>
            <a:srgbClr val="0000FF"/>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cs typeface="+mn-ea"/>
              <a:sym typeface="+mn-lt"/>
            </a:endParaRPr>
          </a:p>
        </p:txBody>
      </p:sp>
      <p:sp>
        <p:nvSpPr>
          <p:cNvPr id="12" name="右箭头 16">
            <a:extLst>
              <a:ext uri="{FF2B5EF4-FFF2-40B4-BE49-F238E27FC236}">
                <a16:creationId xmlns:a16="http://schemas.microsoft.com/office/drawing/2014/main" id="{B7426F16-21D6-423D-A983-AF2984CE01D3}"/>
              </a:ext>
            </a:extLst>
          </p:cNvPr>
          <p:cNvSpPr/>
          <p:nvPr/>
        </p:nvSpPr>
        <p:spPr>
          <a:xfrm>
            <a:off x="6851894" y="3521130"/>
            <a:ext cx="495300" cy="358775"/>
          </a:xfrm>
          <a:prstGeom prst="rightArrow">
            <a:avLst/>
          </a:prstGeom>
          <a:solidFill>
            <a:srgbClr val="0000FF"/>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cs typeface="+mn-ea"/>
              <a:sym typeface="+mn-lt"/>
            </a:endParaRPr>
          </a:p>
        </p:txBody>
      </p:sp>
      <p:sp>
        <p:nvSpPr>
          <p:cNvPr id="13" name="矩形 12">
            <a:extLst>
              <a:ext uri="{FF2B5EF4-FFF2-40B4-BE49-F238E27FC236}">
                <a16:creationId xmlns:a16="http://schemas.microsoft.com/office/drawing/2014/main" id="{3C5EB687-27A8-4D19-89F4-F2E682523120}"/>
              </a:ext>
            </a:extLst>
          </p:cNvPr>
          <p:cNvSpPr/>
          <p:nvPr/>
        </p:nvSpPr>
        <p:spPr>
          <a:xfrm>
            <a:off x="3562594" y="5235630"/>
            <a:ext cx="7296411" cy="923330"/>
          </a:xfrm>
          <a:prstGeom prst="rect">
            <a:avLst/>
          </a:prstGeom>
        </p:spPr>
        <p:txBody>
          <a:bodyPr wrap="square">
            <a:spAutoFit/>
          </a:bodyPr>
          <a:lstStyle/>
          <a:p>
            <a:r>
              <a:rPr lang="zh-CN" altLang="en-US" b="1" dirty="0">
                <a:latin typeface="+mn-ea"/>
                <a:ea typeface="+mn-ea"/>
              </a:rPr>
              <a:t>动作：在线自动检测</a:t>
            </a:r>
            <a:endParaRPr lang="en-US" altLang="zh-CN" b="1" dirty="0">
              <a:latin typeface="+mn-ea"/>
              <a:ea typeface="+mn-ea"/>
            </a:endParaRPr>
          </a:p>
          <a:p>
            <a:r>
              <a:rPr lang="zh-CN" altLang="en-US" b="1" dirty="0">
                <a:latin typeface="+mn-ea"/>
                <a:ea typeface="+mn-ea"/>
              </a:rPr>
              <a:t>技术描述：</a:t>
            </a:r>
            <a:r>
              <a:rPr lang="en-US" altLang="zh-CN" b="1" dirty="0">
                <a:latin typeface="+mn-ea"/>
                <a:ea typeface="+mn-ea"/>
              </a:rPr>
              <a:t>X</a:t>
            </a:r>
            <a:r>
              <a:rPr lang="zh-CN" altLang="en-US" b="1" dirty="0">
                <a:latin typeface="+mn-ea"/>
                <a:ea typeface="+mn-ea"/>
              </a:rPr>
              <a:t>射线实时成像、数学建模、软件分析</a:t>
            </a:r>
            <a:endParaRPr lang="en-US" altLang="zh-CN" b="1" dirty="0">
              <a:latin typeface="+mn-ea"/>
              <a:ea typeface="+mn-ea"/>
            </a:endParaRPr>
          </a:p>
          <a:p>
            <a:r>
              <a:rPr lang="zh-CN" altLang="en-US" b="1" dirty="0">
                <a:latin typeface="+mn-ea"/>
                <a:ea typeface="+mn-ea"/>
              </a:rPr>
              <a:t>特征：集合了传感、机构、控制、数据分析、软件操作复杂自动化系统</a:t>
            </a:r>
            <a:endParaRPr lang="en-US" altLang="zh-CN" b="1" dirty="0">
              <a:latin typeface="+mn-ea"/>
              <a:ea typeface="+mn-ea"/>
            </a:endParaRPr>
          </a:p>
        </p:txBody>
      </p:sp>
      <p:pic>
        <p:nvPicPr>
          <p:cNvPr id="14" name="图片 12">
            <a:extLst>
              <a:ext uri="{FF2B5EF4-FFF2-40B4-BE49-F238E27FC236}">
                <a16:creationId xmlns:a16="http://schemas.microsoft.com/office/drawing/2014/main" id="{88B48C9B-9562-4F6A-BD44-6805E782170A}"/>
              </a:ext>
            </a:extLst>
          </p:cNvPr>
          <p:cNvPicPr>
            <a:picLocks noChangeAspect="1" noChangeArrowheads="1"/>
          </p:cNvPicPr>
          <p:nvPr/>
        </p:nvPicPr>
        <p:blipFill>
          <a:blip r:embed="rId5"/>
          <a:srcRect/>
          <a:stretch>
            <a:fillRect/>
          </a:stretch>
        </p:blipFill>
        <p:spPr bwMode="auto">
          <a:xfrm>
            <a:off x="665724" y="1783501"/>
            <a:ext cx="2638425" cy="1976438"/>
          </a:xfrm>
          <a:prstGeom prst="rect">
            <a:avLst/>
          </a:prstGeom>
          <a:noFill/>
          <a:ln w="9525">
            <a:noFill/>
            <a:miter lim="800000"/>
            <a:headEnd/>
            <a:tailEnd/>
          </a:ln>
        </p:spPr>
      </p:pic>
      <p:pic>
        <p:nvPicPr>
          <p:cNvPr id="15" name="Picture 7">
            <a:extLst>
              <a:ext uri="{FF2B5EF4-FFF2-40B4-BE49-F238E27FC236}">
                <a16:creationId xmlns:a16="http://schemas.microsoft.com/office/drawing/2014/main" id="{3EEDBA73-2373-4D42-8AAA-5C6DE780DD4A}"/>
              </a:ext>
            </a:extLst>
          </p:cNvPr>
          <p:cNvPicPr>
            <a:picLocks noChangeAspect="1" noChangeArrowheads="1"/>
          </p:cNvPicPr>
          <p:nvPr/>
        </p:nvPicPr>
        <p:blipFill>
          <a:blip r:embed="rId6"/>
          <a:srcRect/>
          <a:stretch>
            <a:fillRect/>
          </a:stretch>
        </p:blipFill>
        <p:spPr bwMode="auto">
          <a:xfrm>
            <a:off x="664136" y="4090666"/>
            <a:ext cx="2640013" cy="1682750"/>
          </a:xfrm>
          <a:prstGeom prst="rect">
            <a:avLst/>
          </a:prstGeom>
          <a:noFill/>
          <a:ln w="9525">
            <a:noFill/>
            <a:miter lim="800000"/>
            <a:headEnd/>
            <a:tailEnd/>
          </a:ln>
          <a:effectLst>
            <a:prstShdw prst="shdw17" dist="17961" dir="2700000">
              <a:schemeClr val="accent1">
                <a:gamma/>
                <a:shade val="60000"/>
                <a:invGamma/>
              </a:schemeClr>
            </a:prstShdw>
          </a:effectLst>
        </p:spPr>
      </p:pic>
    </p:spTree>
    <p:extLst>
      <p:ext uri="{BB962C8B-B14F-4D97-AF65-F5344CB8AC3E}">
        <p14:creationId xmlns:p14="http://schemas.microsoft.com/office/powerpoint/2010/main" val="3588872532"/>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4276875B-17BF-498E-97C3-B7508236A24F}"/>
              </a:ext>
            </a:extLst>
          </p:cNvPr>
          <p:cNvSpPr/>
          <p:nvPr/>
        </p:nvSpPr>
        <p:spPr>
          <a:xfrm>
            <a:off x="603325" y="204747"/>
            <a:ext cx="3595856" cy="452240"/>
          </a:xfrm>
          <a:prstGeom prst="rect">
            <a:avLst/>
          </a:prstGeom>
        </p:spPr>
        <p:txBody>
          <a:bodyPr wrap="none">
            <a:spAutoFit/>
          </a:bodyPr>
          <a:lstStyle/>
          <a:p>
            <a:pPr marL="177800">
              <a:lnSpc>
                <a:spcPts val="2600"/>
              </a:lnSpc>
              <a:defRPr/>
            </a:pPr>
            <a:r>
              <a:rPr lang="zh-CN" altLang="en-US" sz="3600" b="1" dirty="0">
                <a:solidFill>
                  <a:srgbClr val="0070C0"/>
                </a:solidFill>
                <a:latin typeface="+mj-ea"/>
                <a:ea typeface="+mj-ea"/>
              </a:rPr>
              <a:t>包装工艺自动化</a:t>
            </a:r>
          </a:p>
        </p:txBody>
      </p:sp>
      <p:pic>
        <p:nvPicPr>
          <p:cNvPr id="3" name="Picture 2" descr="E:\外出资料\全图\_WB5.jpg">
            <a:extLst>
              <a:ext uri="{FF2B5EF4-FFF2-40B4-BE49-F238E27FC236}">
                <a16:creationId xmlns:a16="http://schemas.microsoft.com/office/drawing/2014/main" id="{4D4CC356-1777-4448-A506-21FAE5D3497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2086" t="33341" r="10707" b="17547"/>
          <a:stretch/>
        </p:blipFill>
        <p:spPr bwMode="auto">
          <a:xfrm>
            <a:off x="705525" y="1064005"/>
            <a:ext cx="10151328" cy="2789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矩形 3">
            <a:extLst>
              <a:ext uri="{FF2B5EF4-FFF2-40B4-BE49-F238E27FC236}">
                <a16:creationId xmlns:a16="http://schemas.microsoft.com/office/drawing/2014/main" id="{F68E4FE2-D2B3-4CA1-8EE6-13AA6DF982F7}"/>
              </a:ext>
            </a:extLst>
          </p:cNvPr>
          <p:cNvSpPr/>
          <p:nvPr/>
        </p:nvSpPr>
        <p:spPr>
          <a:xfrm>
            <a:off x="705525" y="5930651"/>
            <a:ext cx="11213326" cy="400110"/>
          </a:xfrm>
          <a:prstGeom prst="rect">
            <a:avLst/>
          </a:prstGeom>
        </p:spPr>
        <p:txBody>
          <a:bodyPr wrap="none">
            <a:spAutoFit/>
          </a:bodyPr>
          <a:lstStyle/>
          <a:p>
            <a:r>
              <a:rPr lang="zh-CN" altLang="en-US" sz="2000" b="1" i="1" dirty="0">
                <a:solidFill>
                  <a:srgbClr val="FF0000"/>
                </a:solidFill>
                <a:latin typeface="+mn-ea"/>
                <a:ea typeface="+mn-ea"/>
              </a:rPr>
              <a:t>泡罩、装盒、贴标、喷码、装箱、码垛，全包装过程自动化产线集成应用正逐渐成为业内主流趋势</a:t>
            </a:r>
            <a:endParaRPr lang="zh-CN" altLang="en-US" sz="2000" i="1" dirty="0">
              <a:solidFill>
                <a:srgbClr val="FF0000"/>
              </a:solidFill>
              <a:latin typeface="+mn-ea"/>
              <a:ea typeface="+mn-ea"/>
            </a:endParaRPr>
          </a:p>
        </p:txBody>
      </p:sp>
      <p:pic>
        <p:nvPicPr>
          <p:cNvPr id="6" name="Picture 2" descr="timg?image&amp;quality=80&amp;size=b9999_10000&amp;sec=1523700126131&amp;di=9eb4f120767e893669497d2a98ca2b3b&amp;imgtype=0&amp;src=http%3A%2F%2Fimg003">
            <a:extLst>
              <a:ext uri="{FF2B5EF4-FFF2-40B4-BE49-F238E27FC236}">
                <a16:creationId xmlns:a16="http://schemas.microsoft.com/office/drawing/2014/main" id="{ACF9ADFD-39C3-40F2-9655-80F7AF9AC5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42543" y="3951682"/>
            <a:ext cx="2140849" cy="1588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直接箭头连接符 7">
            <a:extLst>
              <a:ext uri="{FF2B5EF4-FFF2-40B4-BE49-F238E27FC236}">
                <a16:creationId xmlns:a16="http://schemas.microsoft.com/office/drawing/2014/main" id="{E7F9F133-153B-4E03-97DD-6F2D64BB00DF}"/>
              </a:ext>
            </a:extLst>
          </p:cNvPr>
          <p:cNvCxnSpPr>
            <a:cxnSpLocks/>
            <a:endCxn id="6" idx="0"/>
          </p:cNvCxnSpPr>
          <p:nvPr/>
        </p:nvCxnSpPr>
        <p:spPr>
          <a:xfrm>
            <a:off x="9661429" y="1968166"/>
            <a:ext cx="1051539" cy="19835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直接箭头连接符 9">
            <a:extLst>
              <a:ext uri="{FF2B5EF4-FFF2-40B4-BE49-F238E27FC236}">
                <a16:creationId xmlns:a16="http://schemas.microsoft.com/office/drawing/2014/main" id="{7A2E9568-2750-4405-BE64-9521D180A2F3}"/>
              </a:ext>
            </a:extLst>
          </p:cNvPr>
          <p:cNvCxnSpPr>
            <a:cxnSpLocks/>
            <a:endCxn id="7" idx="0"/>
          </p:cNvCxnSpPr>
          <p:nvPr/>
        </p:nvCxnSpPr>
        <p:spPr>
          <a:xfrm>
            <a:off x="2632085" y="2349305"/>
            <a:ext cx="146283" cy="15461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7" name="图片 6">
            <a:extLst>
              <a:ext uri="{FF2B5EF4-FFF2-40B4-BE49-F238E27FC236}">
                <a16:creationId xmlns:a16="http://schemas.microsoft.com/office/drawing/2014/main" id="{5B03D365-19FF-48DA-B61C-2F753CB8442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87303" y="3895475"/>
            <a:ext cx="2382129" cy="1588880"/>
          </a:xfrm>
          <a:prstGeom prst="rect">
            <a:avLst/>
          </a:prstGeom>
        </p:spPr>
      </p:pic>
      <p:pic>
        <p:nvPicPr>
          <p:cNvPr id="15" name="图片 14">
            <a:extLst>
              <a:ext uri="{FF2B5EF4-FFF2-40B4-BE49-F238E27FC236}">
                <a16:creationId xmlns:a16="http://schemas.microsoft.com/office/drawing/2014/main" id="{BE2FF43F-04BD-478B-B7C1-3002C2D8F60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46831" y="3953021"/>
            <a:ext cx="2208498" cy="1533379"/>
          </a:xfrm>
          <a:prstGeom prst="rect">
            <a:avLst/>
          </a:prstGeom>
        </p:spPr>
      </p:pic>
      <p:pic>
        <p:nvPicPr>
          <p:cNvPr id="17" name="图片 16">
            <a:extLst>
              <a:ext uri="{FF2B5EF4-FFF2-40B4-BE49-F238E27FC236}">
                <a16:creationId xmlns:a16="http://schemas.microsoft.com/office/drawing/2014/main" id="{833ECDCE-A357-4D48-9B41-EBE757D1D4B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95642" y="3951682"/>
            <a:ext cx="2465292" cy="1588880"/>
          </a:xfrm>
          <a:prstGeom prst="rect">
            <a:avLst/>
          </a:prstGeom>
        </p:spPr>
      </p:pic>
      <p:cxnSp>
        <p:nvCxnSpPr>
          <p:cNvPr id="20" name="直接箭头连接符 19">
            <a:extLst>
              <a:ext uri="{FF2B5EF4-FFF2-40B4-BE49-F238E27FC236}">
                <a16:creationId xmlns:a16="http://schemas.microsoft.com/office/drawing/2014/main" id="{6CAEFC58-B07D-4F4C-ADE4-64CFE1C84690}"/>
              </a:ext>
            </a:extLst>
          </p:cNvPr>
          <p:cNvCxnSpPr>
            <a:cxnSpLocks/>
            <a:endCxn id="15" idx="0"/>
          </p:cNvCxnSpPr>
          <p:nvPr/>
        </p:nvCxnSpPr>
        <p:spPr>
          <a:xfrm>
            <a:off x="4657708" y="1968166"/>
            <a:ext cx="793372" cy="19848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直接箭头连接符 21">
            <a:extLst>
              <a:ext uri="{FF2B5EF4-FFF2-40B4-BE49-F238E27FC236}">
                <a16:creationId xmlns:a16="http://schemas.microsoft.com/office/drawing/2014/main" id="{80183F0A-5D13-4C99-B06A-B4FD26EDD811}"/>
              </a:ext>
            </a:extLst>
          </p:cNvPr>
          <p:cNvCxnSpPr>
            <a:cxnSpLocks/>
            <a:endCxn id="17" idx="0"/>
          </p:cNvCxnSpPr>
          <p:nvPr/>
        </p:nvCxnSpPr>
        <p:spPr>
          <a:xfrm>
            <a:off x="6239526" y="1919100"/>
            <a:ext cx="1888762" cy="20325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3039655"/>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4276875B-17BF-498E-97C3-B7508236A24F}"/>
              </a:ext>
            </a:extLst>
          </p:cNvPr>
          <p:cNvSpPr/>
          <p:nvPr/>
        </p:nvSpPr>
        <p:spPr>
          <a:xfrm>
            <a:off x="603325" y="204747"/>
            <a:ext cx="3595856" cy="452240"/>
          </a:xfrm>
          <a:prstGeom prst="rect">
            <a:avLst/>
          </a:prstGeom>
        </p:spPr>
        <p:txBody>
          <a:bodyPr wrap="none">
            <a:spAutoFit/>
          </a:bodyPr>
          <a:lstStyle/>
          <a:p>
            <a:pPr marL="177800">
              <a:lnSpc>
                <a:spcPts val="2600"/>
              </a:lnSpc>
              <a:defRPr/>
            </a:pPr>
            <a:r>
              <a:rPr lang="zh-CN" altLang="en-US" sz="3600" b="1" dirty="0">
                <a:solidFill>
                  <a:srgbClr val="0070C0"/>
                </a:solidFill>
                <a:latin typeface="+mj-ea"/>
                <a:ea typeface="+mj-ea"/>
              </a:rPr>
              <a:t>仓储物流自动化</a:t>
            </a:r>
          </a:p>
        </p:txBody>
      </p:sp>
      <p:cxnSp>
        <p:nvCxnSpPr>
          <p:cNvPr id="3" name="直接连接符 2">
            <a:extLst>
              <a:ext uri="{FF2B5EF4-FFF2-40B4-BE49-F238E27FC236}">
                <a16:creationId xmlns:a16="http://schemas.microsoft.com/office/drawing/2014/main" id="{3909E3FA-4E38-4C32-AA23-8EA9387B74DA}"/>
              </a:ext>
            </a:extLst>
          </p:cNvPr>
          <p:cNvCxnSpPr/>
          <p:nvPr/>
        </p:nvCxnSpPr>
        <p:spPr>
          <a:xfrm flipV="1">
            <a:off x="4057847" y="833522"/>
            <a:ext cx="5121275" cy="254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Line 15">
            <a:extLst>
              <a:ext uri="{FF2B5EF4-FFF2-40B4-BE49-F238E27FC236}">
                <a16:creationId xmlns:a16="http://schemas.microsoft.com/office/drawing/2014/main" id="{3B7D75B8-3B05-4432-8644-D70E199BC1BE}"/>
              </a:ext>
            </a:extLst>
          </p:cNvPr>
          <p:cNvSpPr>
            <a:spLocks noChangeShapeType="1"/>
          </p:cNvSpPr>
          <p:nvPr/>
        </p:nvSpPr>
        <p:spPr bwMode="auto">
          <a:xfrm>
            <a:off x="3512190" y="6691505"/>
            <a:ext cx="0" cy="430143"/>
          </a:xfrm>
          <a:prstGeom prst="line">
            <a:avLst/>
          </a:prstGeom>
          <a:noFill/>
          <a:ln w="19050" cap="rnd">
            <a:solidFill>
              <a:srgbClr val="EEECE1"/>
            </a:solidFill>
            <a:prstDash val="sysDot"/>
            <a:round/>
            <a:headEnd/>
            <a:tailEnd/>
          </a:ln>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latin typeface="微软雅黑" pitchFamily="34" charset="-122"/>
              <a:ea typeface="微软雅黑" pitchFamily="34" charset="-122"/>
            </a:endParaRPr>
          </a:p>
        </p:txBody>
      </p:sp>
      <p:pic>
        <p:nvPicPr>
          <p:cNvPr id="18" name="Picture 2">
            <a:extLst>
              <a:ext uri="{FF2B5EF4-FFF2-40B4-BE49-F238E27FC236}">
                <a16:creationId xmlns:a16="http://schemas.microsoft.com/office/drawing/2014/main" id="{FE7A1830-317D-4CD7-B759-ABEB94B765C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52567" y="3794372"/>
            <a:ext cx="4537956" cy="2808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2">
            <a:extLst>
              <a:ext uri="{FF2B5EF4-FFF2-40B4-BE49-F238E27FC236}">
                <a16:creationId xmlns:a16="http://schemas.microsoft.com/office/drawing/2014/main" id="{F749D722-6207-4DE0-8786-2935632818C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26836" y="1529907"/>
            <a:ext cx="3118048" cy="2338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Box 18">
            <a:extLst>
              <a:ext uri="{FF2B5EF4-FFF2-40B4-BE49-F238E27FC236}">
                <a16:creationId xmlns:a16="http://schemas.microsoft.com/office/drawing/2014/main" id="{8F2FA4DD-9983-4FA1-AB27-A0E77D2A7693}"/>
              </a:ext>
            </a:extLst>
          </p:cNvPr>
          <p:cNvSpPr txBox="1"/>
          <p:nvPr/>
        </p:nvSpPr>
        <p:spPr>
          <a:xfrm>
            <a:off x="2689394" y="6042148"/>
            <a:ext cx="3929090" cy="520586"/>
          </a:xfrm>
          <a:prstGeom prst="rect">
            <a:avLst/>
          </a:prstGeom>
          <a:noFill/>
        </p:spPr>
        <p:txBody>
          <a:bodyPr wrap="square" rtlCol="0">
            <a:spAutoFit/>
          </a:bodyPr>
          <a:lstStyle/>
          <a:p>
            <a:pPr algn="ctr"/>
            <a:r>
              <a:rPr lang="zh-CN" altLang="en-US" sz="2800" dirty="0">
                <a:latin typeface="微软雅黑" pitchFamily="34" charset="-122"/>
                <a:ea typeface="微软雅黑" pitchFamily="34" charset="-122"/>
              </a:rPr>
              <a:t>转运工具</a:t>
            </a:r>
          </a:p>
        </p:txBody>
      </p:sp>
      <p:sp>
        <p:nvSpPr>
          <p:cNvPr id="21" name="矩形 21">
            <a:extLst>
              <a:ext uri="{FF2B5EF4-FFF2-40B4-BE49-F238E27FC236}">
                <a16:creationId xmlns:a16="http://schemas.microsoft.com/office/drawing/2014/main" id="{87212F3D-3331-48B9-AC27-35EFB7C6FB32}"/>
              </a:ext>
            </a:extLst>
          </p:cNvPr>
          <p:cNvSpPr>
            <a:spLocks noChangeArrowheads="1"/>
          </p:cNvSpPr>
          <p:nvPr/>
        </p:nvSpPr>
        <p:spPr bwMode="auto">
          <a:xfrm>
            <a:off x="7120448" y="970561"/>
            <a:ext cx="2930823" cy="461665"/>
          </a:xfrm>
          <a:prstGeom prst="rect">
            <a:avLst/>
          </a:prstGeom>
          <a:noFill/>
          <a:ln w="9525">
            <a:noFill/>
            <a:miter lim="800000"/>
            <a:headEnd/>
            <a:tailEnd/>
          </a:ln>
        </p:spPr>
        <p:txBody>
          <a:bodyPr wrap="square">
            <a:spAutoFit/>
          </a:bodyPr>
          <a:lstStyle/>
          <a:p>
            <a:pPr algn="ctr">
              <a:buFont typeface="Arial" pitchFamily="34" charset="0"/>
              <a:buNone/>
              <a:defRPr/>
            </a:pPr>
            <a:r>
              <a:rPr lang="zh-CN" altLang="en-US" sz="2400" dirty="0">
                <a:latin typeface="微软雅黑" pitchFamily="34" charset="-122"/>
                <a:ea typeface="微软雅黑" pitchFamily="34" charset="-122"/>
              </a:rPr>
              <a:t>周转车自动仓储系统</a:t>
            </a:r>
            <a:endParaRPr lang="en-US" altLang="ko-KR" sz="2400" dirty="0">
              <a:latin typeface="微软雅黑" pitchFamily="34" charset="-122"/>
              <a:ea typeface="微软雅黑" pitchFamily="34" charset="-122"/>
            </a:endParaRPr>
          </a:p>
        </p:txBody>
      </p:sp>
      <p:sp>
        <p:nvSpPr>
          <p:cNvPr id="22" name="TextBox 1">
            <a:extLst>
              <a:ext uri="{FF2B5EF4-FFF2-40B4-BE49-F238E27FC236}">
                <a16:creationId xmlns:a16="http://schemas.microsoft.com/office/drawing/2014/main" id="{F08E1583-EF28-40DE-8B80-F984F6E13FED}"/>
              </a:ext>
            </a:extLst>
          </p:cNvPr>
          <p:cNvSpPr txBox="1"/>
          <p:nvPr/>
        </p:nvSpPr>
        <p:spPr>
          <a:xfrm>
            <a:off x="4828345" y="1727754"/>
            <a:ext cx="553998" cy="2361456"/>
          </a:xfrm>
          <a:prstGeom prst="rect">
            <a:avLst/>
          </a:prstGeom>
          <a:noFill/>
        </p:spPr>
        <p:txBody>
          <a:bodyPr vert="eaVert" wrap="square" rtlCol="0">
            <a:spAutoFit/>
          </a:bodyPr>
          <a:lstStyle/>
          <a:p>
            <a:r>
              <a:rPr lang="zh-CN" altLang="en-US" sz="2400" dirty="0">
                <a:latin typeface="微软雅黑" panose="020B0503020204020204" pitchFamily="34" charset="-122"/>
                <a:ea typeface="微软雅黑" panose="020B0503020204020204" pitchFamily="34" charset="-122"/>
              </a:rPr>
              <a:t>立体仓库</a:t>
            </a:r>
          </a:p>
        </p:txBody>
      </p:sp>
      <p:pic>
        <p:nvPicPr>
          <p:cNvPr id="23" name="Picture 1">
            <a:extLst>
              <a:ext uri="{FF2B5EF4-FFF2-40B4-BE49-F238E27FC236}">
                <a16:creationId xmlns:a16="http://schemas.microsoft.com/office/drawing/2014/main" id="{68584945-B2CE-492D-AD40-C7DF4EE74F73}"/>
              </a:ext>
            </a:extLst>
          </p:cNvPr>
          <p:cNvPicPr>
            <a:picLocks noChangeAspect="1" noChangeArrowheads="1"/>
          </p:cNvPicPr>
          <p:nvPr/>
        </p:nvPicPr>
        <p:blipFill>
          <a:blip r:embed="rId4"/>
          <a:srcRect/>
          <a:stretch>
            <a:fillRect/>
          </a:stretch>
        </p:blipFill>
        <p:spPr bwMode="auto">
          <a:xfrm>
            <a:off x="7952446" y="4670868"/>
            <a:ext cx="1266825" cy="1314450"/>
          </a:xfrm>
          <a:prstGeom prst="rect">
            <a:avLst/>
          </a:prstGeom>
          <a:noFill/>
          <a:ln w="9525">
            <a:noFill/>
            <a:miter lim="800000"/>
            <a:headEnd/>
            <a:tailEnd/>
          </a:ln>
          <a:effectLst/>
        </p:spPr>
      </p:pic>
      <p:sp>
        <p:nvSpPr>
          <p:cNvPr id="24" name="TextBox 11">
            <a:extLst>
              <a:ext uri="{FF2B5EF4-FFF2-40B4-BE49-F238E27FC236}">
                <a16:creationId xmlns:a16="http://schemas.microsoft.com/office/drawing/2014/main" id="{8C398B11-CF32-4FE1-BEBD-AACD486BB082}"/>
              </a:ext>
            </a:extLst>
          </p:cNvPr>
          <p:cNvSpPr txBox="1"/>
          <p:nvPr/>
        </p:nvSpPr>
        <p:spPr>
          <a:xfrm>
            <a:off x="6790523" y="6013582"/>
            <a:ext cx="3929090" cy="369332"/>
          </a:xfrm>
          <a:prstGeom prst="rect">
            <a:avLst/>
          </a:prstGeom>
          <a:noFill/>
        </p:spPr>
        <p:txBody>
          <a:bodyPr wrap="square" rtlCol="0">
            <a:spAutoFit/>
          </a:bodyPr>
          <a:lstStyle/>
          <a:p>
            <a:pPr algn="ctr"/>
            <a:r>
              <a:rPr lang="zh-CN" altLang="en-US" b="1" dirty="0">
                <a:latin typeface="微软雅黑" pitchFamily="34" charset="-122"/>
                <a:ea typeface="微软雅黑" pitchFamily="34" charset="-122"/>
              </a:rPr>
              <a:t>电子标签</a:t>
            </a:r>
          </a:p>
        </p:txBody>
      </p:sp>
      <p:pic>
        <p:nvPicPr>
          <p:cNvPr id="17" name="Picture 2">
            <a:extLst>
              <a:ext uri="{FF2B5EF4-FFF2-40B4-BE49-F238E27FC236}">
                <a16:creationId xmlns:a16="http://schemas.microsoft.com/office/drawing/2014/main" id="{95BDFE3B-FED7-47D9-A56A-AC5070D2E4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82874" y="993641"/>
            <a:ext cx="3786157" cy="2960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3503680"/>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4276875B-17BF-498E-97C3-B7508236A24F}"/>
              </a:ext>
            </a:extLst>
          </p:cNvPr>
          <p:cNvSpPr/>
          <p:nvPr/>
        </p:nvSpPr>
        <p:spPr>
          <a:xfrm>
            <a:off x="603325" y="204747"/>
            <a:ext cx="7289175" cy="452240"/>
          </a:xfrm>
          <a:prstGeom prst="rect">
            <a:avLst/>
          </a:prstGeom>
        </p:spPr>
        <p:txBody>
          <a:bodyPr wrap="none">
            <a:spAutoFit/>
          </a:bodyPr>
          <a:lstStyle/>
          <a:p>
            <a:pPr marL="177800">
              <a:lnSpc>
                <a:spcPts val="2600"/>
              </a:lnSpc>
              <a:defRPr/>
            </a:pPr>
            <a:r>
              <a:rPr lang="zh-CN" altLang="en-US" sz="3600" b="1" dirty="0">
                <a:solidFill>
                  <a:srgbClr val="0070C0"/>
                </a:solidFill>
                <a:latin typeface="+mj-ea"/>
                <a:ea typeface="+mj-ea"/>
              </a:rPr>
              <a:t>辅助工艺自动化（包材自动输运）</a:t>
            </a:r>
          </a:p>
        </p:txBody>
      </p:sp>
      <p:sp>
        <p:nvSpPr>
          <p:cNvPr id="3" name="Rectangle 2">
            <a:extLst>
              <a:ext uri="{FF2B5EF4-FFF2-40B4-BE49-F238E27FC236}">
                <a16:creationId xmlns:a16="http://schemas.microsoft.com/office/drawing/2014/main" id="{C7892F53-B5D5-42FF-95A2-895C03B81B04}"/>
              </a:ext>
            </a:extLst>
          </p:cNvPr>
          <p:cNvSpPr>
            <a:spLocks noChangeArrowheads="1"/>
          </p:cNvSpPr>
          <p:nvPr/>
        </p:nvSpPr>
        <p:spPr bwMode="auto">
          <a:xfrm>
            <a:off x="-2569416" y="1461253"/>
            <a:ext cx="17811203"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p:pic>
        <p:nvPicPr>
          <p:cNvPr id="1025" name="Picture 1">
            <a:extLst>
              <a:ext uri="{FF2B5EF4-FFF2-40B4-BE49-F238E27FC236}">
                <a16:creationId xmlns:a16="http://schemas.microsoft.com/office/drawing/2014/main" id="{41D9C2D4-72FD-4541-8240-8E8AAD45847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9646" y="1649529"/>
            <a:ext cx="4347728" cy="254031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4">
            <a:extLst>
              <a:ext uri="{FF2B5EF4-FFF2-40B4-BE49-F238E27FC236}">
                <a16:creationId xmlns:a16="http://schemas.microsoft.com/office/drawing/2014/main" id="{93A9AAB9-E194-4893-9B58-DA75C93F0CB3}"/>
              </a:ext>
            </a:extLst>
          </p:cNvPr>
          <p:cNvSpPr>
            <a:spLocks noChangeArrowheads="1"/>
          </p:cNvSpPr>
          <p:nvPr/>
        </p:nvSpPr>
        <p:spPr bwMode="auto">
          <a:xfrm>
            <a:off x="1698546" y="1506971"/>
            <a:ext cx="17910254"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zh-CN" altLang="en-US"/>
          </a:p>
        </p:txBody>
      </p:sp>
      <p:pic>
        <p:nvPicPr>
          <p:cNvPr id="8" name="图片 7">
            <a:extLst>
              <a:ext uri="{FF2B5EF4-FFF2-40B4-BE49-F238E27FC236}">
                <a16:creationId xmlns:a16="http://schemas.microsoft.com/office/drawing/2014/main" id="{19EC4E8C-01B8-4051-A3CD-9AD465AEC36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34627" y="1659481"/>
            <a:ext cx="4565901" cy="2544880"/>
          </a:xfrm>
          <a:prstGeom prst="rect">
            <a:avLst/>
          </a:prstGeom>
        </p:spPr>
      </p:pic>
      <p:sp>
        <p:nvSpPr>
          <p:cNvPr id="9" name="箭头: 右 8">
            <a:extLst>
              <a:ext uri="{FF2B5EF4-FFF2-40B4-BE49-F238E27FC236}">
                <a16:creationId xmlns:a16="http://schemas.microsoft.com/office/drawing/2014/main" id="{575951AD-3A36-4395-9F9B-DE7A40E1DFF1}"/>
              </a:ext>
            </a:extLst>
          </p:cNvPr>
          <p:cNvSpPr/>
          <p:nvPr/>
        </p:nvSpPr>
        <p:spPr>
          <a:xfrm>
            <a:off x="5776686" y="2525486"/>
            <a:ext cx="696685" cy="5058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a:extLst>
              <a:ext uri="{FF2B5EF4-FFF2-40B4-BE49-F238E27FC236}">
                <a16:creationId xmlns:a16="http://schemas.microsoft.com/office/drawing/2014/main" id="{8D78D195-EE28-4934-B93D-2F1927F48C2D}"/>
              </a:ext>
            </a:extLst>
          </p:cNvPr>
          <p:cNvSpPr/>
          <p:nvPr/>
        </p:nvSpPr>
        <p:spPr>
          <a:xfrm>
            <a:off x="2439380" y="4310502"/>
            <a:ext cx="1114408" cy="369332"/>
          </a:xfrm>
          <a:prstGeom prst="rect">
            <a:avLst/>
          </a:prstGeom>
        </p:spPr>
        <p:txBody>
          <a:bodyPr wrap="none">
            <a:spAutoFit/>
          </a:bodyPr>
          <a:lstStyle/>
          <a:p>
            <a:r>
              <a:rPr lang="zh-CN" altLang="en-US" b="1" dirty="0"/>
              <a:t>自动拆包</a:t>
            </a:r>
            <a:endParaRPr lang="en-US" altLang="zh-CN" b="1" dirty="0"/>
          </a:p>
        </p:txBody>
      </p:sp>
      <p:sp>
        <p:nvSpPr>
          <p:cNvPr id="13" name="矩形 12">
            <a:extLst>
              <a:ext uri="{FF2B5EF4-FFF2-40B4-BE49-F238E27FC236}">
                <a16:creationId xmlns:a16="http://schemas.microsoft.com/office/drawing/2014/main" id="{8FD3CD6E-F817-4CDD-B0D9-7C2327008974}"/>
              </a:ext>
            </a:extLst>
          </p:cNvPr>
          <p:cNvSpPr/>
          <p:nvPr/>
        </p:nvSpPr>
        <p:spPr>
          <a:xfrm>
            <a:off x="8908559" y="4311152"/>
            <a:ext cx="1114408" cy="369332"/>
          </a:xfrm>
          <a:prstGeom prst="rect">
            <a:avLst/>
          </a:prstGeom>
        </p:spPr>
        <p:txBody>
          <a:bodyPr wrap="none">
            <a:spAutoFit/>
          </a:bodyPr>
          <a:lstStyle/>
          <a:p>
            <a:r>
              <a:rPr lang="zh-CN" altLang="en-US" b="1" dirty="0"/>
              <a:t>自动输送</a:t>
            </a:r>
            <a:endParaRPr lang="en-US" altLang="zh-CN" b="1" dirty="0"/>
          </a:p>
        </p:txBody>
      </p:sp>
      <p:sp>
        <p:nvSpPr>
          <p:cNvPr id="14" name="圆角矩形 12">
            <a:extLst>
              <a:ext uri="{FF2B5EF4-FFF2-40B4-BE49-F238E27FC236}">
                <a16:creationId xmlns:a16="http://schemas.microsoft.com/office/drawing/2014/main" id="{C1DD60F7-CDF5-4872-BEE1-729BB8ABAAA2}"/>
              </a:ext>
            </a:extLst>
          </p:cNvPr>
          <p:cNvSpPr/>
          <p:nvPr/>
        </p:nvSpPr>
        <p:spPr>
          <a:xfrm>
            <a:off x="724868" y="5058586"/>
            <a:ext cx="1000132" cy="64294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3333FF"/>
                </a:solidFill>
                <a:latin typeface="黑体" pitchFamily="49" charset="-122"/>
                <a:ea typeface="黑体" pitchFamily="49" charset="-122"/>
              </a:rPr>
              <a:t>仓库</a:t>
            </a:r>
          </a:p>
        </p:txBody>
      </p:sp>
      <p:sp>
        <p:nvSpPr>
          <p:cNvPr id="15" name="圆角矩形 13">
            <a:extLst>
              <a:ext uri="{FF2B5EF4-FFF2-40B4-BE49-F238E27FC236}">
                <a16:creationId xmlns:a16="http://schemas.microsoft.com/office/drawing/2014/main" id="{844F71C0-BB1C-4AC4-9460-CDCDE3E02A33}"/>
              </a:ext>
            </a:extLst>
          </p:cNvPr>
          <p:cNvSpPr/>
          <p:nvPr/>
        </p:nvSpPr>
        <p:spPr>
          <a:xfrm>
            <a:off x="2582255" y="5058586"/>
            <a:ext cx="1815575" cy="64294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3333FF"/>
                </a:solidFill>
                <a:latin typeface="黑体" pitchFamily="49" charset="-122"/>
                <a:ea typeface="黑体" pitchFamily="49" charset="-122"/>
              </a:rPr>
              <a:t>自动输运</a:t>
            </a:r>
          </a:p>
        </p:txBody>
      </p:sp>
      <p:sp>
        <p:nvSpPr>
          <p:cNvPr id="16" name="圆角矩形 14">
            <a:extLst>
              <a:ext uri="{FF2B5EF4-FFF2-40B4-BE49-F238E27FC236}">
                <a16:creationId xmlns:a16="http://schemas.microsoft.com/office/drawing/2014/main" id="{F59096F8-2660-40BB-AA4A-EA7A31E08499}"/>
              </a:ext>
            </a:extLst>
          </p:cNvPr>
          <p:cNvSpPr/>
          <p:nvPr/>
        </p:nvSpPr>
        <p:spPr>
          <a:xfrm>
            <a:off x="7749061" y="5058586"/>
            <a:ext cx="1620410" cy="64294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3333FF"/>
                </a:solidFill>
                <a:latin typeface="黑体" pitchFamily="49" charset="-122"/>
                <a:ea typeface="黑体" pitchFamily="49" charset="-122"/>
              </a:rPr>
              <a:t>自动转运</a:t>
            </a:r>
          </a:p>
        </p:txBody>
      </p:sp>
      <p:sp>
        <p:nvSpPr>
          <p:cNvPr id="17" name="右箭头 30">
            <a:extLst>
              <a:ext uri="{FF2B5EF4-FFF2-40B4-BE49-F238E27FC236}">
                <a16:creationId xmlns:a16="http://schemas.microsoft.com/office/drawing/2014/main" id="{64E17B2E-3533-4757-B319-D4799B25F956}"/>
              </a:ext>
            </a:extLst>
          </p:cNvPr>
          <p:cNvSpPr/>
          <p:nvPr/>
        </p:nvSpPr>
        <p:spPr>
          <a:xfrm>
            <a:off x="7096639" y="5195391"/>
            <a:ext cx="500066" cy="2857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右箭头 31">
            <a:extLst>
              <a:ext uri="{FF2B5EF4-FFF2-40B4-BE49-F238E27FC236}">
                <a16:creationId xmlns:a16="http://schemas.microsoft.com/office/drawing/2014/main" id="{E1D35D7C-222A-4217-AE7B-6B388429B597}"/>
              </a:ext>
            </a:extLst>
          </p:cNvPr>
          <p:cNvSpPr/>
          <p:nvPr/>
        </p:nvSpPr>
        <p:spPr>
          <a:xfrm>
            <a:off x="1939314" y="5272900"/>
            <a:ext cx="500066" cy="2857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右箭头 33">
            <a:extLst>
              <a:ext uri="{FF2B5EF4-FFF2-40B4-BE49-F238E27FC236}">
                <a16:creationId xmlns:a16="http://schemas.microsoft.com/office/drawing/2014/main" id="{74A57CA1-1FE9-40B5-9555-ADDC2D81F2B6}"/>
              </a:ext>
            </a:extLst>
          </p:cNvPr>
          <p:cNvSpPr/>
          <p:nvPr/>
        </p:nvSpPr>
        <p:spPr>
          <a:xfrm>
            <a:off x="9465763" y="5195391"/>
            <a:ext cx="500066" cy="2857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圆角矩形 13">
            <a:extLst>
              <a:ext uri="{FF2B5EF4-FFF2-40B4-BE49-F238E27FC236}">
                <a16:creationId xmlns:a16="http://schemas.microsoft.com/office/drawing/2014/main" id="{9129216E-4546-42B2-8B71-AA69E666F965}"/>
              </a:ext>
            </a:extLst>
          </p:cNvPr>
          <p:cNvSpPr/>
          <p:nvPr/>
        </p:nvSpPr>
        <p:spPr>
          <a:xfrm>
            <a:off x="5111032" y="5029349"/>
            <a:ext cx="1815575" cy="64294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3333FF"/>
                </a:solidFill>
                <a:latin typeface="黑体" pitchFamily="49" charset="-122"/>
                <a:ea typeface="黑体" pitchFamily="49" charset="-122"/>
              </a:rPr>
              <a:t>机器人拆包</a:t>
            </a:r>
          </a:p>
        </p:txBody>
      </p:sp>
      <p:sp>
        <p:nvSpPr>
          <p:cNvPr id="22" name="右箭头 30">
            <a:extLst>
              <a:ext uri="{FF2B5EF4-FFF2-40B4-BE49-F238E27FC236}">
                <a16:creationId xmlns:a16="http://schemas.microsoft.com/office/drawing/2014/main" id="{55E336CF-85E4-453C-8878-8A7A46307A02}"/>
              </a:ext>
            </a:extLst>
          </p:cNvPr>
          <p:cNvSpPr/>
          <p:nvPr/>
        </p:nvSpPr>
        <p:spPr>
          <a:xfrm>
            <a:off x="4456874" y="5237181"/>
            <a:ext cx="500066" cy="2857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圆角矩形 12">
            <a:extLst>
              <a:ext uri="{FF2B5EF4-FFF2-40B4-BE49-F238E27FC236}">
                <a16:creationId xmlns:a16="http://schemas.microsoft.com/office/drawing/2014/main" id="{BCD3A5AA-FCB9-45E8-972A-B21DBC20E535}"/>
              </a:ext>
            </a:extLst>
          </p:cNvPr>
          <p:cNvSpPr/>
          <p:nvPr/>
        </p:nvSpPr>
        <p:spPr>
          <a:xfrm>
            <a:off x="10021893" y="5058586"/>
            <a:ext cx="1487483" cy="64294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3333FF"/>
                </a:solidFill>
                <a:latin typeface="黑体" pitchFamily="49" charset="-122"/>
                <a:ea typeface="黑体" pitchFamily="49" charset="-122"/>
              </a:rPr>
              <a:t>自动上瓶</a:t>
            </a:r>
          </a:p>
        </p:txBody>
      </p:sp>
    </p:spTree>
    <p:extLst>
      <p:ext uri="{BB962C8B-B14F-4D97-AF65-F5344CB8AC3E}">
        <p14:creationId xmlns:p14="http://schemas.microsoft.com/office/powerpoint/2010/main" val="1496689849"/>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4276875B-17BF-498E-97C3-B7508236A24F}"/>
              </a:ext>
            </a:extLst>
          </p:cNvPr>
          <p:cNvSpPr/>
          <p:nvPr/>
        </p:nvSpPr>
        <p:spPr>
          <a:xfrm>
            <a:off x="603325" y="204747"/>
            <a:ext cx="7289175" cy="452240"/>
          </a:xfrm>
          <a:prstGeom prst="rect">
            <a:avLst/>
          </a:prstGeom>
        </p:spPr>
        <p:txBody>
          <a:bodyPr wrap="none">
            <a:spAutoFit/>
          </a:bodyPr>
          <a:lstStyle/>
          <a:p>
            <a:pPr marL="177800">
              <a:lnSpc>
                <a:spcPts val="2600"/>
              </a:lnSpc>
              <a:defRPr/>
            </a:pPr>
            <a:r>
              <a:rPr lang="zh-CN" altLang="en-US" sz="3600" b="1" dirty="0">
                <a:solidFill>
                  <a:srgbClr val="0070C0"/>
                </a:solidFill>
                <a:latin typeface="+mj-ea"/>
                <a:ea typeface="+mj-ea"/>
              </a:rPr>
              <a:t>辅助工艺自动化（无菌自动转运）</a:t>
            </a:r>
          </a:p>
        </p:txBody>
      </p:sp>
      <p:pic>
        <p:nvPicPr>
          <p:cNvPr id="5" name="Picture 2">
            <a:extLst>
              <a:ext uri="{FF2B5EF4-FFF2-40B4-BE49-F238E27FC236}">
                <a16:creationId xmlns:a16="http://schemas.microsoft.com/office/drawing/2014/main" id="{1BE8FDD5-D845-485D-BD1B-32625FCE6266}"/>
              </a:ext>
            </a:extLst>
          </p:cNvPr>
          <p:cNvPicPr>
            <a:picLocks noChangeAspect="1" noChangeArrowheads="1"/>
          </p:cNvPicPr>
          <p:nvPr/>
        </p:nvPicPr>
        <p:blipFill>
          <a:blip r:embed="rId2"/>
          <a:srcRect/>
          <a:stretch>
            <a:fillRect/>
          </a:stretch>
        </p:blipFill>
        <p:spPr bwMode="auto">
          <a:xfrm>
            <a:off x="6457070" y="1463260"/>
            <a:ext cx="4301661" cy="2687788"/>
          </a:xfrm>
          <a:prstGeom prst="rect">
            <a:avLst/>
          </a:prstGeom>
          <a:noFill/>
          <a:ln w="9525">
            <a:noFill/>
            <a:miter lim="800000"/>
            <a:headEnd/>
            <a:tailEnd/>
          </a:ln>
          <a:effectLst>
            <a:prstShdw prst="shdw17" dist="17961" dir="2700000">
              <a:schemeClr val="accent1">
                <a:gamma/>
                <a:shade val="60000"/>
                <a:invGamma/>
              </a:schemeClr>
            </a:prstShdw>
          </a:effectLst>
        </p:spPr>
      </p:pic>
      <p:sp>
        <p:nvSpPr>
          <p:cNvPr id="7" name="箭头: 右 6">
            <a:extLst>
              <a:ext uri="{FF2B5EF4-FFF2-40B4-BE49-F238E27FC236}">
                <a16:creationId xmlns:a16="http://schemas.microsoft.com/office/drawing/2014/main" id="{F1C291E3-A67A-4751-9938-E1D93989D47C}"/>
              </a:ext>
            </a:extLst>
          </p:cNvPr>
          <p:cNvSpPr/>
          <p:nvPr/>
        </p:nvSpPr>
        <p:spPr>
          <a:xfrm>
            <a:off x="5225418" y="2554242"/>
            <a:ext cx="696685" cy="5058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Picture 3">
            <a:extLst>
              <a:ext uri="{FF2B5EF4-FFF2-40B4-BE49-F238E27FC236}">
                <a16:creationId xmlns:a16="http://schemas.microsoft.com/office/drawing/2014/main" id="{61B44F5D-49F3-4865-8AFB-D27425DD708C}"/>
              </a:ext>
            </a:extLst>
          </p:cNvPr>
          <p:cNvPicPr>
            <a:picLocks noChangeAspect="1" noChangeArrowheads="1"/>
          </p:cNvPicPr>
          <p:nvPr/>
        </p:nvPicPr>
        <p:blipFill>
          <a:blip r:embed="rId3"/>
          <a:srcRect/>
          <a:stretch>
            <a:fillRect/>
          </a:stretch>
        </p:blipFill>
        <p:spPr bwMode="auto">
          <a:xfrm>
            <a:off x="768747" y="1512144"/>
            <a:ext cx="3921705" cy="2638904"/>
          </a:xfrm>
          <a:prstGeom prst="rect">
            <a:avLst/>
          </a:prstGeom>
          <a:noFill/>
          <a:ln w="9525">
            <a:noFill/>
            <a:miter lim="800000"/>
            <a:headEnd/>
            <a:tailEnd/>
          </a:ln>
          <a:effectLst>
            <a:prstShdw prst="shdw17" dist="17961" dir="2700000">
              <a:schemeClr val="accent1">
                <a:gamma/>
                <a:shade val="60000"/>
                <a:invGamma/>
              </a:schemeClr>
            </a:prstShdw>
          </a:effectLst>
        </p:spPr>
      </p:pic>
      <p:sp>
        <p:nvSpPr>
          <p:cNvPr id="10" name="圆角矩形 12">
            <a:extLst>
              <a:ext uri="{FF2B5EF4-FFF2-40B4-BE49-F238E27FC236}">
                <a16:creationId xmlns:a16="http://schemas.microsoft.com/office/drawing/2014/main" id="{B4415E35-267F-4F66-BB0A-4626D616A52B}"/>
              </a:ext>
            </a:extLst>
          </p:cNvPr>
          <p:cNvSpPr/>
          <p:nvPr/>
        </p:nvSpPr>
        <p:spPr>
          <a:xfrm>
            <a:off x="2357200" y="4957321"/>
            <a:ext cx="1815575" cy="64294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3333FF"/>
                </a:solidFill>
                <a:latin typeface="黑体" pitchFamily="49" charset="-122"/>
                <a:ea typeface="黑体" pitchFamily="49" charset="-122"/>
              </a:rPr>
              <a:t>胶塞清洗</a:t>
            </a:r>
          </a:p>
        </p:txBody>
      </p:sp>
      <p:sp>
        <p:nvSpPr>
          <p:cNvPr id="11" name="圆角矩形 13">
            <a:extLst>
              <a:ext uri="{FF2B5EF4-FFF2-40B4-BE49-F238E27FC236}">
                <a16:creationId xmlns:a16="http://schemas.microsoft.com/office/drawing/2014/main" id="{0819992F-8323-48AC-B34E-CD4665B9D504}"/>
              </a:ext>
            </a:extLst>
          </p:cNvPr>
          <p:cNvSpPr/>
          <p:nvPr/>
        </p:nvSpPr>
        <p:spPr>
          <a:xfrm>
            <a:off x="5030030" y="4957321"/>
            <a:ext cx="1815575" cy="64294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3333FF"/>
                </a:solidFill>
                <a:latin typeface="黑体" pitchFamily="49" charset="-122"/>
                <a:ea typeface="黑体" pitchFamily="49" charset="-122"/>
              </a:rPr>
              <a:t>无菌转运</a:t>
            </a:r>
          </a:p>
        </p:txBody>
      </p:sp>
      <p:sp>
        <p:nvSpPr>
          <p:cNvPr id="12" name="右箭头 31">
            <a:extLst>
              <a:ext uri="{FF2B5EF4-FFF2-40B4-BE49-F238E27FC236}">
                <a16:creationId xmlns:a16="http://schemas.microsoft.com/office/drawing/2014/main" id="{93A97D5F-DD68-44A3-9ED4-B0C88E7D21F3}"/>
              </a:ext>
            </a:extLst>
          </p:cNvPr>
          <p:cNvSpPr/>
          <p:nvPr/>
        </p:nvSpPr>
        <p:spPr>
          <a:xfrm>
            <a:off x="4387089" y="5171635"/>
            <a:ext cx="500066" cy="2857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圆角矩形 13">
            <a:extLst>
              <a:ext uri="{FF2B5EF4-FFF2-40B4-BE49-F238E27FC236}">
                <a16:creationId xmlns:a16="http://schemas.microsoft.com/office/drawing/2014/main" id="{8F3DB145-C46C-4B4C-9C56-5B2576606C73}"/>
              </a:ext>
            </a:extLst>
          </p:cNvPr>
          <p:cNvSpPr/>
          <p:nvPr/>
        </p:nvSpPr>
        <p:spPr>
          <a:xfrm>
            <a:off x="7558807" y="4928084"/>
            <a:ext cx="1815575" cy="64294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rgbClr val="3333FF"/>
                </a:solidFill>
                <a:latin typeface="黑体" pitchFamily="49" charset="-122"/>
                <a:ea typeface="黑体" pitchFamily="49" charset="-122"/>
              </a:rPr>
              <a:t>自动对接</a:t>
            </a:r>
          </a:p>
        </p:txBody>
      </p:sp>
      <p:sp>
        <p:nvSpPr>
          <p:cNvPr id="14" name="右箭头 30">
            <a:extLst>
              <a:ext uri="{FF2B5EF4-FFF2-40B4-BE49-F238E27FC236}">
                <a16:creationId xmlns:a16="http://schemas.microsoft.com/office/drawing/2014/main" id="{10CDB74B-7B4C-462D-A546-B5DE8FD2B065}"/>
              </a:ext>
            </a:extLst>
          </p:cNvPr>
          <p:cNvSpPr/>
          <p:nvPr/>
        </p:nvSpPr>
        <p:spPr>
          <a:xfrm>
            <a:off x="6904649" y="5135916"/>
            <a:ext cx="500066" cy="2857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69715164"/>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4276875B-17BF-498E-97C3-B7508236A24F}"/>
              </a:ext>
            </a:extLst>
          </p:cNvPr>
          <p:cNvSpPr/>
          <p:nvPr/>
        </p:nvSpPr>
        <p:spPr>
          <a:xfrm>
            <a:off x="603325" y="204747"/>
            <a:ext cx="4519186" cy="452240"/>
          </a:xfrm>
          <a:prstGeom prst="rect">
            <a:avLst/>
          </a:prstGeom>
        </p:spPr>
        <p:txBody>
          <a:bodyPr wrap="none">
            <a:spAutoFit/>
          </a:bodyPr>
          <a:lstStyle/>
          <a:p>
            <a:pPr marL="177800">
              <a:lnSpc>
                <a:spcPts val="2600"/>
              </a:lnSpc>
              <a:defRPr/>
            </a:pPr>
            <a:r>
              <a:rPr lang="zh-CN" altLang="en-US" sz="3600" b="1" dirty="0">
                <a:solidFill>
                  <a:srgbClr val="0070C0"/>
                </a:solidFill>
                <a:latin typeface="+mj-ea"/>
                <a:ea typeface="+mj-ea"/>
              </a:rPr>
              <a:t>企业自动化平台构建</a:t>
            </a:r>
          </a:p>
        </p:txBody>
      </p:sp>
      <p:pic>
        <p:nvPicPr>
          <p:cNvPr id="3" name="图片 2">
            <a:extLst>
              <a:ext uri="{FF2B5EF4-FFF2-40B4-BE49-F238E27FC236}">
                <a16:creationId xmlns:a16="http://schemas.microsoft.com/office/drawing/2014/main" id="{C2C1352A-EED6-4D24-8F89-438A189EB63A}"/>
              </a:ext>
            </a:extLst>
          </p:cNvPr>
          <p:cNvPicPr>
            <a:picLocks noChangeAspect="1"/>
          </p:cNvPicPr>
          <p:nvPr/>
        </p:nvPicPr>
        <p:blipFill>
          <a:blip r:embed="rId2"/>
          <a:stretch>
            <a:fillRect/>
          </a:stretch>
        </p:blipFill>
        <p:spPr>
          <a:xfrm>
            <a:off x="2555997" y="983420"/>
            <a:ext cx="8626500" cy="5541258"/>
          </a:xfrm>
          <a:prstGeom prst="rect">
            <a:avLst/>
          </a:prstGeom>
        </p:spPr>
      </p:pic>
      <p:sp>
        <p:nvSpPr>
          <p:cNvPr id="4" name="文本框 3">
            <a:extLst>
              <a:ext uri="{FF2B5EF4-FFF2-40B4-BE49-F238E27FC236}">
                <a16:creationId xmlns:a16="http://schemas.microsoft.com/office/drawing/2014/main" id="{9E0D9D85-6490-417A-A079-3968C6895F74}"/>
              </a:ext>
            </a:extLst>
          </p:cNvPr>
          <p:cNvSpPr txBox="1"/>
          <p:nvPr/>
        </p:nvSpPr>
        <p:spPr>
          <a:xfrm>
            <a:off x="182880" y="1350498"/>
            <a:ext cx="2011680" cy="923330"/>
          </a:xfrm>
          <a:prstGeom prst="rect">
            <a:avLst/>
          </a:prstGeom>
          <a:noFill/>
        </p:spPr>
        <p:txBody>
          <a:bodyPr wrap="square" rtlCol="0">
            <a:spAutoFit/>
          </a:bodyPr>
          <a:lstStyle/>
          <a:p>
            <a:pPr marL="285750" indent="-285750">
              <a:buFont typeface="Wingdings" panose="05000000000000000000" pitchFamily="2" charset="2"/>
              <a:buChar char="ü"/>
            </a:pPr>
            <a:r>
              <a:rPr lang="en-US" altLang="zh-CN" dirty="0"/>
              <a:t>BAS</a:t>
            </a:r>
            <a:r>
              <a:rPr lang="zh-CN" altLang="en-US" dirty="0"/>
              <a:t>系统</a:t>
            </a:r>
            <a:endParaRPr lang="en-US" altLang="zh-CN" dirty="0"/>
          </a:p>
          <a:p>
            <a:pPr marL="285750" indent="-285750">
              <a:buFont typeface="Wingdings" panose="05000000000000000000" pitchFamily="2" charset="2"/>
              <a:buChar char="ü"/>
            </a:pPr>
            <a:r>
              <a:rPr lang="en-US" altLang="zh-CN" dirty="0"/>
              <a:t>EMS</a:t>
            </a:r>
            <a:r>
              <a:rPr lang="zh-CN" altLang="en-US" dirty="0"/>
              <a:t>系统</a:t>
            </a:r>
            <a:endParaRPr lang="en-US" altLang="zh-CN" dirty="0"/>
          </a:p>
          <a:p>
            <a:pPr marL="285750" indent="-285750">
              <a:buFont typeface="Wingdings" panose="05000000000000000000" pitchFamily="2" charset="2"/>
              <a:buChar char="ü"/>
            </a:pPr>
            <a:r>
              <a:rPr lang="zh-CN" altLang="en-US" dirty="0"/>
              <a:t>集中监控系统</a:t>
            </a:r>
          </a:p>
        </p:txBody>
      </p:sp>
      <p:sp>
        <p:nvSpPr>
          <p:cNvPr id="6" name="文本框 5">
            <a:extLst>
              <a:ext uri="{FF2B5EF4-FFF2-40B4-BE49-F238E27FC236}">
                <a16:creationId xmlns:a16="http://schemas.microsoft.com/office/drawing/2014/main" id="{E5B45B95-3A84-47BC-A026-3DE9EB38DEC0}"/>
              </a:ext>
            </a:extLst>
          </p:cNvPr>
          <p:cNvSpPr txBox="1"/>
          <p:nvPr/>
        </p:nvSpPr>
        <p:spPr>
          <a:xfrm>
            <a:off x="288387" y="3754049"/>
            <a:ext cx="1800665" cy="369332"/>
          </a:xfrm>
          <a:prstGeom prst="rect">
            <a:avLst/>
          </a:prstGeom>
          <a:noFill/>
        </p:spPr>
        <p:txBody>
          <a:bodyPr wrap="square" rtlCol="0">
            <a:spAutoFit/>
          </a:bodyPr>
          <a:lstStyle/>
          <a:p>
            <a:r>
              <a:rPr lang="zh-CN" altLang="en-US" b="1" dirty="0">
                <a:solidFill>
                  <a:srgbClr val="FF0000"/>
                </a:solidFill>
                <a:latin typeface="+mj-ea"/>
                <a:ea typeface="+mj-ea"/>
              </a:rPr>
              <a:t>生产过程可视化</a:t>
            </a:r>
          </a:p>
        </p:txBody>
      </p:sp>
    </p:spTree>
    <p:extLst>
      <p:ext uri="{BB962C8B-B14F-4D97-AF65-F5344CB8AC3E}">
        <p14:creationId xmlns:p14="http://schemas.microsoft.com/office/powerpoint/2010/main" val="669958711"/>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4276875B-17BF-498E-97C3-B7508236A24F}"/>
              </a:ext>
            </a:extLst>
          </p:cNvPr>
          <p:cNvSpPr/>
          <p:nvPr/>
        </p:nvSpPr>
        <p:spPr>
          <a:xfrm>
            <a:off x="603325" y="204747"/>
            <a:ext cx="4980851" cy="452240"/>
          </a:xfrm>
          <a:prstGeom prst="rect">
            <a:avLst/>
          </a:prstGeom>
        </p:spPr>
        <p:txBody>
          <a:bodyPr wrap="none">
            <a:spAutoFit/>
          </a:bodyPr>
          <a:lstStyle/>
          <a:p>
            <a:pPr marL="177800">
              <a:lnSpc>
                <a:spcPts val="2600"/>
              </a:lnSpc>
              <a:defRPr/>
            </a:pPr>
            <a:r>
              <a:rPr lang="zh-CN" altLang="en-US" sz="3600" b="1" dirty="0">
                <a:solidFill>
                  <a:srgbClr val="0070C0"/>
                </a:solidFill>
                <a:latin typeface="+mj-ea"/>
                <a:ea typeface="+mj-ea"/>
              </a:rPr>
              <a:t>自动化生产带来的红利</a:t>
            </a:r>
          </a:p>
        </p:txBody>
      </p:sp>
      <p:sp>
        <p:nvSpPr>
          <p:cNvPr id="3" name="矩形 2">
            <a:extLst>
              <a:ext uri="{FF2B5EF4-FFF2-40B4-BE49-F238E27FC236}">
                <a16:creationId xmlns:a16="http://schemas.microsoft.com/office/drawing/2014/main" id="{8E0A24EE-3C3E-4613-9537-27A1AD38D423}"/>
              </a:ext>
            </a:extLst>
          </p:cNvPr>
          <p:cNvSpPr/>
          <p:nvPr/>
        </p:nvSpPr>
        <p:spPr>
          <a:xfrm>
            <a:off x="2990013" y="1562817"/>
            <a:ext cx="8143932" cy="1384995"/>
          </a:xfrm>
          <a:prstGeom prst="rect">
            <a:avLst/>
          </a:prstGeom>
        </p:spPr>
        <p:txBody>
          <a:bodyPr wrap="square">
            <a:spAutoFit/>
          </a:bodyPr>
          <a:lstStyle/>
          <a:p>
            <a:pPr>
              <a:buFont typeface="Wingdings" pitchFamily="2" charset="2"/>
              <a:buChar char="u"/>
            </a:pPr>
            <a:endParaRPr lang="en-US" altLang="zh-CN" sz="2800" b="1" dirty="0">
              <a:latin typeface="微软雅黑" pitchFamily="34" charset="-122"/>
              <a:ea typeface="微软雅黑" pitchFamily="34" charset="-122"/>
              <a:cs typeface="Times New Roman" pitchFamily="18" charset="0"/>
            </a:endParaRPr>
          </a:p>
          <a:p>
            <a:pPr>
              <a:buFont typeface="Wingdings" pitchFamily="2" charset="2"/>
              <a:buChar char="u"/>
            </a:pPr>
            <a:endParaRPr lang="en-US" altLang="zh-CN" sz="2800" b="1" dirty="0">
              <a:latin typeface="微软雅黑" pitchFamily="34" charset="-122"/>
              <a:ea typeface="微软雅黑" pitchFamily="34" charset="-122"/>
              <a:cs typeface="Times New Roman" pitchFamily="18" charset="0"/>
            </a:endParaRPr>
          </a:p>
          <a:p>
            <a:pPr>
              <a:buFont typeface="Wingdings" pitchFamily="2" charset="2"/>
              <a:buChar char="u"/>
            </a:pPr>
            <a:endParaRPr lang="zh-CN" altLang="en-US" sz="2800" b="1" dirty="0">
              <a:latin typeface="Times New Roman" pitchFamily="18" charset="0"/>
              <a:ea typeface="微软雅黑" pitchFamily="34" charset="-122"/>
            </a:endParaRPr>
          </a:p>
        </p:txBody>
      </p:sp>
      <p:sp>
        <p:nvSpPr>
          <p:cNvPr id="4" name="椭圆 3">
            <a:extLst>
              <a:ext uri="{FF2B5EF4-FFF2-40B4-BE49-F238E27FC236}">
                <a16:creationId xmlns:a16="http://schemas.microsoft.com/office/drawing/2014/main" id="{369F8302-6E91-48C3-BAB5-29C277C073BB}"/>
              </a:ext>
            </a:extLst>
          </p:cNvPr>
          <p:cNvSpPr/>
          <p:nvPr/>
        </p:nvSpPr>
        <p:spPr>
          <a:xfrm>
            <a:off x="3204327" y="1777131"/>
            <a:ext cx="2786082" cy="200026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srgbClr val="FF0000"/>
                </a:solidFill>
                <a:latin typeface="微软雅黑" pitchFamily="34" charset="-122"/>
                <a:ea typeface="微软雅黑" pitchFamily="34" charset="-122"/>
                <a:cs typeface="Times New Roman" pitchFamily="18" charset="0"/>
              </a:rPr>
              <a:t>效率</a:t>
            </a:r>
            <a:endParaRPr lang="en-US" altLang="zh-CN" sz="2400" b="1" dirty="0">
              <a:solidFill>
                <a:srgbClr val="FF0000"/>
              </a:solidFill>
              <a:latin typeface="微软雅黑" pitchFamily="34" charset="-122"/>
              <a:ea typeface="微软雅黑" pitchFamily="34" charset="-122"/>
              <a:cs typeface="Times New Roman" pitchFamily="18" charset="0"/>
            </a:endParaRPr>
          </a:p>
          <a:p>
            <a:pPr algn="ctr"/>
            <a:r>
              <a:rPr lang="zh-CN" altLang="en-US" b="1" dirty="0">
                <a:solidFill>
                  <a:srgbClr val="FF0000"/>
                </a:solidFill>
                <a:latin typeface="微软雅黑" pitchFamily="34" charset="-122"/>
                <a:ea typeface="微软雅黑" pitchFamily="34" charset="-122"/>
                <a:cs typeface="Times New Roman" pitchFamily="18" charset="0"/>
              </a:rPr>
              <a:t>（一个批次由</a:t>
            </a:r>
            <a:r>
              <a:rPr lang="en-US" altLang="zh-CN" b="1" dirty="0">
                <a:solidFill>
                  <a:srgbClr val="FF0000"/>
                </a:solidFill>
                <a:latin typeface="微软雅黑" pitchFamily="34" charset="-122"/>
                <a:ea typeface="微软雅黑" pitchFamily="34" charset="-122"/>
                <a:cs typeface="Times New Roman" pitchFamily="18" charset="0"/>
              </a:rPr>
              <a:t>3-4</a:t>
            </a:r>
            <a:r>
              <a:rPr lang="zh-CN" altLang="en-US" b="1" dirty="0">
                <a:solidFill>
                  <a:srgbClr val="FF0000"/>
                </a:solidFill>
                <a:latin typeface="微软雅黑" pitchFamily="34" charset="-122"/>
                <a:ea typeface="微软雅黑" pitchFamily="34" charset="-122"/>
                <a:cs typeface="Times New Roman" pitchFamily="18" charset="0"/>
              </a:rPr>
              <a:t>天缩短到</a:t>
            </a:r>
            <a:r>
              <a:rPr lang="en-US" altLang="zh-CN" b="1" dirty="0">
                <a:solidFill>
                  <a:srgbClr val="FF0000"/>
                </a:solidFill>
                <a:latin typeface="微软雅黑" pitchFamily="34" charset="-122"/>
                <a:ea typeface="微软雅黑" pitchFamily="34" charset="-122"/>
                <a:cs typeface="Times New Roman" pitchFamily="18" charset="0"/>
              </a:rPr>
              <a:t>12</a:t>
            </a:r>
            <a:r>
              <a:rPr lang="zh-CN" altLang="en-US" b="1" dirty="0">
                <a:solidFill>
                  <a:srgbClr val="FF0000"/>
                </a:solidFill>
                <a:latin typeface="微软雅黑" pitchFamily="34" charset="-122"/>
                <a:ea typeface="微软雅黑" pitchFamily="34" charset="-122"/>
                <a:cs typeface="Times New Roman" pitchFamily="18" charset="0"/>
              </a:rPr>
              <a:t>小时）</a:t>
            </a:r>
            <a:endParaRPr lang="en-US" altLang="zh-CN" b="1" dirty="0">
              <a:solidFill>
                <a:srgbClr val="FF0000"/>
              </a:solidFill>
              <a:latin typeface="微软雅黑" pitchFamily="34" charset="-122"/>
              <a:ea typeface="微软雅黑" pitchFamily="34" charset="-122"/>
              <a:cs typeface="Times New Roman" pitchFamily="18" charset="0"/>
            </a:endParaRPr>
          </a:p>
        </p:txBody>
      </p:sp>
      <p:sp>
        <p:nvSpPr>
          <p:cNvPr id="5" name="十字箭头 15">
            <a:extLst>
              <a:ext uri="{FF2B5EF4-FFF2-40B4-BE49-F238E27FC236}">
                <a16:creationId xmlns:a16="http://schemas.microsoft.com/office/drawing/2014/main" id="{03A0A309-47C8-40C9-83B1-BE6080D07261}"/>
              </a:ext>
            </a:extLst>
          </p:cNvPr>
          <p:cNvSpPr/>
          <p:nvPr/>
        </p:nvSpPr>
        <p:spPr>
          <a:xfrm>
            <a:off x="6061847" y="2947812"/>
            <a:ext cx="2286016" cy="2214578"/>
          </a:xfrm>
          <a:prstGeom prst="quad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b="1" dirty="0">
                <a:solidFill>
                  <a:srgbClr val="000000"/>
                </a:solidFill>
                <a:latin typeface="微软雅黑" pitchFamily="34" charset="-122"/>
                <a:ea typeface="微软雅黑" pitchFamily="34" charset="-122"/>
                <a:sym typeface="微软雅黑" pitchFamily="34" charset="-122"/>
              </a:rPr>
              <a:t>    </a:t>
            </a:r>
            <a:r>
              <a:rPr lang="zh-CN" altLang="en-US" sz="2000" b="1" dirty="0">
                <a:solidFill>
                  <a:schemeClr val="bg1">
                    <a:lumMod val="95000"/>
                  </a:schemeClr>
                </a:solidFill>
                <a:latin typeface="微软雅黑" pitchFamily="34" charset="-122"/>
                <a:ea typeface="微软雅黑" pitchFamily="34" charset="-122"/>
                <a:sym typeface="微软雅黑" pitchFamily="34" charset="-122"/>
              </a:rPr>
              <a:t>自动化</a:t>
            </a:r>
          </a:p>
        </p:txBody>
      </p:sp>
      <p:sp>
        <p:nvSpPr>
          <p:cNvPr id="6" name="椭圆 5">
            <a:extLst>
              <a:ext uri="{FF2B5EF4-FFF2-40B4-BE49-F238E27FC236}">
                <a16:creationId xmlns:a16="http://schemas.microsoft.com/office/drawing/2014/main" id="{BCB0D1EF-91D4-457D-B845-846F9EE657AC}"/>
              </a:ext>
            </a:extLst>
          </p:cNvPr>
          <p:cNvSpPr/>
          <p:nvPr/>
        </p:nvSpPr>
        <p:spPr>
          <a:xfrm>
            <a:off x="3275765" y="4277461"/>
            <a:ext cx="2786082" cy="200026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srgbClr val="FF0000"/>
                </a:solidFill>
                <a:latin typeface="微软雅黑" pitchFamily="34" charset="-122"/>
                <a:ea typeface="微软雅黑" pitchFamily="34" charset="-122"/>
                <a:cs typeface="Times New Roman" pitchFamily="18" charset="0"/>
              </a:rPr>
              <a:t>质量</a:t>
            </a:r>
            <a:endParaRPr lang="en-US" altLang="zh-CN" sz="2400" b="1" dirty="0">
              <a:solidFill>
                <a:srgbClr val="FF0000"/>
              </a:solidFill>
              <a:latin typeface="微软雅黑" pitchFamily="34" charset="-122"/>
              <a:ea typeface="微软雅黑" pitchFamily="34" charset="-122"/>
              <a:cs typeface="Times New Roman" pitchFamily="18" charset="0"/>
            </a:endParaRPr>
          </a:p>
          <a:p>
            <a:pPr algn="ctr"/>
            <a:r>
              <a:rPr lang="zh-CN" altLang="en-US" sz="1600" b="1" dirty="0">
                <a:solidFill>
                  <a:srgbClr val="FF0000"/>
                </a:solidFill>
                <a:latin typeface="微软雅黑" pitchFamily="34" charset="-122"/>
                <a:ea typeface="微软雅黑" pitchFamily="34" charset="-122"/>
                <a:cs typeface="Times New Roman" pitchFamily="18" charset="0"/>
              </a:rPr>
              <a:t>（工艺重复性更高、检测更准确，更好保证产品质量）</a:t>
            </a:r>
            <a:endParaRPr lang="en-US" altLang="zh-CN" sz="1600" b="1" dirty="0">
              <a:solidFill>
                <a:srgbClr val="FF0000"/>
              </a:solidFill>
              <a:latin typeface="微软雅黑" pitchFamily="34" charset="-122"/>
              <a:ea typeface="微软雅黑" pitchFamily="34" charset="-122"/>
              <a:cs typeface="Times New Roman" pitchFamily="18" charset="0"/>
            </a:endParaRPr>
          </a:p>
        </p:txBody>
      </p:sp>
      <p:sp>
        <p:nvSpPr>
          <p:cNvPr id="7" name="椭圆 6">
            <a:extLst>
              <a:ext uri="{FF2B5EF4-FFF2-40B4-BE49-F238E27FC236}">
                <a16:creationId xmlns:a16="http://schemas.microsoft.com/office/drawing/2014/main" id="{AA4C88B8-384F-409E-B423-6C4353856319}"/>
              </a:ext>
            </a:extLst>
          </p:cNvPr>
          <p:cNvSpPr/>
          <p:nvPr/>
        </p:nvSpPr>
        <p:spPr>
          <a:xfrm>
            <a:off x="8133549" y="1705693"/>
            <a:ext cx="2786082" cy="200026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Font typeface="Wingdings" pitchFamily="2" charset="2"/>
              <a:buChar char="u"/>
            </a:pPr>
            <a:r>
              <a:rPr lang="zh-CN" altLang="en-US" b="1" dirty="0">
                <a:latin typeface="微软雅黑" pitchFamily="34" charset="-122"/>
                <a:ea typeface="微软雅黑" pitchFamily="34" charset="-122"/>
                <a:cs typeface="Times New Roman" pitchFamily="18" charset="0"/>
              </a:rPr>
              <a:t>依据市场化规 </a:t>
            </a:r>
            <a:r>
              <a:rPr lang="zh-CN" altLang="en-US" sz="2400" b="1" dirty="0">
                <a:solidFill>
                  <a:srgbClr val="FF0000"/>
                </a:solidFill>
                <a:latin typeface="微软雅黑" pitchFamily="34" charset="-122"/>
                <a:ea typeface="微软雅黑" pitchFamily="34" charset="-122"/>
                <a:cs typeface="Times New Roman" pitchFamily="18" charset="0"/>
              </a:rPr>
              <a:t>成本</a:t>
            </a:r>
            <a:endParaRPr lang="en-US" altLang="zh-CN" sz="2400" b="1" dirty="0">
              <a:solidFill>
                <a:srgbClr val="FF0000"/>
              </a:solidFill>
              <a:latin typeface="微软雅黑" pitchFamily="34" charset="-122"/>
              <a:ea typeface="微软雅黑" pitchFamily="34" charset="-122"/>
              <a:cs typeface="Times New Roman" pitchFamily="18" charset="0"/>
            </a:endParaRPr>
          </a:p>
          <a:p>
            <a:pPr algn="ctr"/>
            <a:r>
              <a:rPr lang="zh-CN" altLang="en-US" b="1" dirty="0">
                <a:solidFill>
                  <a:srgbClr val="FF0000"/>
                </a:solidFill>
                <a:latin typeface="微软雅黑" pitchFamily="34" charset="-122"/>
                <a:ea typeface="微软雅黑" pitchFamily="34" charset="-122"/>
                <a:cs typeface="Times New Roman" pitchFamily="18" charset="0"/>
              </a:rPr>
              <a:t>（由</a:t>
            </a:r>
            <a:r>
              <a:rPr lang="en-US" altLang="zh-CN" b="1" dirty="0">
                <a:solidFill>
                  <a:srgbClr val="FF0000"/>
                </a:solidFill>
                <a:latin typeface="微软雅黑" pitchFamily="34" charset="-122"/>
                <a:ea typeface="微软雅黑" pitchFamily="34" charset="-122"/>
                <a:cs typeface="Times New Roman" pitchFamily="18" charset="0"/>
              </a:rPr>
              <a:t>30</a:t>
            </a:r>
            <a:r>
              <a:rPr lang="zh-CN" altLang="en-US" b="1" dirty="0">
                <a:solidFill>
                  <a:srgbClr val="FF0000"/>
                </a:solidFill>
                <a:latin typeface="微软雅黑" pitchFamily="34" charset="-122"/>
                <a:ea typeface="微软雅黑" pitchFamily="34" charset="-122"/>
                <a:cs typeface="Times New Roman" pitchFamily="18" charset="0"/>
              </a:rPr>
              <a:t>人减少到</a:t>
            </a:r>
            <a:r>
              <a:rPr lang="en-US" altLang="zh-CN" b="1" dirty="0">
                <a:solidFill>
                  <a:srgbClr val="FF0000"/>
                </a:solidFill>
                <a:latin typeface="微软雅黑" pitchFamily="34" charset="-122"/>
                <a:ea typeface="微软雅黑" pitchFamily="34" charset="-122"/>
                <a:cs typeface="Times New Roman" pitchFamily="18" charset="0"/>
              </a:rPr>
              <a:t>4-5</a:t>
            </a:r>
            <a:r>
              <a:rPr lang="zh-CN" altLang="en-US" b="1" dirty="0">
                <a:solidFill>
                  <a:srgbClr val="FF0000"/>
                </a:solidFill>
                <a:latin typeface="微软雅黑" pitchFamily="34" charset="-122"/>
                <a:ea typeface="微软雅黑" pitchFamily="34" charset="-122"/>
                <a:cs typeface="Times New Roman" pitchFamily="18" charset="0"/>
              </a:rPr>
              <a:t>人）</a:t>
            </a:r>
            <a:endParaRPr lang="en-US" altLang="zh-CN" b="1" dirty="0">
              <a:solidFill>
                <a:srgbClr val="FF0000"/>
              </a:solidFill>
              <a:latin typeface="微软雅黑" pitchFamily="34" charset="-122"/>
              <a:ea typeface="微软雅黑" pitchFamily="34" charset="-122"/>
              <a:cs typeface="Times New Roman" pitchFamily="18" charset="0"/>
            </a:endParaRPr>
          </a:p>
        </p:txBody>
      </p:sp>
      <p:sp>
        <p:nvSpPr>
          <p:cNvPr id="8" name="椭圆 7">
            <a:extLst>
              <a:ext uri="{FF2B5EF4-FFF2-40B4-BE49-F238E27FC236}">
                <a16:creationId xmlns:a16="http://schemas.microsoft.com/office/drawing/2014/main" id="{ED5A3B69-DFAD-441E-98D9-D68101DEE6B6}"/>
              </a:ext>
            </a:extLst>
          </p:cNvPr>
          <p:cNvSpPr/>
          <p:nvPr/>
        </p:nvSpPr>
        <p:spPr>
          <a:xfrm>
            <a:off x="8204987" y="4348899"/>
            <a:ext cx="2786082" cy="200026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r>
              <a:rPr lang="zh-CN" altLang="en-US" sz="2400" b="1" dirty="0">
                <a:solidFill>
                  <a:srgbClr val="FF0000"/>
                </a:solidFill>
                <a:latin typeface="微软雅黑" pitchFamily="34" charset="-122"/>
                <a:ea typeface="微软雅黑" pitchFamily="34" charset="-122"/>
                <a:cs typeface="Times New Roman" pitchFamily="18" charset="0"/>
              </a:rPr>
              <a:t>安全</a:t>
            </a:r>
            <a:endParaRPr lang="en-US" altLang="zh-CN" sz="2400" b="1" dirty="0">
              <a:solidFill>
                <a:srgbClr val="FF0000"/>
              </a:solidFill>
              <a:latin typeface="微软雅黑" pitchFamily="34" charset="-122"/>
              <a:ea typeface="微软雅黑" pitchFamily="34" charset="-122"/>
              <a:cs typeface="Times New Roman" pitchFamily="18" charset="0"/>
            </a:endParaRPr>
          </a:p>
          <a:p>
            <a:pPr lvl="1" algn="ctr"/>
            <a:r>
              <a:rPr lang="zh-CN" altLang="en-US" sz="2400" b="1" dirty="0">
                <a:solidFill>
                  <a:srgbClr val="FF0000"/>
                </a:solidFill>
                <a:latin typeface="微软雅黑" pitchFamily="34" charset="-122"/>
                <a:ea typeface="微软雅黑" pitchFamily="34" charset="-122"/>
                <a:cs typeface="Times New Roman" pitchFamily="18" charset="0"/>
              </a:rPr>
              <a:t>（</a:t>
            </a:r>
            <a:r>
              <a:rPr lang="zh-CN" altLang="en-US" sz="1600" b="1" dirty="0">
                <a:solidFill>
                  <a:srgbClr val="FF0000"/>
                </a:solidFill>
                <a:latin typeface="微软雅黑" pitchFamily="34" charset="-122"/>
                <a:ea typeface="微软雅黑" pitchFamily="34" charset="-122"/>
                <a:cs typeface="Times New Roman" pitchFamily="18" charset="0"/>
              </a:rPr>
              <a:t>毒性、麻醉等药品自动化生产更好保证人员安全）</a:t>
            </a:r>
            <a:endParaRPr lang="en-US" altLang="zh-CN" sz="1600" b="1" dirty="0">
              <a:solidFill>
                <a:srgbClr val="FF0000"/>
              </a:solidFill>
              <a:latin typeface="微软雅黑" pitchFamily="34" charset="-122"/>
              <a:ea typeface="微软雅黑" pitchFamily="34" charset="-122"/>
              <a:cs typeface="Times New Roman" pitchFamily="18" charset="0"/>
            </a:endParaRPr>
          </a:p>
        </p:txBody>
      </p:sp>
      <p:sp>
        <p:nvSpPr>
          <p:cNvPr id="9" name="文本框 8">
            <a:extLst>
              <a:ext uri="{FF2B5EF4-FFF2-40B4-BE49-F238E27FC236}">
                <a16:creationId xmlns:a16="http://schemas.microsoft.com/office/drawing/2014/main" id="{2AB3E80B-D42B-489F-A8C3-10B966230E8E}"/>
              </a:ext>
            </a:extLst>
          </p:cNvPr>
          <p:cNvSpPr txBox="1"/>
          <p:nvPr/>
        </p:nvSpPr>
        <p:spPr>
          <a:xfrm>
            <a:off x="812625" y="3777395"/>
            <a:ext cx="2177388" cy="369332"/>
          </a:xfrm>
          <a:prstGeom prst="rect">
            <a:avLst/>
          </a:prstGeom>
          <a:noFill/>
        </p:spPr>
        <p:txBody>
          <a:bodyPr wrap="square" rtlCol="0">
            <a:spAutoFit/>
          </a:bodyPr>
          <a:lstStyle/>
          <a:p>
            <a:r>
              <a:rPr lang="zh-CN" altLang="en-US" dirty="0">
                <a:latin typeface="+mj-ea"/>
                <a:ea typeface="+mj-ea"/>
              </a:rPr>
              <a:t>以包装过程为例：</a:t>
            </a:r>
          </a:p>
        </p:txBody>
      </p:sp>
      <p:sp>
        <p:nvSpPr>
          <p:cNvPr id="10" name="文本框 9">
            <a:extLst>
              <a:ext uri="{FF2B5EF4-FFF2-40B4-BE49-F238E27FC236}">
                <a16:creationId xmlns:a16="http://schemas.microsoft.com/office/drawing/2014/main" id="{310DDFDB-AF08-44D6-BEE1-97ECD74A6B73}"/>
              </a:ext>
            </a:extLst>
          </p:cNvPr>
          <p:cNvSpPr txBox="1"/>
          <p:nvPr/>
        </p:nvSpPr>
        <p:spPr>
          <a:xfrm>
            <a:off x="603325" y="1041009"/>
            <a:ext cx="5684933" cy="369332"/>
          </a:xfrm>
          <a:prstGeom prst="rect">
            <a:avLst/>
          </a:prstGeom>
          <a:noFill/>
        </p:spPr>
        <p:txBody>
          <a:bodyPr wrap="square" rtlCol="0">
            <a:spAutoFit/>
          </a:bodyPr>
          <a:lstStyle/>
          <a:p>
            <a:r>
              <a:rPr lang="zh-CN" altLang="en-US" b="1" dirty="0">
                <a:latin typeface="+mj-ea"/>
                <a:ea typeface="+mj-ea"/>
              </a:rPr>
              <a:t>核心：人工参与及干涉更少，更好的无菌化保证</a:t>
            </a:r>
          </a:p>
        </p:txBody>
      </p:sp>
    </p:spTree>
    <p:extLst>
      <p:ext uri="{BB962C8B-B14F-4D97-AF65-F5344CB8AC3E}">
        <p14:creationId xmlns:p14="http://schemas.microsoft.com/office/powerpoint/2010/main" val="1006722268"/>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2" descr="F:\Desktop\xxxx.png"/>
          <p:cNvPicPr>
            <a:picLocks noChangeAspect="1" noChangeArrowheads="1"/>
          </p:cNvPicPr>
          <p:nvPr/>
        </p:nvPicPr>
        <p:blipFill>
          <a:blip r:embed="rId2"/>
          <a:srcRect/>
          <a:stretch>
            <a:fillRect/>
          </a:stretch>
        </p:blipFill>
        <p:spPr bwMode="auto">
          <a:xfrm>
            <a:off x="4148138" y="2085975"/>
            <a:ext cx="6862762" cy="4410075"/>
          </a:xfrm>
          <a:prstGeom prst="rect">
            <a:avLst/>
          </a:prstGeom>
          <a:noFill/>
          <a:ln w="9525">
            <a:noFill/>
            <a:miter lim="800000"/>
            <a:headEnd/>
            <a:tailEnd/>
          </a:ln>
        </p:spPr>
      </p:pic>
      <p:sp>
        <p:nvSpPr>
          <p:cNvPr id="33795" name="文本框 14"/>
          <p:cNvSpPr txBox="1">
            <a:spLocks noChangeArrowheads="1"/>
          </p:cNvSpPr>
          <p:nvPr/>
        </p:nvSpPr>
        <p:spPr bwMode="auto">
          <a:xfrm>
            <a:off x="1073150" y="-63500"/>
            <a:ext cx="908050" cy="830263"/>
          </a:xfrm>
          <a:prstGeom prst="rect">
            <a:avLst/>
          </a:prstGeom>
          <a:noFill/>
          <a:ln w="9525">
            <a:noFill/>
            <a:miter lim="800000"/>
            <a:headEnd/>
            <a:tailEnd/>
          </a:ln>
        </p:spPr>
        <p:txBody>
          <a:bodyPr>
            <a:spAutoFit/>
          </a:bodyPr>
          <a:lstStyle/>
          <a:p>
            <a:r>
              <a:rPr lang="en-US" altLang="zh-CN" sz="4800" b="1">
                <a:solidFill>
                  <a:schemeClr val="bg1"/>
                </a:solidFill>
                <a:latin typeface="微软雅黑" pitchFamily="34" charset="-122"/>
                <a:ea typeface="微软雅黑" pitchFamily="34" charset="-122"/>
              </a:rPr>
              <a:t>1</a:t>
            </a:r>
            <a:endParaRPr lang="zh-CN" altLang="en-US" sz="4800" b="1">
              <a:solidFill>
                <a:schemeClr val="bg1"/>
              </a:solidFill>
              <a:latin typeface="微软雅黑" pitchFamily="34" charset="-122"/>
              <a:ea typeface="微软雅黑" pitchFamily="34" charset="-122"/>
            </a:endParaRPr>
          </a:p>
        </p:txBody>
      </p:sp>
      <p:sp>
        <p:nvSpPr>
          <p:cNvPr id="59" name="Rectangle 11"/>
          <p:cNvSpPr/>
          <p:nvPr/>
        </p:nvSpPr>
        <p:spPr bwMode="auto">
          <a:xfrm>
            <a:off x="635428" y="114300"/>
            <a:ext cx="3644472"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zh-CN" altLang="en-US" sz="3600" b="1" dirty="0">
                <a:solidFill>
                  <a:srgbClr val="0070C0"/>
                </a:solidFill>
                <a:latin typeface="+mj-ea"/>
                <a:ea typeface="+mj-ea"/>
              </a:rPr>
              <a:t>企业新的诉求</a:t>
            </a:r>
          </a:p>
        </p:txBody>
      </p:sp>
      <p:cxnSp>
        <p:nvCxnSpPr>
          <p:cNvPr id="27" name="直接连接符 26"/>
          <p:cNvCxnSpPr/>
          <p:nvPr/>
        </p:nvCxnSpPr>
        <p:spPr>
          <a:xfrm rot="16200000" flipH="1">
            <a:off x="6567487" y="2424113"/>
            <a:ext cx="1438275" cy="3429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flipV="1">
            <a:off x="5248275" y="4581525"/>
            <a:ext cx="1143000" cy="847725"/>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rot="16200000" flipV="1">
            <a:off x="7275513" y="4799013"/>
            <a:ext cx="1608137" cy="795337"/>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rot="10800000">
            <a:off x="9525000" y="4467225"/>
            <a:ext cx="809625" cy="352425"/>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直接连接符 46"/>
          <p:cNvCxnSpPr/>
          <p:nvPr/>
        </p:nvCxnSpPr>
        <p:spPr>
          <a:xfrm rot="5400000">
            <a:off x="8934450" y="2466975"/>
            <a:ext cx="1714500" cy="876300"/>
          </a:xfrm>
          <a:prstGeom prst="line">
            <a:avLst/>
          </a:prstGeom>
        </p:spPr>
        <p:style>
          <a:lnRef idx="1">
            <a:schemeClr val="accent1"/>
          </a:lnRef>
          <a:fillRef idx="0">
            <a:schemeClr val="accent1"/>
          </a:fillRef>
          <a:effectRef idx="0">
            <a:schemeClr val="accent1"/>
          </a:effectRef>
          <a:fontRef idx="minor">
            <a:schemeClr val="tx1"/>
          </a:fontRef>
        </p:style>
      </p:cxnSp>
      <p:pic>
        <p:nvPicPr>
          <p:cNvPr id="33804" name="Picture 4"/>
          <p:cNvPicPr>
            <a:picLocks noChangeAspect="1" noChangeArrowheads="1"/>
          </p:cNvPicPr>
          <p:nvPr/>
        </p:nvPicPr>
        <p:blipFill>
          <a:blip r:embed="rId3"/>
          <a:srcRect/>
          <a:stretch>
            <a:fillRect/>
          </a:stretch>
        </p:blipFill>
        <p:spPr bwMode="auto">
          <a:xfrm>
            <a:off x="10272713" y="4481513"/>
            <a:ext cx="447675" cy="390525"/>
          </a:xfrm>
          <a:prstGeom prst="rect">
            <a:avLst/>
          </a:prstGeom>
          <a:noFill/>
          <a:ln w="9525">
            <a:noFill/>
            <a:miter lim="800000"/>
            <a:headEnd/>
            <a:tailEnd/>
          </a:ln>
        </p:spPr>
      </p:pic>
      <p:pic>
        <p:nvPicPr>
          <p:cNvPr id="33805" name="Picture 5" descr="F:\Desktop\man1.png"/>
          <p:cNvPicPr>
            <a:picLocks noChangeAspect="1" noChangeArrowheads="1"/>
          </p:cNvPicPr>
          <p:nvPr/>
        </p:nvPicPr>
        <p:blipFill>
          <a:blip r:embed="rId4"/>
          <a:srcRect/>
          <a:stretch>
            <a:fillRect/>
          </a:stretch>
        </p:blipFill>
        <p:spPr bwMode="auto">
          <a:xfrm>
            <a:off x="8477250" y="5619750"/>
            <a:ext cx="628650" cy="628650"/>
          </a:xfrm>
          <a:prstGeom prst="rect">
            <a:avLst/>
          </a:prstGeom>
          <a:noFill/>
          <a:ln w="9525">
            <a:noFill/>
            <a:miter lim="800000"/>
            <a:headEnd/>
            <a:tailEnd/>
          </a:ln>
        </p:spPr>
      </p:pic>
      <p:pic>
        <p:nvPicPr>
          <p:cNvPr id="33806" name="Picture 7" descr="F:\Desktop\timg (2).png"/>
          <p:cNvPicPr>
            <a:picLocks noChangeAspect="1" noChangeArrowheads="1"/>
          </p:cNvPicPr>
          <p:nvPr/>
        </p:nvPicPr>
        <p:blipFill>
          <a:blip r:embed="rId5"/>
          <a:srcRect/>
          <a:stretch>
            <a:fillRect/>
          </a:stretch>
        </p:blipFill>
        <p:spPr bwMode="auto">
          <a:xfrm>
            <a:off x="7000875" y="1306513"/>
            <a:ext cx="511175" cy="566737"/>
          </a:xfrm>
          <a:prstGeom prst="rect">
            <a:avLst/>
          </a:prstGeom>
          <a:noFill/>
          <a:ln w="9525">
            <a:noFill/>
            <a:miter lim="800000"/>
            <a:headEnd/>
            <a:tailEnd/>
          </a:ln>
        </p:spPr>
      </p:pic>
      <p:pic>
        <p:nvPicPr>
          <p:cNvPr id="33807" name="Picture 8" descr="F:\Desktop\timg (1).png"/>
          <p:cNvPicPr>
            <a:picLocks noChangeAspect="1" noChangeArrowheads="1"/>
          </p:cNvPicPr>
          <p:nvPr/>
        </p:nvPicPr>
        <p:blipFill>
          <a:blip r:embed="rId6"/>
          <a:srcRect/>
          <a:stretch>
            <a:fillRect/>
          </a:stretch>
        </p:blipFill>
        <p:spPr bwMode="auto">
          <a:xfrm>
            <a:off x="5667375" y="5354638"/>
            <a:ext cx="457200" cy="642937"/>
          </a:xfrm>
          <a:prstGeom prst="rect">
            <a:avLst/>
          </a:prstGeom>
          <a:noFill/>
          <a:ln w="9525">
            <a:noFill/>
            <a:miter lim="800000"/>
            <a:headEnd/>
            <a:tailEnd/>
          </a:ln>
        </p:spPr>
      </p:pic>
      <p:pic>
        <p:nvPicPr>
          <p:cNvPr id="33808" name="Picture 9"/>
          <p:cNvPicPr>
            <a:picLocks noChangeAspect="1" noChangeArrowheads="1"/>
          </p:cNvPicPr>
          <p:nvPr/>
        </p:nvPicPr>
        <p:blipFill>
          <a:blip r:embed="rId7"/>
          <a:srcRect/>
          <a:stretch>
            <a:fillRect/>
          </a:stretch>
        </p:blipFill>
        <p:spPr bwMode="auto">
          <a:xfrm>
            <a:off x="1588" y="4838700"/>
            <a:ext cx="3217862" cy="1885950"/>
          </a:xfrm>
          <a:prstGeom prst="rect">
            <a:avLst/>
          </a:prstGeom>
          <a:noFill/>
          <a:ln w="9525">
            <a:noFill/>
            <a:miter lim="800000"/>
            <a:headEnd/>
            <a:tailEnd/>
          </a:ln>
        </p:spPr>
      </p:pic>
      <p:pic>
        <p:nvPicPr>
          <p:cNvPr id="33809" name="Picture 10"/>
          <p:cNvPicPr>
            <a:picLocks noChangeAspect="1" noChangeArrowheads="1"/>
          </p:cNvPicPr>
          <p:nvPr/>
        </p:nvPicPr>
        <p:blipFill>
          <a:blip r:embed="rId8"/>
          <a:srcRect/>
          <a:stretch>
            <a:fillRect/>
          </a:stretch>
        </p:blipFill>
        <p:spPr bwMode="auto">
          <a:xfrm>
            <a:off x="10472738" y="1820863"/>
            <a:ext cx="528637" cy="441325"/>
          </a:xfrm>
          <a:prstGeom prst="rect">
            <a:avLst/>
          </a:prstGeom>
          <a:noFill/>
          <a:ln w="9525">
            <a:noFill/>
            <a:miter lim="800000"/>
            <a:headEnd/>
            <a:tailEnd/>
          </a:ln>
        </p:spPr>
      </p:pic>
      <p:sp>
        <p:nvSpPr>
          <p:cNvPr id="75" name="TextBox 74"/>
          <p:cNvSpPr txBox="1"/>
          <p:nvPr/>
        </p:nvSpPr>
        <p:spPr>
          <a:xfrm>
            <a:off x="200025" y="995363"/>
            <a:ext cx="2246313" cy="3457575"/>
          </a:xfrm>
          <a:prstGeom prst="rect">
            <a:avLst/>
          </a:prstGeom>
          <a:solidFill>
            <a:schemeClr val="accent1">
              <a:lumMod val="60000"/>
              <a:lumOff val="40000"/>
              <a:alpha val="86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defPPr>
              <a:defRPr lang="zh-CN"/>
            </a:defPPr>
            <a:lvl1pPr algn="ctr" eaLnBrk="0" hangingPunct="0">
              <a:defRPr>
                <a:solidFill>
                  <a:schemeClr val="bg2">
                    <a:lumMod val="25000"/>
                  </a:schemeClr>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algn="l">
              <a:defRPr/>
            </a:pPr>
            <a:r>
              <a:rPr lang="zh-CN" altLang="en-US" sz="1600" dirty="0">
                <a:solidFill>
                  <a:schemeClr val="bg1"/>
                </a:solidFill>
              </a:rPr>
              <a:t>生产企业面临新的问题</a:t>
            </a:r>
            <a:endParaRPr lang="en-US" altLang="zh-CN" sz="1600" dirty="0">
              <a:solidFill>
                <a:schemeClr val="bg1"/>
              </a:solidFill>
            </a:endParaRPr>
          </a:p>
          <a:p>
            <a:pPr algn="l">
              <a:defRPr/>
            </a:pPr>
            <a:endParaRPr lang="en-US" altLang="zh-CN" sz="1600" noProof="1">
              <a:solidFill>
                <a:schemeClr val="bg1"/>
              </a:solidFill>
            </a:endParaRPr>
          </a:p>
          <a:p>
            <a:pPr algn="l">
              <a:defRPr/>
            </a:pPr>
            <a:r>
              <a:rPr lang="zh-CN" altLang="en-US" sz="1600" noProof="1">
                <a:solidFill>
                  <a:schemeClr val="bg1"/>
                </a:solidFill>
              </a:rPr>
              <a:t>设备状态无法监控</a:t>
            </a:r>
            <a:endParaRPr lang="en-US" altLang="zh-CN" sz="1600" noProof="1">
              <a:solidFill>
                <a:schemeClr val="bg1"/>
              </a:solidFill>
            </a:endParaRPr>
          </a:p>
          <a:p>
            <a:pPr algn="l">
              <a:defRPr/>
            </a:pPr>
            <a:r>
              <a:rPr lang="zh-CN" altLang="en-US" sz="1600" noProof="1">
                <a:solidFill>
                  <a:schemeClr val="bg1"/>
                </a:solidFill>
              </a:rPr>
              <a:t>批次质量难以保证</a:t>
            </a:r>
            <a:endParaRPr lang="en-US" altLang="zh-CN" sz="1600" noProof="1">
              <a:solidFill>
                <a:schemeClr val="bg1"/>
              </a:solidFill>
            </a:endParaRPr>
          </a:p>
          <a:p>
            <a:pPr algn="l">
              <a:defRPr/>
            </a:pPr>
            <a:r>
              <a:rPr lang="zh-CN" altLang="en-US" sz="1600" noProof="1">
                <a:solidFill>
                  <a:schemeClr val="bg1"/>
                </a:solidFill>
              </a:rPr>
              <a:t>工单下发程序复杂</a:t>
            </a:r>
            <a:endParaRPr lang="en-US" altLang="zh-CN" sz="1600" noProof="1">
              <a:solidFill>
                <a:schemeClr val="bg1"/>
              </a:solidFill>
            </a:endParaRPr>
          </a:p>
          <a:p>
            <a:pPr algn="l">
              <a:defRPr/>
            </a:pPr>
            <a:r>
              <a:rPr lang="zh-CN" altLang="en-US" sz="1600" noProof="1">
                <a:solidFill>
                  <a:schemeClr val="bg1"/>
                </a:solidFill>
              </a:rPr>
              <a:t>月度排产如何规划</a:t>
            </a:r>
            <a:endParaRPr lang="en-US" altLang="zh-CN" sz="1600" noProof="1">
              <a:solidFill>
                <a:schemeClr val="bg1"/>
              </a:solidFill>
            </a:endParaRPr>
          </a:p>
          <a:p>
            <a:pPr algn="l">
              <a:defRPr/>
            </a:pPr>
            <a:r>
              <a:rPr lang="zh-CN" altLang="en-US" sz="1600" noProof="1">
                <a:solidFill>
                  <a:schemeClr val="bg1"/>
                </a:solidFill>
              </a:rPr>
              <a:t>工作绩效难以评定</a:t>
            </a:r>
            <a:endParaRPr lang="en-US" altLang="zh-CN" sz="1600" noProof="1">
              <a:solidFill>
                <a:schemeClr val="bg1"/>
              </a:solidFill>
            </a:endParaRPr>
          </a:p>
          <a:p>
            <a:pPr algn="l">
              <a:defRPr/>
            </a:pPr>
            <a:r>
              <a:rPr lang="zh-CN" altLang="en-US" sz="1600" noProof="1">
                <a:solidFill>
                  <a:schemeClr val="bg1"/>
                </a:solidFill>
              </a:rPr>
              <a:t>故障停机影响生产</a:t>
            </a:r>
            <a:endParaRPr lang="en-US" altLang="zh-CN" sz="1600" noProof="1">
              <a:solidFill>
                <a:schemeClr val="bg1"/>
              </a:solidFill>
            </a:endParaRPr>
          </a:p>
          <a:p>
            <a:pPr algn="l">
              <a:defRPr/>
            </a:pPr>
            <a:r>
              <a:rPr lang="zh-CN" altLang="en-US" sz="1600" noProof="1">
                <a:solidFill>
                  <a:schemeClr val="bg1"/>
                </a:solidFill>
              </a:rPr>
              <a:t>报表数据错误繁多</a:t>
            </a:r>
            <a:endParaRPr lang="en-US" altLang="zh-CN" sz="1600" noProof="1">
              <a:solidFill>
                <a:schemeClr val="bg1"/>
              </a:solidFill>
            </a:endParaRPr>
          </a:p>
          <a:p>
            <a:pPr algn="l">
              <a:defRPr/>
            </a:pPr>
            <a:r>
              <a:rPr lang="zh-CN" altLang="en-US" sz="1600" noProof="1">
                <a:solidFill>
                  <a:schemeClr val="bg1"/>
                </a:solidFill>
              </a:rPr>
              <a:t>历史数据怎么存档</a:t>
            </a:r>
            <a:endParaRPr lang="en-US" altLang="zh-CN" sz="1600" noProof="1">
              <a:solidFill>
                <a:schemeClr val="bg1"/>
              </a:solidFill>
            </a:endParaRPr>
          </a:p>
          <a:p>
            <a:pPr algn="l">
              <a:defRPr/>
            </a:pPr>
            <a:r>
              <a:rPr lang="zh-CN" altLang="en-US" sz="1600" noProof="1">
                <a:solidFill>
                  <a:schemeClr val="bg1"/>
                </a:solidFill>
              </a:rPr>
              <a:t>。。。。。</a:t>
            </a:r>
            <a:endParaRPr lang="en-US" altLang="zh-CN" sz="1600" noProof="1">
              <a:solidFill>
                <a:schemeClr val="bg1"/>
              </a:solidFill>
            </a:endParaRPr>
          </a:p>
          <a:p>
            <a:pPr algn="l">
              <a:defRPr/>
            </a:pPr>
            <a:endParaRPr lang="en-US" altLang="zh-CN" sz="1600" dirty="0">
              <a:solidFill>
                <a:schemeClr val="bg1"/>
              </a:solidFill>
            </a:endParaRPr>
          </a:p>
        </p:txBody>
      </p:sp>
      <p:sp>
        <p:nvSpPr>
          <p:cNvPr id="33811" name="TextBox 76"/>
          <p:cNvSpPr txBox="1">
            <a:spLocks noChangeArrowheads="1"/>
          </p:cNvSpPr>
          <p:nvPr/>
        </p:nvSpPr>
        <p:spPr bwMode="auto">
          <a:xfrm>
            <a:off x="7412038" y="1485900"/>
            <a:ext cx="1606550" cy="309563"/>
          </a:xfrm>
          <a:prstGeom prst="rect">
            <a:avLst/>
          </a:prstGeom>
          <a:noFill/>
          <a:ln w="9525">
            <a:noFill/>
            <a:miter lim="800000"/>
            <a:headEnd/>
            <a:tailEnd/>
          </a:ln>
        </p:spPr>
        <p:txBody>
          <a:bodyPr wrap="none">
            <a:spAutoFit/>
          </a:bodyPr>
          <a:lstStyle/>
          <a:p>
            <a:pPr algn="r">
              <a:lnSpc>
                <a:spcPct val="130000"/>
              </a:lnSpc>
            </a:pPr>
            <a:r>
              <a:rPr lang="zh-CN" altLang="en-US" sz="1200" b="1" noProof="1">
                <a:solidFill>
                  <a:schemeClr val="tx2"/>
                </a:solidFill>
                <a:latin typeface="微软雅黑" pitchFamily="34" charset="-122"/>
                <a:ea typeface="微软雅黑" pitchFamily="34" charset="-122"/>
              </a:rPr>
              <a:t>物料平衡，温度</a:t>
            </a:r>
            <a:r>
              <a:rPr lang="en-US" altLang="zh-CN" sz="1200" b="1" noProof="1">
                <a:solidFill>
                  <a:schemeClr val="tx2"/>
                </a:solidFill>
                <a:latin typeface="微软雅黑" pitchFamily="34" charset="-122"/>
                <a:ea typeface="微软雅黑" pitchFamily="34" charset="-122"/>
              </a:rPr>
              <a:t>,PH?</a:t>
            </a:r>
            <a:endParaRPr lang="en-US" altLang="en-US" sz="1200" b="1" noProof="1">
              <a:solidFill>
                <a:schemeClr val="tx2"/>
              </a:solidFill>
              <a:latin typeface="微软雅黑" pitchFamily="34" charset="-122"/>
              <a:ea typeface="微软雅黑" pitchFamily="34" charset="-122"/>
            </a:endParaRPr>
          </a:p>
        </p:txBody>
      </p:sp>
      <p:sp>
        <p:nvSpPr>
          <p:cNvPr id="33812" name="TextBox 81"/>
          <p:cNvSpPr txBox="1">
            <a:spLocks noChangeArrowheads="1"/>
          </p:cNvSpPr>
          <p:nvPr/>
        </p:nvSpPr>
        <p:spPr bwMode="auto">
          <a:xfrm>
            <a:off x="4624388" y="5467350"/>
            <a:ext cx="1108075" cy="309563"/>
          </a:xfrm>
          <a:prstGeom prst="rect">
            <a:avLst/>
          </a:prstGeom>
          <a:noFill/>
          <a:ln w="9525">
            <a:noFill/>
            <a:miter lim="800000"/>
            <a:headEnd/>
            <a:tailEnd/>
          </a:ln>
        </p:spPr>
        <p:txBody>
          <a:bodyPr wrap="none">
            <a:spAutoFit/>
          </a:bodyPr>
          <a:lstStyle/>
          <a:p>
            <a:pPr algn="r">
              <a:lnSpc>
                <a:spcPct val="130000"/>
              </a:lnSpc>
            </a:pPr>
            <a:r>
              <a:rPr lang="zh-CN" altLang="en-US" sz="1200" b="1" noProof="1">
                <a:solidFill>
                  <a:schemeClr val="tx2"/>
                </a:solidFill>
                <a:latin typeface="微软雅黑" pitchFamily="34" charset="-122"/>
                <a:ea typeface="微软雅黑" pitchFamily="34" charset="-122"/>
              </a:rPr>
              <a:t>等待质量检测</a:t>
            </a:r>
          </a:p>
        </p:txBody>
      </p:sp>
      <p:sp>
        <p:nvSpPr>
          <p:cNvPr id="33813" name="TextBox 82"/>
          <p:cNvSpPr txBox="1">
            <a:spLocks noChangeArrowheads="1"/>
          </p:cNvSpPr>
          <p:nvPr/>
        </p:nvSpPr>
        <p:spPr bwMode="auto">
          <a:xfrm>
            <a:off x="9061450" y="5838825"/>
            <a:ext cx="1262063" cy="309563"/>
          </a:xfrm>
          <a:prstGeom prst="rect">
            <a:avLst/>
          </a:prstGeom>
          <a:noFill/>
          <a:ln w="9525">
            <a:noFill/>
            <a:miter lim="800000"/>
            <a:headEnd/>
            <a:tailEnd/>
          </a:ln>
        </p:spPr>
        <p:txBody>
          <a:bodyPr wrap="none">
            <a:spAutoFit/>
          </a:bodyPr>
          <a:lstStyle/>
          <a:p>
            <a:pPr algn="r">
              <a:lnSpc>
                <a:spcPct val="130000"/>
              </a:lnSpc>
            </a:pPr>
            <a:r>
              <a:rPr lang="zh-CN" altLang="en-US" sz="1200" b="1" noProof="1">
                <a:solidFill>
                  <a:schemeClr val="tx2"/>
                </a:solidFill>
                <a:latin typeface="微软雅黑" pitchFamily="34" charset="-122"/>
                <a:ea typeface="微软雅黑" pitchFamily="34" charset="-122"/>
              </a:rPr>
              <a:t>设备故障停机？</a:t>
            </a:r>
          </a:p>
        </p:txBody>
      </p:sp>
      <p:sp>
        <p:nvSpPr>
          <p:cNvPr id="33814" name="TextBox 83"/>
          <p:cNvSpPr txBox="1">
            <a:spLocks noChangeArrowheads="1"/>
          </p:cNvSpPr>
          <p:nvPr/>
        </p:nvSpPr>
        <p:spPr bwMode="auto">
          <a:xfrm>
            <a:off x="10641013" y="4524375"/>
            <a:ext cx="1570037" cy="309563"/>
          </a:xfrm>
          <a:prstGeom prst="rect">
            <a:avLst/>
          </a:prstGeom>
          <a:noFill/>
          <a:ln w="9525">
            <a:noFill/>
            <a:miter lim="800000"/>
            <a:headEnd/>
            <a:tailEnd/>
          </a:ln>
        </p:spPr>
        <p:txBody>
          <a:bodyPr wrap="none">
            <a:spAutoFit/>
          </a:bodyPr>
          <a:lstStyle/>
          <a:p>
            <a:pPr algn="r">
              <a:lnSpc>
                <a:spcPct val="130000"/>
              </a:lnSpc>
            </a:pPr>
            <a:r>
              <a:rPr lang="zh-CN" altLang="en-US" sz="1200" b="1" noProof="1">
                <a:solidFill>
                  <a:schemeClr val="tx2"/>
                </a:solidFill>
                <a:latin typeface="微软雅黑" pitchFamily="34" charset="-122"/>
                <a:ea typeface="微软雅黑" pitchFamily="34" charset="-122"/>
              </a:rPr>
              <a:t>物料怎么追踪和跟踪</a:t>
            </a:r>
          </a:p>
        </p:txBody>
      </p:sp>
      <p:sp>
        <p:nvSpPr>
          <p:cNvPr id="33815" name="TextBox 86"/>
          <p:cNvSpPr txBox="1">
            <a:spLocks noChangeArrowheads="1"/>
          </p:cNvSpPr>
          <p:nvPr/>
        </p:nvSpPr>
        <p:spPr bwMode="auto">
          <a:xfrm>
            <a:off x="11020425" y="1914525"/>
            <a:ext cx="971550" cy="331788"/>
          </a:xfrm>
          <a:prstGeom prst="rect">
            <a:avLst/>
          </a:prstGeom>
          <a:noFill/>
          <a:ln w="9525">
            <a:noFill/>
            <a:miter lim="800000"/>
            <a:headEnd/>
            <a:tailEnd/>
          </a:ln>
        </p:spPr>
        <p:txBody>
          <a:bodyPr>
            <a:spAutoFit/>
          </a:bodyPr>
          <a:lstStyle/>
          <a:p>
            <a:pPr algn="r">
              <a:lnSpc>
                <a:spcPct val="130000"/>
              </a:lnSpc>
            </a:pPr>
            <a:r>
              <a:rPr lang="zh-CN" altLang="en-US" sz="1200" b="1" noProof="1">
                <a:solidFill>
                  <a:schemeClr val="tx2"/>
                </a:solidFill>
                <a:latin typeface="微软雅黑" pitchFamily="34" charset="-122"/>
                <a:ea typeface="微软雅黑" pitchFamily="34" charset="-122"/>
              </a:rPr>
              <a:t>入库</a:t>
            </a:r>
            <a:r>
              <a:rPr lang="en-US" altLang="zh-CN" sz="1200" b="1" noProof="1">
                <a:solidFill>
                  <a:schemeClr val="tx2"/>
                </a:solidFill>
                <a:latin typeface="微软雅黑" pitchFamily="34" charset="-122"/>
                <a:ea typeface="微软雅黑" pitchFamily="34" charset="-122"/>
              </a:rPr>
              <a:t>or</a:t>
            </a:r>
            <a:r>
              <a:rPr lang="zh-CN" altLang="en-US" sz="1200" b="1" noProof="1">
                <a:solidFill>
                  <a:schemeClr val="tx2"/>
                </a:solidFill>
                <a:latin typeface="微软雅黑" pitchFamily="34" charset="-122"/>
                <a:ea typeface="微软雅黑" pitchFamily="34" charset="-122"/>
              </a:rPr>
              <a:t>发货</a:t>
            </a:r>
          </a:p>
        </p:txBody>
      </p:sp>
      <p:cxnSp>
        <p:nvCxnSpPr>
          <p:cNvPr id="39" name="直接连接符 38"/>
          <p:cNvCxnSpPr/>
          <p:nvPr/>
        </p:nvCxnSpPr>
        <p:spPr>
          <a:xfrm rot="16200000" flipH="1">
            <a:off x="5681662" y="3052763"/>
            <a:ext cx="1038225" cy="609600"/>
          </a:xfrm>
          <a:prstGeom prst="line">
            <a:avLst/>
          </a:prstGeom>
        </p:spPr>
        <p:style>
          <a:lnRef idx="1">
            <a:schemeClr val="accent1"/>
          </a:lnRef>
          <a:fillRef idx="0">
            <a:schemeClr val="accent1"/>
          </a:fillRef>
          <a:effectRef idx="0">
            <a:schemeClr val="accent1"/>
          </a:effectRef>
          <a:fontRef idx="minor">
            <a:schemeClr val="tx1"/>
          </a:fontRef>
        </p:style>
      </p:cxnSp>
      <p:sp>
        <p:nvSpPr>
          <p:cNvPr id="33817" name="TextBox 40"/>
          <p:cNvSpPr txBox="1">
            <a:spLocks noChangeArrowheads="1"/>
          </p:cNvSpPr>
          <p:nvPr/>
        </p:nvSpPr>
        <p:spPr bwMode="auto">
          <a:xfrm>
            <a:off x="5419725" y="2562225"/>
            <a:ext cx="1570038" cy="309563"/>
          </a:xfrm>
          <a:prstGeom prst="rect">
            <a:avLst/>
          </a:prstGeom>
          <a:noFill/>
          <a:ln w="9525">
            <a:noFill/>
            <a:miter lim="800000"/>
            <a:headEnd/>
            <a:tailEnd/>
          </a:ln>
        </p:spPr>
        <p:txBody>
          <a:bodyPr wrap="none">
            <a:spAutoFit/>
          </a:bodyPr>
          <a:lstStyle/>
          <a:p>
            <a:pPr algn="r">
              <a:lnSpc>
                <a:spcPct val="130000"/>
              </a:lnSpc>
            </a:pPr>
            <a:r>
              <a:rPr lang="zh-CN" altLang="en-US" sz="1200" b="1" noProof="1">
                <a:solidFill>
                  <a:schemeClr val="tx2"/>
                </a:solidFill>
                <a:latin typeface="微软雅黑" pitchFamily="34" charset="-122"/>
                <a:ea typeface="微软雅黑" pitchFamily="34" charset="-122"/>
              </a:rPr>
              <a:t>现场怎么产状态如何</a:t>
            </a:r>
          </a:p>
        </p:txBody>
      </p:sp>
      <p:pic>
        <p:nvPicPr>
          <p:cNvPr id="33818" name="Picture 2"/>
          <p:cNvPicPr>
            <a:picLocks noChangeAspect="1" noChangeArrowheads="1"/>
          </p:cNvPicPr>
          <p:nvPr/>
        </p:nvPicPr>
        <p:blipFill>
          <a:blip r:embed="rId9"/>
          <a:srcRect/>
          <a:stretch>
            <a:fillRect/>
          </a:stretch>
        </p:blipFill>
        <p:spPr bwMode="auto">
          <a:xfrm>
            <a:off x="4962525" y="2419350"/>
            <a:ext cx="495300" cy="485775"/>
          </a:xfrm>
          <a:prstGeom prst="rect">
            <a:avLst/>
          </a:prstGeom>
          <a:noFill/>
          <a:ln w="9525">
            <a:noFill/>
            <a:miter lim="800000"/>
            <a:headEnd/>
            <a:tailEnd/>
          </a:ln>
        </p:spPr>
      </p:pic>
      <p:cxnSp>
        <p:nvCxnSpPr>
          <p:cNvPr id="43" name="直接连接符 42"/>
          <p:cNvCxnSpPr/>
          <p:nvPr/>
        </p:nvCxnSpPr>
        <p:spPr>
          <a:xfrm>
            <a:off x="4029075" y="4067175"/>
            <a:ext cx="1524000" cy="333375"/>
          </a:xfrm>
          <a:prstGeom prst="line">
            <a:avLst/>
          </a:prstGeom>
        </p:spPr>
        <p:style>
          <a:lnRef idx="1">
            <a:schemeClr val="accent1"/>
          </a:lnRef>
          <a:fillRef idx="0">
            <a:schemeClr val="accent1"/>
          </a:fillRef>
          <a:effectRef idx="0">
            <a:schemeClr val="accent1"/>
          </a:effectRef>
          <a:fontRef idx="minor">
            <a:schemeClr val="tx1"/>
          </a:fontRef>
        </p:style>
      </p:cxnSp>
      <p:pic>
        <p:nvPicPr>
          <p:cNvPr id="33820" name="Picture 3"/>
          <p:cNvPicPr>
            <a:picLocks noChangeAspect="1" noChangeArrowheads="1"/>
          </p:cNvPicPr>
          <p:nvPr/>
        </p:nvPicPr>
        <p:blipFill>
          <a:blip r:embed="rId10"/>
          <a:srcRect/>
          <a:stretch>
            <a:fillRect/>
          </a:stretch>
        </p:blipFill>
        <p:spPr bwMode="auto">
          <a:xfrm>
            <a:off x="3470275" y="3533775"/>
            <a:ext cx="687388" cy="528638"/>
          </a:xfrm>
          <a:prstGeom prst="rect">
            <a:avLst/>
          </a:prstGeom>
          <a:noFill/>
          <a:ln w="9525">
            <a:noFill/>
            <a:miter lim="800000"/>
            <a:headEnd/>
            <a:tailEnd/>
          </a:ln>
        </p:spPr>
      </p:pic>
      <p:sp>
        <p:nvSpPr>
          <p:cNvPr id="33821" name="TextBox 47"/>
          <p:cNvSpPr txBox="1">
            <a:spLocks noChangeArrowheads="1"/>
          </p:cNvSpPr>
          <p:nvPr/>
        </p:nvSpPr>
        <p:spPr bwMode="auto">
          <a:xfrm>
            <a:off x="4090988" y="3705225"/>
            <a:ext cx="1108075" cy="309563"/>
          </a:xfrm>
          <a:prstGeom prst="rect">
            <a:avLst/>
          </a:prstGeom>
          <a:noFill/>
          <a:ln w="9525">
            <a:noFill/>
            <a:miter lim="800000"/>
            <a:headEnd/>
            <a:tailEnd/>
          </a:ln>
        </p:spPr>
        <p:txBody>
          <a:bodyPr wrap="none">
            <a:spAutoFit/>
          </a:bodyPr>
          <a:lstStyle/>
          <a:p>
            <a:pPr algn="r">
              <a:lnSpc>
                <a:spcPct val="130000"/>
              </a:lnSpc>
            </a:pPr>
            <a:r>
              <a:rPr lang="zh-CN" altLang="en-US" sz="1200" b="1" noProof="1">
                <a:solidFill>
                  <a:schemeClr val="tx2"/>
                </a:solidFill>
                <a:latin typeface="微软雅黑" pitchFamily="34" charset="-122"/>
                <a:ea typeface="微软雅黑" pitchFamily="34" charset="-122"/>
              </a:rPr>
              <a:t>报表数据分析</a:t>
            </a:r>
          </a:p>
        </p:txBody>
      </p:sp>
      <p:sp>
        <p:nvSpPr>
          <p:cNvPr id="51" name="TextBox 50"/>
          <p:cNvSpPr txBox="1"/>
          <p:nvPr/>
        </p:nvSpPr>
        <p:spPr>
          <a:xfrm>
            <a:off x="-38100" y="4924425"/>
            <a:ext cx="569913" cy="361950"/>
          </a:xfrm>
          <a:prstGeom prst="rect">
            <a:avLst/>
          </a:prstGeom>
          <a:noFill/>
        </p:spPr>
        <p:txBody>
          <a:bodyPr wrap="none">
            <a:spAutoFit/>
          </a:bodyPr>
          <a:lstStyle/>
          <a:p>
            <a:pPr algn="r">
              <a:lnSpc>
                <a:spcPct val="130000"/>
              </a:lnSpc>
              <a:defRPr/>
            </a:pPr>
            <a:r>
              <a:rPr lang="zh-CN" altLang="en-US" sz="1495" b="1" noProof="1">
                <a:solidFill>
                  <a:schemeClr val="tx2"/>
                </a:solidFill>
                <a:latin typeface="微软雅黑" panose="020B0503020204020204" charset="-122"/>
                <a:ea typeface="微软雅黑" panose="020B0503020204020204" charset="-122"/>
              </a:rPr>
              <a:t>生产</a:t>
            </a:r>
          </a:p>
        </p:txBody>
      </p:sp>
      <p:sp>
        <p:nvSpPr>
          <p:cNvPr id="53" name="TextBox 52"/>
          <p:cNvSpPr txBox="1"/>
          <p:nvPr/>
        </p:nvSpPr>
        <p:spPr>
          <a:xfrm>
            <a:off x="657225" y="4924425"/>
            <a:ext cx="569913" cy="361950"/>
          </a:xfrm>
          <a:prstGeom prst="rect">
            <a:avLst/>
          </a:prstGeom>
          <a:noFill/>
        </p:spPr>
        <p:txBody>
          <a:bodyPr wrap="none">
            <a:spAutoFit/>
          </a:bodyPr>
          <a:lstStyle/>
          <a:p>
            <a:pPr algn="r">
              <a:lnSpc>
                <a:spcPct val="130000"/>
              </a:lnSpc>
              <a:defRPr/>
            </a:pPr>
            <a:r>
              <a:rPr lang="zh-CN" altLang="en-US" sz="1495" b="1" noProof="1">
                <a:solidFill>
                  <a:schemeClr val="tx2"/>
                </a:solidFill>
                <a:latin typeface="微软雅黑" panose="020B0503020204020204" charset="-122"/>
                <a:ea typeface="微软雅黑" panose="020B0503020204020204" charset="-122"/>
              </a:rPr>
              <a:t>维护</a:t>
            </a:r>
          </a:p>
        </p:txBody>
      </p:sp>
      <p:sp>
        <p:nvSpPr>
          <p:cNvPr id="54" name="TextBox 53"/>
          <p:cNvSpPr txBox="1"/>
          <p:nvPr/>
        </p:nvSpPr>
        <p:spPr>
          <a:xfrm>
            <a:off x="1076325" y="4686300"/>
            <a:ext cx="569913" cy="361950"/>
          </a:xfrm>
          <a:prstGeom prst="rect">
            <a:avLst/>
          </a:prstGeom>
          <a:noFill/>
        </p:spPr>
        <p:txBody>
          <a:bodyPr wrap="none">
            <a:spAutoFit/>
          </a:bodyPr>
          <a:lstStyle/>
          <a:p>
            <a:pPr algn="r">
              <a:lnSpc>
                <a:spcPct val="130000"/>
              </a:lnSpc>
              <a:defRPr/>
            </a:pPr>
            <a:r>
              <a:rPr lang="zh-CN" altLang="en-US" sz="1495" b="1" noProof="1">
                <a:solidFill>
                  <a:schemeClr val="tx2"/>
                </a:solidFill>
                <a:latin typeface="微软雅黑" panose="020B0503020204020204" charset="-122"/>
                <a:ea typeface="微软雅黑" panose="020B0503020204020204" charset="-122"/>
              </a:rPr>
              <a:t>计划</a:t>
            </a:r>
          </a:p>
        </p:txBody>
      </p:sp>
      <p:sp>
        <p:nvSpPr>
          <p:cNvPr id="55" name="TextBox 54"/>
          <p:cNvSpPr txBox="1"/>
          <p:nvPr/>
        </p:nvSpPr>
        <p:spPr>
          <a:xfrm>
            <a:off x="1504950" y="4591050"/>
            <a:ext cx="569913" cy="361950"/>
          </a:xfrm>
          <a:prstGeom prst="rect">
            <a:avLst/>
          </a:prstGeom>
          <a:noFill/>
        </p:spPr>
        <p:txBody>
          <a:bodyPr wrap="none">
            <a:spAutoFit/>
          </a:bodyPr>
          <a:lstStyle/>
          <a:p>
            <a:pPr algn="r">
              <a:lnSpc>
                <a:spcPct val="130000"/>
              </a:lnSpc>
              <a:defRPr/>
            </a:pPr>
            <a:r>
              <a:rPr lang="zh-CN" altLang="en-US" sz="1495" b="1" noProof="1">
                <a:solidFill>
                  <a:schemeClr val="tx2"/>
                </a:solidFill>
                <a:latin typeface="微软雅黑" panose="020B0503020204020204" charset="-122"/>
                <a:ea typeface="微软雅黑" panose="020B0503020204020204" charset="-122"/>
              </a:rPr>
              <a:t>调度</a:t>
            </a:r>
          </a:p>
        </p:txBody>
      </p:sp>
      <p:sp>
        <p:nvSpPr>
          <p:cNvPr id="56" name="TextBox 55"/>
          <p:cNvSpPr txBox="1"/>
          <p:nvPr/>
        </p:nvSpPr>
        <p:spPr>
          <a:xfrm>
            <a:off x="381000" y="4657725"/>
            <a:ext cx="569913" cy="361950"/>
          </a:xfrm>
          <a:prstGeom prst="rect">
            <a:avLst/>
          </a:prstGeom>
          <a:noFill/>
        </p:spPr>
        <p:txBody>
          <a:bodyPr wrap="none">
            <a:spAutoFit/>
          </a:bodyPr>
          <a:lstStyle/>
          <a:p>
            <a:pPr algn="r">
              <a:lnSpc>
                <a:spcPct val="130000"/>
              </a:lnSpc>
              <a:defRPr/>
            </a:pPr>
            <a:r>
              <a:rPr lang="zh-CN" altLang="en-US" sz="1495" b="1" noProof="1">
                <a:solidFill>
                  <a:schemeClr val="tx2"/>
                </a:solidFill>
                <a:latin typeface="微软雅黑" panose="020B0503020204020204" charset="-122"/>
                <a:ea typeface="微软雅黑" panose="020B0503020204020204" charset="-122"/>
              </a:rPr>
              <a:t>质量</a:t>
            </a:r>
          </a:p>
        </p:txBody>
      </p:sp>
      <p:sp>
        <p:nvSpPr>
          <p:cNvPr id="57" name="TextBox 56"/>
          <p:cNvSpPr txBox="1"/>
          <p:nvPr/>
        </p:nvSpPr>
        <p:spPr>
          <a:xfrm>
            <a:off x="2009775" y="4562475"/>
            <a:ext cx="569913" cy="361950"/>
          </a:xfrm>
          <a:prstGeom prst="rect">
            <a:avLst/>
          </a:prstGeom>
          <a:noFill/>
        </p:spPr>
        <p:txBody>
          <a:bodyPr wrap="none">
            <a:spAutoFit/>
          </a:bodyPr>
          <a:lstStyle/>
          <a:p>
            <a:pPr algn="r">
              <a:lnSpc>
                <a:spcPct val="130000"/>
              </a:lnSpc>
              <a:defRPr/>
            </a:pPr>
            <a:r>
              <a:rPr lang="zh-CN" altLang="en-US" sz="1495" b="1" noProof="1">
                <a:solidFill>
                  <a:schemeClr val="tx2"/>
                </a:solidFill>
                <a:latin typeface="微软雅黑" panose="020B0503020204020204" charset="-122"/>
                <a:ea typeface="微软雅黑" panose="020B0503020204020204" charset="-122"/>
              </a:rPr>
              <a:t>财务</a:t>
            </a:r>
          </a:p>
        </p:txBody>
      </p:sp>
      <p:sp>
        <p:nvSpPr>
          <p:cNvPr id="58" name="TextBox 57"/>
          <p:cNvSpPr txBox="1"/>
          <p:nvPr/>
        </p:nvSpPr>
        <p:spPr>
          <a:xfrm>
            <a:off x="2363788" y="4819650"/>
            <a:ext cx="368300" cy="361950"/>
          </a:xfrm>
          <a:prstGeom prst="rect">
            <a:avLst/>
          </a:prstGeom>
          <a:noFill/>
        </p:spPr>
        <p:txBody>
          <a:bodyPr wrap="none">
            <a:spAutoFit/>
          </a:bodyPr>
          <a:lstStyle/>
          <a:p>
            <a:pPr algn="r">
              <a:lnSpc>
                <a:spcPct val="130000"/>
              </a:lnSpc>
              <a:defRPr/>
            </a:pPr>
            <a:r>
              <a:rPr lang="en-US" altLang="zh-CN" sz="1495" b="1" noProof="1">
                <a:solidFill>
                  <a:schemeClr val="tx2"/>
                </a:solidFill>
                <a:latin typeface="微软雅黑" panose="020B0503020204020204" charset="-122"/>
                <a:ea typeface="微软雅黑" panose="020B0503020204020204" charset="-122"/>
              </a:rPr>
              <a:t>IT</a:t>
            </a:r>
            <a:endParaRPr lang="zh-CN" altLang="en-US" sz="1495" b="1" noProof="1">
              <a:solidFill>
                <a:schemeClr val="tx2"/>
              </a:solidFill>
              <a:latin typeface="微软雅黑" panose="020B0503020204020204" charset="-122"/>
              <a:ea typeface="微软雅黑" panose="020B0503020204020204" charset="-122"/>
            </a:endParaRPr>
          </a:p>
        </p:txBody>
      </p:sp>
      <p:sp>
        <p:nvSpPr>
          <p:cNvPr id="60" name="TextBox 59"/>
          <p:cNvSpPr txBox="1"/>
          <p:nvPr/>
        </p:nvSpPr>
        <p:spPr>
          <a:xfrm>
            <a:off x="3019425" y="5200650"/>
            <a:ext cx="569913" cy="361950"/>
          </a:xfrm>
          <a:prstGeom prst="rect">
            <a:avLst/>
          </a:prstGeom>
          <a:noFill/>
        </p:spPr>
        <p:txBody>
          <a:bodyPr wrap="none">
            <a:spAutoFit/>
          </a:bodyPr>
          <a:lstStyle/>
          <a:p>
            <a:pPr algn="r">
              <a:lnSpc>
                <a:spcPct val="130000"/>
              </a:lnSpc>
              <a:defRPr/>
            </a:pPr>
            <a:r>
              <a:rPr lang="zh-CN" altLang="en-US" sz="1495" b="1" noProof="1">
                <a:solidFill>
                  <a:schemeClr val="tx2"/>
                </a:solidFill>
                <a:latin typeface="微软雅黑" panose="020B0503020204020204" charset="-122"/>
                <a:ea typeface="微软雅黑" panose="020B0503020204020204" charset="-122"/>
              </a:rPr>
              <a:t>后勤</a:t>
            </a:r>
          </a:p>
        </p:txBody>
      </p:sp>
      <p:sp>
        <p:nvSpPr>
          <p:cNvPr id="61" name="TextBox 60"/>
          <p:cNvSpPr txBox="1"/>
          <p:nvPr/>
        </p:nvSpPr>
        <p:spPr>
          <a:xfrm>
            <a:off x="2686050" y="4752975"/>
            <a:ext cx="569913" cy="361950"/>
          </a:xfrm>
          <a:prstGeom prst="rect">
            <a:avLst/>
          </a:prstGeom>
          <a:noFill/>
        </p:spPr>
        <p:txBody>
          <a:bodyPr wrap="none">
            <a:spAutoFit/>
          </a:bodyPr>
          <a:lstStyle/>
          <a:p>
            <a:pPr algn="r">
              <a:lnSpc>
                <a:spcPct val="130000"/>
              </a:lnSpc>
              <a:defRPr/>
            </a:pPr>
            <a:r>
              <a:rPr lang="zh-CN" altLang="en-US" sz="1495" b="1" noProof="1">
                <a:solidFill>
                  <a:schemeClr val="tx2"/>
                </a:solidFill>
                <a:latin typeface="微软雅黑" panose="020B0503020204020204" charset="-122"/>
                <a:ea typeface="微软雅黑" panose="020B0503020204020204" charset="-122"/>
              </a:rPr>
              <a:t>行政</a:t>
            </a:r>
          </a:p>
        </p:txBody>
      </p:sp>
      <p:sp>
        <p:nvSpPr>
          <p:cNvPr id="2" name="椭圆 1">
            <a:extLst>
              <a:ext uri="{FF2B5EF4-FFF2-40B4-BE49-F238E27FC236}">
                <a16:creationId xmlns:a16="http://schemas.microsoft.com/office/drawing/2014/main" id="{1782D967-7287-4EB9-8CCC-12327D2BA598}"/>
              </a:ext>
            </a:extLst>
          </p:cNvPr>
          <p:cNvSpPr/>
          <p:nvPr/>
        </p:nvSpPr>
        <p:spPr>
          <a:xfrm>
            <a:off x="2486245" y="862584"/>
            <a:ext cx="2797175" cy="2121692"/>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rgbClr val="FF0000"/>
                </a:solidFill>
              </a:rPr>
              <a:t>打通信息流与物料流，产品、物料全过程可追溯，进一步提高运行水平成为企业更高的追求</a:t>
            </a:r>
          </a:p>
        </p:txBody>
      </p:sp>
    </p:spTree>
    <p:extLst>
      <p:ext uri="{BB962C8B-B14F-4D97-AF65-F5344CB8AC3E}">
        <p14:creationId xmlns:p14="http://schemas.microsoft.com/office/powerpoint/2010/main" val="3621096210"/>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等腰三角形 19"/>
          <p:cNvSpPr/>
          <p:nvPr/>
        </p:nvSpPr>
        <p:spPr bwMode="auto">
          <a:xfrm rot="5400000">
            <a:off x="754856" y="-754856"/>
            <a:ext cx="3297238" cy="4806950"/>
          </a:xfrm>
          <a:prstGeom prst="triangle">
            <a:avLst>
              <a:gd name="adj" fmla="val 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5603" name="文本框 6"/>
          <p:cNvSpPr txBox="1">
            <a:spLocks noChangeArrowheads="1"/>
          </p:cNvSpPr>
          <p:nvPr/>
        </p:nvSpPr>
        <p:spPr bwMode="auto">
          <a:xfrm rot="-1997781">
            <a:off x="227013" y="481013"/>
            <a:ext cx="2057400" cy="1016000"/>
          </a:xfrm>
          <a:prstGeom prst="rect">
            <a:avLst/>
          </a:prstGeom>
          <a:noFill/>
          <a:ln w="9525">
            <a:noFill/>
            <a:miter lim="800000"/>
            <a:headEnd/>
            <a:tailEnd/>
          </a:ln>
        </p:spPr>
        <p:txBody>
          <a:bodyPr>
            <a:spAutoFit/>
          </a:bodyPr>
          <a:lstStyle/>
          <a:p>
            <a:r>
              <a:rPr lang="zh-CN" altLang="en-US" sz="6000" b="1">
                <a:solidFill>
                  <a:schemeClr val="bg1"/>
                </a:solidFill>
                <a:latin typeface="微软雅黑" pitchFamily="34" charset="-122"/>
                <a:ea typeface="微软雅黑" pitchFamily="34" charset="-122"/>
              </a:rPr>
              <a:t>目录</a:t>
            </a:r>
          </a:p>
        </p:txBody>
      </p:sp>
      <p:sp>
        <p:nvSpPr>
          <p:cNvPr id="25604" name="文本框 7"/>
          <p:cNvSpPr txBox="1">
            <a:spLocks noChangeArrowheads="1"/>
          </p:cNvSpPr>
          <p:nvPr/>
        </p:nvSpPr>
        <p:spPr bwMode="auto">
          <a:xfrm rot="-2010208">
            <a:off x="-142875" y="979488"/>
            <a:ext cx="4573588" cy="769937"/>
          </a:xfrm>
          <a:prstGeom prst="rect">
            <a:avLst/>
          </a:prstGeom>
          <a:noFill/>
          <a:ln w="9525">
            <a:noFill/>
            <a:miter lim="800000"/>
            <a:headEnd/>
            <a:tailEnd/>
          </a:ln>
        </p:spPr>
        <p:txBody>
          <a:bodyPr>
            <a:spAutoFit/>
          </a:bodyPr>
          <a:lstStyle/>
          <a:p>
            <a:r>
              <a:rPr lang="en-US" altLang="zh-CN" sz="4400">
                <a:solidFill>
                  <a:schemeClr val="bg1"/>
                </a:solidFill>
                <a:latin typeface="微软雅黑" pitchFamily="34" charset="-122"/>
                <a:ea typeface="微软雅黑" pitchFamily="34" charset="-122"/>
              </a:rPr>
              <a:t>CONTENTS</a:t>
            </a:r>
            <a:endParaRPr lang="zh-CN" altLang="en-US" sz="4400">
              <a:solidFill>
                <a:schemeClr val="bg1"/>
              </a:solidFill>
              <a:latin typeface="微软雅黑" pitchFamily="34" charset="-122"/>
              <a:ea typeface="微软雅黑" pitchFamily="34" charset="-122"/>
            </a:endParaRPr>
          </a:p>
        </p:txBody>
      </p:sp>
      <p:pic>
        <p:nvPicPr>
          <p:cNvPr id="25605" name="Picture 2" descr="C:\Documents and Settings\Administrator\桌面\图形10.png"/>
          <p:cNvPicPr>
            <a:picLocks noChangeAspect="1" noChangeArrowheads="1"/>
          </p:cNvPicPr>
          <p:nvPr/>
        </p:nvPicPr>
        <p:blipFill>
          <a:blip r:embed="rId3"/>
          <a:srcRect/>
          <a:stretch>
            <a:fillRect/>
          </a:stretch>
        </p:blipFill>
        <p:spPr bwMode="auto">
          <a:xfrm>
            <a:off x="0" y="6735763"/>
            <a:ext cx="12192000" cy="122237"/>
          </a:xfrm>
          <a:prstGeom prst="rect">
            <a:avLst/>
          </a:prstGeom>
          <a:noFill/>
          <a:ln w="9525">
            <a:noFill/>
            <a:miter lim="800000"/>
            <a:headEnd/>
            <a:tailEnd/>
          </a:ln>
        </p:spPr>
      </p:pic>
      <p:pic>
        <p:nvPicPr>
          <p:cNvPr id="25606" name="Picture 20" descr="辅助条纹"/>
          <p:cNvPicPr>
            <a:picLocks noChangeAspect="1" noChangeArrowheads="1"/>
          </p:cNvPicPr>
          <p:nvPr/>
        </p:nvPicPr>
        <p:blipFill>
          <a:blip r:embed="rId4"/>
          <a:srcRect/>
          <a:stretch>
            <a:fillRect/>
          </a:stretch>
        </p:blipFill>
        <p:spPr bwMode="auto">
          <a:xfrm>
            <a:off x="9326563" y="6735763"/>
            <a:ext cx="2865437" cy="122237"/>
          </a:xfrm>
          <a:prstGeom prst="rect">
            <a:avLst/>
          </a:prstGeom>
          <a:noFill/>
          <a:ln w="9525">
            <a:noFill/>
            <a:miter lim="800000"/>
            <a:headEnd/>
            <a:tailEnd/>
          </a:ln>
        </p:spPr>
      </p:pic>
      <p:sp>
        <p:nvSpPr>
          <p:cNvPr id="28" name="Rectangle 11"/>
          <p:cNvSpPr/>
          <p:nvPr/>
        </p:nvSpPr>
        <p:spPr bwMode="auto">
          <a:xfrm>
            <a:off x="3213528" y="2108200"/>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rgbClr val="006EBC"/>
                </a:solidFill>
              </a:rPr>
              <a:t>1. </a:t>
            </a:r>
            <a:r>
              <a:rPr lang="zh-CN" altLang="en-US" sz="2400" b="1" dirty="0">
                <a:solidFill>
                  <a:srgbClr val="006EBC"/>
                </a:solidFill>
              </a:rPr>
              <a:t>背景</a:t>
            </a:r>
          </a:p>
        </p:txBody>
      </p:sp>
      <p:sp>
        <p:nvSpPr>
          <p:cNvPr id="29" name="Rectangle 8"/>
          <p:cNvSpPr/>
          <p:nvPr/>
        </p:nvSpPr>
        <p:spPr bwMode="auto">
          <a:xfrm>
            <a:off x="3213528" y="2634614"/>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2.</a:t>
            </a:r>
            <a:r>
              <a:rPr lang="zh-CN" altLang="en-US" sz="2400" b="1" dirty="0">
                <a:solidFill>
                  <a:schemeClr val="tx1">
                    <a:lumMod val="65000"/>
                    <a:lumOff val="35000"/>
                  </a:schemeClr>
                </a:solidFill>
              </a:rPr>
              <a:t>自动化广泛应用</a:t>
            </a:r>
            <a:endParaRPr lang="en-US" altLang="zh-CN" sz="2400" b="1" dirty="0">
              <a:solidFill>
                <a:schemeClr val="tx1">
                  <a:lumMod val="65000"/>
                  <a:lumOff val="35000"/>
                </a:schemeClr>
              </a:solidFill>
            </a:endParaRPr>
          </a:p>
        </p:txBody>
      </p:sp>
      <p:sp>
        <p:nvSpPr>
          <p:cNvPr id="31" name="Rectangle 12"/>
          <p:cNvSpPr/>
          <p:nvPr/>
        </p:nvSpPr>
        <p:spPr bwMode="auto">
          <a:xfrm>
            <a:off x="3213528" y="3161028"/>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3. </a:t>
            </a:r>
            <a:r>
              <a:rPr lang="zh-CN" altLang="en-US" sz="2400" b="1" dirty="0">
                <a:solidFill>
                  <a:schemeClr val="tx1">
                    <a:lumMod val="65000"/>
                    <a:lumOff val="35000"/>
                  </a:schemeClr>
                </a:solidFill>
              </a:rPr>
              <a:t>数字化在路上</a:t>
            </a:r>
            <a:endParaRPr lang="en-US" sz="2400" b="1" dirty="0">
              <a:solidFill>
                <a:schemeClr val="tx1">
                  <a:lumMod val="65000"/>
                  <a:lumOff val="35000"/>
                </a:schemeClr>
              </a:solidFill>
            </a:endParaRPr>
          </a:p>
        </p:txBody>
      </p:sp>
      <p:sp>
        <p:nvSpPr>
          <p:cNvPr id="13" name="Rectangle 13"/>
          <p:cNvSpPr/>
          <p:nvPr/>
        </p:nvSpPr>
        <p:spPr bwMode="auto">
          <a:xfrm>
            <a:off x="3213528" y="4213856"/>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5.</a:t>
            </a:r>
            <a:r>
              <a:rPr lang="zh-CN" altLang="en-US" sz="2400" b="1" dirty="0">
                <a:solidFill>
                  <a:schemeClr val="tx1">
                    <a:lumMod val="65000"/>
                    <a:lumOff val="35000"/>
                  </a:schemeClr>
                </a:solidFill>
              </a:rPr>
              <a:t>实例分享</a:t>
            </a:r>
            <a:endParaRPr lang="en-US" sz="2400" b="1" dirty="0">
              <a:solidFill>
                <a:schemeClr val="tx1">
                  <a:lumMod val="65000"/>
                  <a:lumOff val="35000"/>
                </a:schemeClr>
              </a:solidFill>
            </a:endParaRPr>
          </a:p>
        </p:txBody>
      </p:sp>
      <p:sp>
        <p:nvSpPr>
          <p:cNvPr id="17" name="Rectangle 12"/>
          <p:cNvSpPr/>
          <p:nvPr/>
        </p:nvSpPr>
        <p:spPr bwMode="auto">
          <a:xfrm>
            <a:off x="3213528" y="3687442"/>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4. </a:t>
            </a:r>
            <a:r>
              <a:rPr lang="zh-CN" altLang="en-US" sz="2400" b="1" dirty="0">
                <a:solidFill>
                  <a:schemeClr val="tx1">
                    <a:lumMod val="65000"/>
                    <a:lumOff val="35000"/>
                  </a:schemeClr>
                </a:solidFill>
              </a:rPr>
              <a:t>智能化在探索</a:t>
            </a:r>
            <a:endParaRPr lang="en-US" sz="2400" b="1" dirty="0">
              <a:solidFill>
                <a:schemeClr val="tx1">
                  <a:lumMod val="65000"/>
                  <a:lumOff val="35000"/>
                </a:schemeClr>
              </a:solidFill>
            </a:endParaRPr>
          </a:p>
        </p:txBody>
      </p:sp>
    </p:spTree>
  </p:cSld>
  <p:clrMapOvr>
    <a:masterClrMapping/>
  </p:clrMapOvr>
  <p:transition spd="slow" advTm="0">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等腰三角形 19"/>
          <p:cNvSpPr/>
          <p:nvPr/>
        </p:nvSpPr>
        <p:spPr bwMode="auto">
          <a:xfrm rot="5400000">
            <a:off x="754856" y="-754856"/>
            <a:ext cx="3297238" cy="4806950"/>
          </a:xfrm>
          <a:prstGeom prst="triangle">
            <a:avLst>
              <a:gd name="adj" fmla="val 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5603" name="文本框 6"/>
          <p:cNvSpPr txBox="1">
            <a:spLocks noChangeArrowheads="1"/>
          </p:cNvSpPr>
          <p:nvPr/>
        </p:nvSpPr>
        <p:spPr bwMode="auto">
          <a:xfrm rot="-1997781">
            <a:off x="227013" y="481013"/>
            <a:ext cx="2057400" cy="1016000"/>
          </a:xfrm>
          <a:prstGeom prst="rect">
            <a:avLst/>
          </a:prstGeom>
          <a:noFill/>
          <a:ln w="9525">
            <a:noFill/>
            <a:miter lim="800000"/>
            <a:headEnd/>
            <a:tailEnd/>
          </a:ln>
        </p:spPr>
        <p:txBody>
          <a:bodyPr>
            <a:spAutoFit/>
          </a:bodyPr>
          <a:lstStyle/>
          <a:p>
            <a:r>
              <a:rPr lang="zh-CN" altLang="en-US" sz="6000" b="1">
                <a:solidFill>
                  <a:schemeClr val="bg1"/>
                </a:solidFill>
                <a:latin typeface="微软雅黑" pitchFamily="34" charset="-122"/>
                <a:ea typeface="微软雅黑" pitchFamily="34" charset="-122"/>
              </a:rPr>
              <a:t>目录</a:t>
            </a:r>
          </a:p>
        </p:txBody>
      </p:sp>
      <p:sp>
        <p:nvSpPr>
          <p:cNvPr id="25604" name="文本框 7"/>
          <p:cNvSpPr txBox="1">
            <a:spLocks noChangeArrowheads="1"/>
          </p:cNvSpPr>
          <p:nvPr/>
        </p:nvSpPr>
        <p:spPr bwMode="auto">
          <a:xfrm rot="-2010208">
            <a:off x="-142875" y="979488"/>
            <a:ext cx="4573588" cy="769937"/>
          </a:xfrm>
          <a:prstGeom prst="rect">
            <a:avLst/>
          </a:prstGeom>
          <a:noFill/>
          <a:ln w="9525">
            <a:noFill/>
            <a:miter lim="800000"/>
            <a:headEnd/>
            <a:tailEnd/>
          </a:ln>
        </p:spPr>
        <p:txBody>
          <a:bodyPr>
            <a:spAutoFit/>
          </a:bodyPr>
          <a:lstStyle/>
          <a:p>
            <a:r>
              <a:rPr lang="en-US" altLang="zh-CN" sz="4400">
                <a:solidFill>
                  <a:schemeClr val="bg1"/>
                </a:solidFill>
                <a:latin typeface="微软雅黑" pitchFamily="34" charset="-122"/>
                <a:ea typeface="微软雅黑" pitchFamily="34" charset="-122"/>
              </a:rPr>
              <a:t>CONTENTS</a:t>
            </a:r>
            <a:endParaRPr lang="zh-CN" altLang="en-US" sz="4400">
              <a:solidFill>
                <a:schemeClr val="bg1"/>
              </a:solidFill>
              <a:latin typeface="微软雅黑" pitchFamily="34" charset="-122"/>
              <a:ea typeface="微软雅黑" pitchFamily="34" charset="-122"/>
            </a:endParaRPr>
          </a:p>
        </p:txBody>
      </p:sp>
      <p:pic>
        <p:nvPicPr>
          <p:cNvPr id="25605" name="Picture 2" descr="C:\Documents and Settings\Administrator\桌面\图形10.png"/>
          <p:cNvPicPr>
            <a:picLocks noChangeAspect="1" noChangeArrowheads="1"/>
          </p:cNvPicPr>
          <p:nvPr/>
        </p:nvPicPr>
        <p:blipFill>
          <a:blip r:embed="rId3"/>
          <a:srcRect/>
          <a:stretch>
            <a:fillRect/>
          </a:stretch>
        </p:blipFill>
        <p:spPr bwMode="auto">
          <a:xfrm>
            <a:off x="0" y="6735763"/>
            <a:ext cx="12192000" cy="122237"/>
          </a:xfrm>
          <a:prstGeom prst="rect">
            <a:avLst/>
          </a:prstGeom>
          <a:noFill/>
          <a:ln w="9525">
            <a:noFill/>
            <a:miter lim="800000"/>
            <a:headEnd/>
            <a:tailEnd/>
          </a:ln>
        </p:spPr>
      </p:pic>
      <p:pic>
        <p:nvPicPr>
          <p:cNvPr id="25606" name="Picture 20" descr="辅助条纹"/>
          <p:cNvPicPr>
            <a:picLocks noChangeAspect="1" noChangeArrowheads="1"/>
          </p:cNvPicPr>
          <p:nvPr/>
        </p:nvPicPr>
        <p:blipFill>
          <a:blip r:embed="rId4"/>
          <a:srcRect/>
          <a:stretch>
            <a:fillRect/>
          </a:stretch>
        </p:blipFill>
        <p:spPr bwMode="auto">
          <a:xfrm>
            <a:off x="9326563" y="6735763"/>
            <a:ext cx="2865437" cy="122237"/>
          </a:xfrm>
          <a:prstGeom prst="rect">
            <a:avLst/>
          </a:prstGeom>
          <a:noFill/>
          <a:ln w="9525">
            <a:noFill/>
            <a:miter lim="800000"/>
            <a:headEnd/>
            <a:tailEnd/>
          </a:ln>
        </p:spPr>
      </p:pic>
      <p:sp>
        <p:nvSpPr>
          <p:cNvPr id="28" name="Rectangle 11"/>
          <p:cNvSpPr/>
          <p:nvPr/>
        </p:nvSpPr>
        <p:spPr bwMode="auto">
          <a:xfrm>
            <a:off x="3213528" y="2108200"/>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1. </a:t>
            </a:r>
            <a:r>
              <a:rPr lang="zh-CN" altLang="en-US" sz="2400" b="1" dirty="0">
                <a:solidFill>
                  <a:schemeClr val="tx1">
                    <a:lumMod val="65000"/>
                    <a:lumOff val="35000"/>
                  </a:schemeClr>
                </a:solidFill>
              </a:rPr>
              <a:t>背景</a:t>
            </a:r>
          </a:p>
        </p:txBody>
      </p:sp>
      <p:sp>
        <p:nvSpPr>
          <p:cNvPr id="29" name="Rectangle 8"/>
          <p:cNvSpPr/>
          <p:nvPr/>
        </p:nvSpPr>
        <p:spPr bwMode="auto">
          <a:xfrm>
            <a:off x="3213528" y="2634614"/>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2.</a:t>
            </a:r>
            <a:r>
              <a:rPr lang="zh-CN" altLang="en-US" sz="2400" b="1" dirty="0">
                <a:solidFill>
                  <a:schemeClr val="tx1">
                    <a:lumMod val="65000"/>
                    <a:lumOff val="35000"/>
                  </a:schemeClr>
                </a:solidFill>
              </a:rPr>
              <a:t>自动化广泛应用</a:t>
            </a:r>
            <a:endParaRPr lang="en-US" altLang="zh-CN" sz="2400" b="1" dirty="0">
              <a:solidFill>
                <a:schemeClr val="tx1">
                  <a:lumMod val="65000"/>
                  <a:lumOff val="35000"/>
                </a:schemeClr>
              </a:solidFill>
            </a:endParaRPr>
          </a:p>
        </p:txBody>
      </p:sp>
      <p:sp>
        <p:nvSpPr>
          <p:cNvPr id="31" name="Rectangle 12"/>
          <p:cNvSpPr/>
          <p:nvPr/>
        </p:nvSpPr>
        <p:spPr bwMode="auto">
          <a:xfrm>
            <a:off x="3213528" y="3161028"/>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rgbClr val="006EBC"/>
                </a:solidFill>
              </a:rPr>
              <a:t>3. </a:t>
            </a:r>
            <a:r>
              <a:rPr lang="zh-CN" altLang="en-US" sz="2400" b="1" dirty="0">
                <a:solidFill>
                  <a:srgbClr val="006EBC"/>
                </a:solidFill>
              </a:rPr>
              <a:t>数字化在路上</a:t>
            </a:r>
            <a:endParaRPr lang="en-US" sz="2400" b="1" dirty="0">
              <a:solidFill>
                <a:srgbClr val="006EBC"/>
              </a:solidFill>
            </a:endParaRPr>
          </a:p>
        </p:txBody>
      </p:sp>
      <p:sp>
        <p:nvSpPr>
          <p:cNvPr id="13" name="Rectangle 13"/>
          <p:cNvSpPr/>
          <p:nvPr/>
        </p:nvSpPr>
        <p:spPr bwMode="auto">
          <a:xfrm>
            <a:off x="3213528" y="4213856"/>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5.</a:t>
            </a:r>
            <a:r>
              <a:rPr lang="zh-CN" altLang="en-US" sz="2400" b="1" dirty="0">
                <a:solidFill>
                  <a:schemeClr val="tx1">
                    <a:lumMod val="65000"/>
                    <a:lumOff val="35000"/>
                  </a:schemeClr>
                </a:solidFill>
              </a:rPr>
              <a:t>实例分享</a:t>
            </a:r>
            <a:endParaRPr lang="en-US" sz="2400" b="1" dirty="0">
              <a:solidFill>
                <a:schemeClr val="tx1">
                  <a:lumMod val="65000"/>
                  <a:lumOff val="35000"/>
                </a:schemeClr>
              </a:solidFill>
            </a:endParaRPr>
          </a:p>
        </p:txBody>
      </p:sp>
      <p:sp>
        <p:nvSpPr>
          <p:cNvPr id="17" name="Rectangle 12"/>
          <p:cNvSpPr/>
          <p:nvPr/>
        </p:nvSpPr>
        <p:spPr bwMode="auto">
          <a:xfrm>
            <a:off x="3213528" y="3687442"/>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4. </a:t>
            </a:r>
            <a:r>
              <a:rPr lang="zh-CN" altLang="en-US" sz="2400" b="1" dirty="0">
                <a:solidFill>
                  <a:schemeClr val="tx1">
                    <a:lumMod val="65000"/>
                    <a:lumOff val="35000"/>
                  </a:schemeClr>
                </a:solidFill>
              </a:rPr>
              <a:t>智能化在探索</a:t>
            </a:r>
            <a:endParaRPr lang="en-US" sz="2400" b="1" dirty="0">
              <a:solidFill>
                <a:schemeClr val="tx1">
                  <a:lumMod val="65000"/>
                  <a:lumOff val="35000"/>
                </a:schemeClr>
              </a:solidFill>
            </a:endParaRPr>
          </a:p>
        </p:txBody>
      </p:sp>
    </p:spTree>
    <p:extLst>
      <p:ext uri="{BB962C8B-B14F-4D97-AF65-F5344CB8AC3E}">
        <p14:creationId xmlns:p14="http://schemas.microsoft.com/office/powerpoint/2010/main" val="4209366109"/>
      </p:ext>
    </p:extLst>
  </p:cSld>
  <p:clrMapOvr>
    <a:masterClrMapping/>
  </p:clrMapOvr>
  <p:transition spd="slow" advTm="0">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0" name="文本框 14"/>
          <p:cNvSpPr txBox="1">
            <a:spLocks noChangeArrowheads="1"/>
          </p:cNvSpPr>
          <p:nvPr/>
        </p:nvSpPr>
        <p:spPr bwMode="auto">
          <a:xfrm>
            <a:off x="1073150" y="-63500"/>
            <a:ext cx="908050" cy="830263"/>
          </a:xfrm>
          <a:prstGeom prst="rect">
            <a:avLst/>
          </a:prstGeom>
          <a:noFill/>
          <a:ln w="9525">
            <a:noFill/>
            <a:miter lim="800000"/>
            <a:headEnd/>
            <a:tailEnd/>
          </a:ln>
        </p:spPr>
        <p:txBody>
          <a:bodyPr>
            <a:spAutoFit/>
          </a:bodyPr>
          <a:lstStyle/>
          <a:p>
            <a:r>
              <a:rPr lang="en-US" altLang="zh-CN" sz="4800" b="1">
                <a:solidFill>
                  <a:schemeClr val="bg1"/>
                </a:solidFill>
                <a:latin typeface="微软雅黑" pitchFamily="34" charset="-122"/>
                <a:ea typeface="微软雅黑" pitchFamily="34" charset="-122"/>
              </a:rPr>
              <a:t>1</a:t>
            </a:r>
            <a:endParaRPr lang="zh-CN" altLang="en-US" sz="4800" b="1">
              <a:solidFill>
                <a:schemeClr val="bg1"/>
              </a:solidFill>
              <a:latin typeface="微软雅黑" pitchFamily="34" charset="-122"/>
              <a:ea typeface="微软雅黑" pitchFamily="34" charset="-122"/>
            </a:endParaRPr>
          </a:p>
        </p:txBody>
      </p:sp>
      <p:sp>
        <p:nvSpPr>
          <p:cNvPr id="84" name="Rectangle 11"/>
          <p:cNvSpPr/>
          <p:nvPr/>
        </p:nvSpPr>
        <p:spPr bwMode="auto">
          <a:xfrm>
            <a:off x="635428" y="114300"/>
            <a:ext cx="6775306"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zh-CN" altLang="en-US" sz="3600" b="1" dirty="0">
                <a:solidFill>
                  <a:srgbClr val="0070C0"/>
                </a:solidFill>
                <a:latin typeface="+mj-ea"/>
                <a:ea typeface="+mj-ea"/>
              </a:rPr>
              <a:t>数字化基础</a:t>
            </a:r>
            <a:r>
              <a:rPr lang="en-US" altLang="zh-CN" sz="3600" b="1" dirty="0" smtClean="0">
                <a:solidFill>
                  <a:srgbClr val="0070C0"/>
                </a:solidFill>
                <a:latin typeface="+mj-ea"/>
                <a:ea typeface="+mj-ea"/>
              </a:rPr>
              <a:t>-</a:t>
            </a:r>
            <a:r>
              <a:rPr lang="zh-CN" altLang="en-US" sz="3600" b="1" dirty="0" smtClean="0">
                <a:solidFill>
                  <a:srgbClr val="0070C0"/>
                </a:solidFill>
                <a:latin typeface="+mj-ea"/>
                <a:ea typeface="+mj-ea"/>
              </a:rPr>
              <a:t>工业互联</a:t>
            </a:r>
            <a:endParaRPr lang="zh-CN" altLang="en-US" sz="3600" b="1" dirty="0">
              <a:solidFill>
                <a:srgbClr val="0070C0"/>
              </a:solidFill>
              <a:latin typeface="+mj-ea"/>
              <a:ea typeface="+mj-ea"/>
            </a:endParaRPr>
          </a:p>
        </p:txBody>
      </p:sp>
      <p:pic>
        <p:nvPicPr>
          <p:cNvPr id="17" name="图片 51">
            <a:extLst>
              <a:ext uri="{FF2B5EF4-FFF2-40B4-BE49-F238E27FC236}">
                <a16:creationId xmlns:a16="http://schemas.microsoft.com/office/drawing/2014/main" id="{175D4BC3-9189-4D3A-BAF0-2BF5B531E7F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10004" y="1016000"/>
            <a:ext cx="8971991" cy="5334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75920456"/>
      </p:ext>
    </p:extLst>
  </p:cSld>
  <p:clrMapOvr>
    <a:masterClrMapping/>
  </p:clrMapOvr>
  <p:transition spd="slow">
    <p:wipe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0" name="文本框 14"/>
          <p:cNvSpPr txBox="1">
            <a:spLocks noChangeArrowheads="1"/>
          </p:cNvSpPr>
          <p:nvPr/>
        </p:nvSpPr>
        <p:spPr bwMode="auto">
          <a:xfrm>
            <a:off x="1073150" y="-63500"/>
            <a:ext cx="908050" cy="830263"/>
          </a:xfrm>
          <a:prstGeom prst="rect">
            <a:avLst/>
          </a:prstGeom>
          <a:noFill/>
          <a:ln w="9525">
            <a:noFill/>
            <a:miter lim="800000"/>
            <a:headEnd/>
            <a:tailEnd/>
          </a:ln>
        </p:spPr>
        <p:txBody>
          <a:bodyPr>
            <a:spAutoFit/>
          </a:bodyPr>
          <a:lstStyle/>
          <a:p>
            <a:r>
              <a:rPr lang="en-US" altLang="zh-CN" sz="4800" b="1">
                <a:solidFill>
                  <a:schemeClr val="bg1"/>
                </a:solidFill>
                <a:latin typeface="微软雅黑" pitchFamily="34" charset="-122"/>
                <a:ea typeface="微软雅黑" pitchFamily="34" charset="-122"/>
              </a:rPr>
              <a:t>1</a:t>
            </a:r>
            <a:endParaRPr lang="zh-CN" altLang="en-US" sz="4800" b="1">
              <a:solidFill>
                <a:schemeClr val="bg1"/>
              </a:solidFill>
              <a:latin typeface="微软雅黑" pitchFamily="34" charset="-122"/>
              <a:ea typeface="微软雅黑" pitchFamily="34" charset="-122"/>
            </a:endParaRPr>
          </a:p>
        </p:txBody>
      </p:sp>
      <p:sp>
        <p:nvSpPr>
          <p:cNvPr id="84" name="Rectangle 11"/>
          <p:cNvSpPr/>
          <p:nvPr/>
        </p:nvSpPr>
        <p:spPr bwMode="auto">
          <a:xfrm>
            <a:off x="635428" y="114300"/>
            <a:ext cx="6775306"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zh-CN" altLang="en-US" sz="3600" b="1" dirty="0">
                <a:solidFill>
                  <a:srgbClr val="0070C0"/>
                </a:solidFill>
                <a:latin typeface="+mj-ea"/>
                <a:ea typeface="+mj-ea"/>
              </a:rPr>
              <a:t>数字化基础</a:t>
            </a:r>
            <a:r>
              <a:rPr lang="en-US" altLang="zh-CN" sz="3600" b="1" dirty="0">
                <a:solidFill>
                  <a:srgbClr val="0070C0"/>
                </a:solidFill>
                <a:latin typeface="+mj-ea"/>
                <a:ea typeface="+mj-ea"/>
              </a:rPr>
              <a:t>-</a:t>
            </a:r>
            <a:r>
              <a:rPr lang="zh-CN" altLang="en-US" sz="3600" b="1" dirty="0">
                <a:solidFill>
                  <a:srgbClr val="0070C0"/>
                </a:solidFill>
                <a:latin typeface="+mj-ea"/>
                <a:ea typeface="+mj-ea"/>
              </a:rPr>
              <a:t>泛在感知</a:t>
            </a:r>
          </a:p>
        </p:txBody>
      </p:sp>
      <p:pic>
        <p:nvPicPr>
          <p:cNvPr id="4" name="Picture 10">
            <a:extLst>
              <a:ext uri="{FF2B5EF4-FFF2-40B4-BE49-F238E27FC236}">
                <a16:creationId xmlns:a16="http://schemas.microsoft.com/office/drawing/2014/main" id="{69F92ED2-CD64-4167-B9C7-43BF7638EBF9}"/>
              </a:ext>
            </a:extLst>
          </p:cNvPr>
          <p:cNvPicPr>
            <a:picLocks noChangeAspect="1" noChangeArrowheads="1"/>
          </p:cNvPicPr>
          <p:nvPr/>
        </p:nvPicPr>
        <p:blipFill>
          <a:blip r:embed="rId3"/>
          <a:srcRect/>
          <a:stretch>
            <a:fillRect/>
          </a:stretch>
        </p:blipFill>
        <p:spPr bwMode="auto">
          <a:xfrm>
            <a:off x="6298489" y="2272109"/>
            <a:ext cx="5000625" cy="3013075"/>
          </a:xfrm>
          <a:prstGeom prst="rect">
            <a:avLst/>
          </a:prstGeom>
          <a:noFill/>
          <a:ln w="9525">
            <a:noFill/>
            <a:miter lim="800000"/>
            <a:headEnd/>
            <a:tailEnd/>
          </a:ln>
          <a:effectLst>
            <a:prstShdw prst="shdw17" dist="17961" dir="2700000">
              <a:schemeClr val="accent1">
                <a:gamma/>
                <a:shade val="60000"/>
                <a:invGamma/>
              </a:schemeClr>
            </a:prstShdw>
          </a:effectLst>
        </p:spPr>
      </p:pic>
      <p:sp>
        <p:nvSpPr>
          <p:cNvPr id="5" name="椭圆 11">
            <a:extLst>
              <a:ext uri="{FF2B5EF4-FFF2-40B4-BE49-F238E27FC236}">
                <a16:creationId xmlns:a16="http://schemas.microsoft.com/office/drawing/2014/main" id="{011923A1-0A45-4E4B-AE91-B473B1C492BE}"/>
              </a:ext>
            </a:extLst>
          </p:cNvPr>
          <p:cNvSpPr>
            <a:spLocks noChangeArrowheads="1"/>
          </p:cNvSpPr>
          <p:nvPr/>
        </p:nvSpPr>
        <p:spPr bwMode="auto">
          <a:xfrm>
            <a:off x="6458736" y="1598479"/>
            <a:ext cx="5143500" cy="4071938"/>
          </a:xfrm>
          <a:prstGeom prst="ellipse">
            <a:avLst/>
          </a:prstGeom>
          <a:noFill/>
          <a:ln w="3810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pic>
        <p:nvPicPr>
          <p:cNvPr id="6" name="Picture 12">
            <a:extLst>
              <a:ext uri="{FF2B5EF4-FFF2-40B4-BE49-F238E27FC236}">
                <a16:creationId xmlns:a16="http://schemas.microsoft.com/office/drawing/2014/main" id="{920A528D-AFAD-44E4-9760-BB658D2EAA64}"/>
              </a:ext>
            </a:extLst>
          </p:cNvPr>
          <p:cNvPicPr>
            <a:picLocks noChangeAspect="1" noChangeArrowheads="1"/>
          </p:cNvPicPr>
          <p:nvPr/>
        </p:nvPicPr>
        <p:blipFill>
          <a:blip r:embed="rId4"/>
          <a:srcRect/>
          <a:stretch>
            <a:fillRect/>
          </a:stretch>
        </p:blipFill>
        <p:spPr bwMode="auto">
          <a:xfrm>
            <a:off x="9601986" y="5313229"/>
            <a:ext cx="682625" cy="785813"/>
          </a:xfrm>
          <a:prstGeom prst="rect">
            <a:avLst/>
          </a:prstGeom>
          <a:noFill/>
          <a:ln w="9525">
            <a:noFill/>
            <a:miter lim="800000"/>
            <a:headEnd/>
            <a:tailEnd/>
          </a:ln>
          <a:effectLst>
            <a:prstShdw prst="shdw17" dist="17961" dir="2700000">
              <a:schemeClr val="accent1">
                <a:gamma/>
                <a:shade val="60000"/>
                <a:invGamma/>
              </a:schemeClr>
            </a:prstShdw>
          </a:effectLst>
        </p:spPr>
      </p:pic>
      <p:pic>
        <p:nvPicPr>
          <p:cNvPr id="7" name="Picture 12">
            <a:extLst>
              <a:ext uri="{FF2B5EF4-FFF2-40B4-BE49-F238E27FC236}">
                <a16:creationId xmlns:a16="http://schemas.microsoft.com/office/drawing/2014/main" id="{6155F60E-C2C4-4F31-9E90-A35026E40996}"/>
              </a:ext>
            </a:extLst>
          </p:cNvPr>
          <p:cNvPicPr>
            <a:picLocks noChangeAspect="1" noChangeArrowheads="1"/>
          </p:cNvPicPr>
          <p:nvPr/>
        </p:nvPicPr>
        <p:blipFill>
          <a:blip r:embed="rId4"/>
          <a:srcRect/>
          <a:stretch>
            <a:fillRect/>
          </a:stretch>
        </p:blipFill>
        <p:spPr bwMode="auto">
          <a:xfrm>
            <a:off x="9959173" y="1598479"/>
            <a:ext cx="682625" cy="785813"/>
          </a:xfrm>
          <a:prstGeom prst="rect">
            <a:avLst/>
          </a:prstGeom>
          <a:noFill/>
          <a:ln w="9525">
            <a:noFill/>
            <a:miter lim="800000"/>
            <a:headEnd/>
            <a:tailEnd/>
          </a:ln>
          <a:effectLst>
            <a:prstShdw prst="shdw17" dist="17961" dir="2700000">
              <a:schemeClr val="accent1">
                <a:gamma/>
                <a:shade val="60000"/>
                <a:invGamma/>
              </a:schemeClr>
            </a:prstShdw>
          </a:effectLst>
        </p:spPr>
      </p:pic>
      <p:pic>
        <p:nvPicPr>
          <p:cNvPr id="8" name="Picture 12">
            <a:extLst>
              <a:ext uri="{FF2B5EF4-FFF2-40B4-BE49-F238E27FC236}">
                <a16:creationId xmlns:a16="http://schemas.microsoft.com/office/drawing/2014/main" id="{C55F7D66-39E9-4E2A-A64F-CFB8D98FD4EE}"/>
              </a:ext>
            </a:extLst>
          </p:cNvPr>
          <p:cNvPicPr>
            <a:picLocks noChangeAspect="1" noChangeArrowheads="1"/>
          </p:cNvPicPr>
          <p:nvPr/>
        </p:nvPicPr>
        <p:blipFill>
          <a:blip r:embed="rId4"/>
          <a:srcRect/>
          <a:stretch>
            <a:fillRect/>
          </a:stretch>
        </p:blipFill>
        <p:spPr bwMode="auto">
          <a:xfrm>
            <a:off x="6815923" y="1884229"/>
            <a:ext cx="682625" cy="785813"/>
          </a:xfrm>
          <a:prstGeom prst="rect">
            <a:avLst/>
          </a:prstGeom>
          <a:noFill/>
          <a:ln w="9525">
            <a:noFill/>
            <a:miter lim="800000"/>
            <a:headEnd/>
            <a:tailEnd/>
          </a:ln>
          <a:effectLst>
            <a:prstShdw prst="shdw17" dist="17961" dir="2700000">
              <a:schemeClr val="accent1">
                <a:gamma/>
                <a:shade val="60000"/>
                <a:invGamma/>
              </a:schemeClr>
            </a:prstShdw>
          </a:effectLst>
        </p:spPr>
      </p:pic>
      <p:pic>
        <p:nvPicPr>
          <p:cNvPr id="9" name="Picture 12">
            <a:extLst>
              <a:ext uri="{FF2B5EF4-FFF2-40B4-BE49-F238E27FC236}">
                <a16:creationId xmlns:a16="http://schemas.microsoft.com/office/drawing/2014/main" id="{7A601321-8DB5-45BE-A841-D27F119D1FC8}"/>
              </a:ext>
            </a:extLst>
          </p:cNvPr>
          <p:cNvPicPr>
            <a:picLocks noChangeAspect="1" noChangeArrowheads="1"/>
          </p:cNvPicPr>
          <p:nvPr/>
        </p:nvPicPr>
        <p:blipFill>
          <a:blip r:embed="rId4"/>
          <a:srcRect/>
          <a:stretch>
            <a:fillRect/>
          </a:stretch>
        </p:blipFill>
        <p:spPr bwMode="auto">
          <a:xfrm>
            <a:off x="6601611" y="4741729"/>
            <a:ext cx="682625" cy="785813"/>
          </a:xfrm>
          <a:prstGeom prst="rect">
            <a:avLst/>
          </a:prstGeom>
          <a:noFill/>
          <a:ln w="9525">
            <a:noFill/>
            <a:miter lim="800000"/>
            <a:headEnd/>
            <a:tailEnd/>
          </a:ln>
          <a:effectLst>
            <a:prstShdw prst="shdw17" dist="17961" dir="2700000">
              <a:schemeClr val="accent1">
                <a:gamma/>
                <a:shade val="60000"/>
                <a:invGamma/>
              </a:schemeClr>
            </a:prstShdw>
          </a:effectLst>
        </p:spPr>
      </p:pic>
      <p:pic>
        <p:nvPicPr>
          <p:cNvPr id="10" name="Picture 13">
            <a:extLst>
              <a:ext uri="{FF2B5EF4-FFF2-40B4-BE49-F238E27FC236}">
                <a16:creationId xmlns:a16="http://schemas.microsoft.com/office/drawing/2014/main" id="{15372644-AE4E-430D-AD68-CD855359EB49}"/>
              </a:ext>
            </a:extLst>
          </p:cNvPr>
          <p:cNvPicPr>
            <a:picLocks noChangeAspect="1" noChangeArrowheads="1"/>
          </p:cNvPicPr>
          <p:nvPr/>
        </p:nvPicPr>
        <p:blipFill>
          <a:blip r:embed="rId5"/>
          <a:srcRect/>
          <a:stretch>
            <a:fillRect/>
          </a:stretch>
        </p:blipFill>
        <p:spPr bwMode="auto">
          <a:xfrm>
            <a:off x="7673173" y="5456104"/>
            <a:ext cx="642938" cy="603250"/>
          </a:xfrm>
          <a:prstGeom prst="rect">
            <a:avLst/>
          </a:prstGeom>
          <a:noFill/>
          <a:ln w="9525">
            <a:noFill/>
            <a:miter lim="800000"/>
            <a:headEnd/>
            <a:tailEnd/>
          </a:ln>
          <a:effectLst>
            <a:prstShdw prst="shdw17" dist="17961" dir="2700000">
              <a:schemeClr val="accent1">
                <a:gamma/>
                <a:shade val="60000"/>
                <a:invGamma/>
              </a:schemeClr>
            </a:prstShdw>
          </a:effectLst>
        </p:spPr>
      </p:pic>
      <p:pic>
        <p:nvPicPr>
          <p:cNvPr id="11" name="Picture 14">
            <a:extLst>
              <a:ext uri="{FF2B5EF4-FFF2-40B4-BE49-F238E27FC236}">
                <a16:creationId xmlns:a16="http://schemas.microsoft.com/office/drawing/2014/main" id="{B66A6FF9-4BC2-490C-A78A-25141FD0341E}"/>
              </a:ext>
            </a:extLst>
          </p:cNvPr>
          <p:cNvPicPr>
            <a:picLocks noChangeAspect="1" noChangeArrowheads="1"/>
          </p:cNvPicPr>
          <p:nvPr/>
        </p:nvPicPr>
        <p:blipFill>
          <a:blip r:embed="rId6"/>
          <a:srcRect/>
          <a:stretch>
            <a:fillRect/>
          </a:stretch>
        </p:blipFill>
        <p:spPr bwMode="auto">
          <a:xfrm>
            <a:off x="6030111" y="3241542"/>
            <a:ext cx="681037" cy="819150"/>
          </a:xfrm>
          <a:prstGeom prst="rect">
            <a:avLst/>
          </a:prstGeom>
          <a:noFill/>
          <a:ln w="9525">
            <a:noFill/>
            <a:miter lim="800000"/>
            <a:headEnd/>
            <a:tailEnd/>
          </a:ln>
          <a:effectLst>
            <a:prstShdw prst="shdw17" dist="17961" dir="2700000">
              <a:schemeClr val="accent1">
                <a:gamma/>
                <a:shade val="60000"/>
                <a:invGamma/>
              </a:schemeClr>
            </a:prstShdw>
          </a:effectLst>
        </p:spPr>
      </p:pic>
      <p:pic>
        <p:nvPicPr>
          <p:cNvPr id="12" name="Picture 13">
            <a:extLst>
              <a:ext uri="{FF2B5EF4-FFF2-40B4-BE49-F238E27FC236}">
                <a16:creationId xmlns:a16="http://schemas.microsoft.com/office/drawing/2014/main" id="{32703E18-473F-4B4F-A248-A324C817A44C}"/>
              </a:ext>
            </a:extLst>
          </p:cNvPr>
          <p:cNvPicPr>
            <a:picLocks noChangeAspect="1" noChangeArrowheads="1"/>
          </p:cNvPicPr>
          <p:nvPr/>
        </p:nvPicPr>
        <p:blipFill>
          <a:blip r:embed="rId5"/>
          <a:srcRect/>
          <a:stretch>
            <a:fillRect/>
          </a:stretch>
        </p:blipFill>
        <p:spPr bwMode="auto">
          <a:xfrm>
            <a:off x="8458986" y="1387342"/>
            <a:ext cx="642937" cy="601662"/>
          </a:xfrm>
          <a:prstGeom prst="rect">
            <a:avLst/>
          </a:prstGeom>
          <a:noFill/>
          <a:ln w="9525">
            <a:noFill/>
            <a:miter lim="800000"/>
            <a:headEnd/>
            <a:tailEnd/>
          </a:ln>
          <a:effectLst>
            <a:prstShdw prst="shdw17" dist="17961" dir="2700000">
              <a:schemeClr val="accent1">
                <a:gamma/>
                <a:shade val="60000"/>
                <a:invGamma/>
              </a:schemeClr>
            </a:prstShdw>
          </a:effectLst>
        </p:spPr>
      </p:pic>
      <p:pic>
        <p:nvPicPr>
          <p:cNvPr id="13" name="Picture 14">
            <a:extLst>
              <a:ext uri="{FF2B5EF4-FFF2-40B4-BE49-F238E27FC236}">
                <a16:creationId xmlns:a16="http://schemas.microsoft.com/office/drawing/2014/main" id="{B212F5B2-425F-4291-B6A3-382AE2C3E82C}"/>
              </a:ext>
            </a:extLst>
          </p:cNvPr>
          <p:cNvPicPr>
            <a:picLocks noChangeAspect="1" noChangeArrowheads="1"/>
          </p:cNvPicPr>
          <p:nvPr/>
        </p:nvPicPr>
        <p:blipFill>
          <a:blip r:embed="rId6"/>
          <a:srcRect/>
          <a:stretch>
            <a:fillRect/>
          </a:stretch>
        </p:blipFill>
        <p:spPr bwMode="auto">
          <a:xfrm>
            <a:off x="11173611" y="3101842"/>
            <a:ext cx="681037" cy="819150"/>
          </a:xfrm>
          <a:prstGeom prst="rect">
            <a:avLst/>
          </a:prstGeom>
          <a:noFill/>
          <a:ln w="9525">
            <a:noFill/>
            <a:miter lim="800000"/>
            <a:headEnd/>
            <a:tailEnd/>
          </a:ln>
          <a:effectLst>
            <a:prstShdw prst="shdw17" dist="17961" dir="2700000">
              <a:schemeClr val="accent1">
                <a:gamma/>
                <a:shade val="60000"/>
                <a:invGamma/>
              </a:schemeClr>
            </a:prstShdw>
          </a:effectLst>
        </p:spPr>
      </p:pic>
      <p:pic>
        <p:nvPicPr>
          <p:cNvPr id="14" name="Picture 13">
            <a:extLst>
              <a:ext uri="{FF2B5EF4-FFF2-40B4-BE49-F238E27FC236}">
                <a16:creationId xmlns:a16="http://schemas.microsoft.com/office/drawing/2014/main" id="{50F8A2F5-4BBE-4FB5-8EF4-A1798B188BB0}"/>
              </a:ext>
            </a:extLst>
          </p:cNvPr>
          <p:cNvPicPr>
            <a:picLocks noChangeAspect="1" noChangeArrowheads="1"/>
          </p:cNvPicPr>
          <p:nvPr/>
        </p:nvPicPr>
        <p:blipFill>
          <a:blip r:embed="rId5"/>
          <a:srcRect/>
          <a:stretch>
            <a:fillRect/>
          </a:stretch>
        </p:blipFill>
        <p:spPr bwMode="auto">
          <a:xfrm>
            <a:off x="10959298" y="4527417"/>
            <a:ext cx="642938" cy="603250"/>
          </a:xfrm>
          <a:prstGeom prst="rect">
            <a:avLst/>
          </a:prstGeom>
          <a:noFill/>
          <a:ln w="9525">
            <a:noFill/>
            <a:miter lim="800000"/>
            <a:headEnd/>
            <a:tailEnd/>
          </a:ln>
          <a:effectLst>
            <a:prstShdw prst="shdw17" dist="17961" dir="2700000">
              <a:schemeClr val="accent1">
                <a:gamma/>
                <a:shade val="60000"/>
                <a:invGamma/>
              </a:schemeClr>
            </a:prstShdw>
          </a:effectLst>
        </p:spPr>
      </p:pic>
      <p:sp>
        <p:nvSpPr>
          <p:cNvPr id="18" name="TextBox 30">
            <a:extLst>
              <a:ext uri="{FF2B5EF4-FFF2-40B4-BE49-F238E27FC236}">
                <a16:creationId xmlns:a16="http://schemas.microsoft.com/office/drawing/2014/main" id="{3AB713EF-BFAD-4DE1-AF0B-D736CDA6D976}"/>
              </a:ext>
            </a:extLst>
          </p:cNvPr>
          <p:cNvSpPr txBox="1">
            <a:spLocks noChangeArrowheads="1"/>
          </p:cNvSpPr>
          <p:nvPr/>
        </p:nvSpPr>
        <p:spPr bwMode="auto">
          <a:xfrm>
            <a:off x="10582268" y="1389723"/>
            <a:ext cx="10001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sz="1400" dirty="0"/>
              <a:t>生产状况</a:t>
            </a:r>
          </a:p>
        </p:txBody>
      </p:sp>
      <p:sp>
        <p:nvSpPr>
          <p:cNvPr id="19" name="TextBox 31">
            <a:extLst>
              <a:ext uri="{FF2B5EF4-FFF2-40B4-BE49-F238E27FC236}">
                <a16:creationId xmlns:a16="http://schemas.microsoft.com/office/drawing/2014/main" id="{E3924062-1B2F-4A4F-BE6B-E39D2FC30762}"/>
              </a:ext>
            </a:extLst>
          </p:cNvPr>
          <p:cNvSpPr txBox="1">
            <a:spLocks noChangeArrowheads="1"/>
          </p:cNvSpPr>
          <p:nvPr/>
        </p:nvSpPr>
        <p:spPr bwMode="auto">
          <a:xfrm>
            <a:off x="7315986" y="1315904"/>
            <a:ext cx="17145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sz="1400"/>
              <a:t>洁净度，温度，湿度，粉尘浓度等</a:t>
            </a:r>
          </a:p>
        </p:txBody>
      </p:sp>
      <p:pic>
        <p:nvPicPr>
          <p:cNvPr id="21" name="图片 20">
            <a:extLst>
              <a:ext uri="{FF2B5EF4-FFF2-40B4-BE49-F238E27FC236}">
                <a16:creationId xmlns:a16="http://schemas.microsoft.com/office/drawing/2014/main" id="{FA5F0D84-DFA3-4BC9-82F7-521CECA0CA3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8804" y="1167618"/>
            <a:ext cx="1756813" cy="1241013"/>
          </a:xfrm>
          <a:prstGeom prst="rect">
            <a:avLst/>
          </a:prstGeom>
        </p:spPr>
      </p:pic>
      <p:pic>
        <p:nvPicPr>
          <p:cNvPr id="22" name="图片 21">
            <a:extLst>
              <a:ext uri="{FF2B5EF4-FFF2-40B4-BE49-F238E27FC236}">
                <a16:creationId xmlns:a16="http://schemas.microsoft.com/office/drawing/2014/main" id="{CD684949-9CBB-4673-BFED-1607F3AA89E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10079" y="1169355"/>
            <a:ext cx="1626048" cy="1219536"/>
          </a:xfrm>
          <a:prstGeom prst="rect">
            <a:avLst/>
          </a:prstGeom>
        </p:spPr>
      </p:pic>
      <p:pic>
        <p:nvPicPr>
          <p:cNvPr id="25" name="图片 24">
            <a:extLst>
              <a:ext uri="{FF2B5EF4-FFF2-40B4-BE49-F238E27FC236}">
                <a16:creationId xmlns:a16="http://schemas.microsoft.com/office/drawing/2014/main" id="{CDA065F1-A879-46D3-BC91-07A9120102D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756187" y="1167618"/>
            <a:ext cx="899898" cy="1236346"/>
          </a:xfrm>
          <a:prstGeom prst="rect">
            <a:avLst/>
          </a:prstGeom>
        </p:spPr>
      </p:pic>
      <p:pic>
        <p:nvPicPr>
          <p:cNvPr id="27" name="图片 26">
            <a:extLst>
              <a:ext uri="{FF2B5EF4-FFF2-40B4-BE49-F238E27FC236}">
                <a16:creationId xmlns:a16="http://schemas.microsoft.com/office/drawing/2014/main" id="{A4C09898-4E4C-486B-A3FC-B09083834A0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31862" y="2473494"/>
            <a:ext cx="1195313" cy="1593750"/>
          </a:xfrm>
          <a:prstGeom prst="rect">
            <a:avLst/>
          </a:prstGeom>
        </p:spPr>
      </p:pic>
      <p:sp>
        <p:nvSpPr>
          <p:cNvPr id="28" name="矩形 27">
            <a:extLst>
              <a:ext uri="{FF2B5EF4-FFF2-40B4-BE49-F238E27FC236}">
                <a16:creationId xmlns:a16="http://schemas.microsoft.com/office/drawing/2014/main" id="{AB9BCCE0-36D2-4C25-9B0C-FA16EE801624}"/>
              </a:ext>
            </a:extLst>
          </p:cNvPr>
          <p:cNvSpPr/>
          <p:nvPr/>
        </p:nvSpPr>
        <p:spPr>
          <a:xfrm>
            <a:off x="338804" y="6261419"/>
            <a:ext cx="9446817" cy="338554"/>
          </a:xfrm>
          <a:prstGeom prst="rect">
            <a:avLst/>
          </a:prstGeom>
        </p:spPr>
        <p:txBody>
          <a:bodyPr wrap="none">
            <a:spAutoFit/>
          </a:bodyPr>
          <a:lstStyle/>
          <a:p>
            <a:r>
              <a:rPr lang="zh-CN" altLang="en-US" sz="1600" b="1" dirty="0">
                <a:latin typeface="+mj-ea"/>
                <a:ea typeface="+mj-ea"/>
              </a:rPr>
              <a:t>在线粒子、浮游菌、压力、温度、液位流量等检测，一条产线大约应用</a:t>
            </a:r>
            <a:r>
              <a:rPr lang="en-US" altLang="zh-CN" sz="1600" b="1" dirty="0">
                <a:latin typeface="+mj-ea"/>
                <a:ea typeface="+mj-ea"/>
              </a:rPr>
              <a:t>200-300</a:t>
            </a:r>
            <a:r>
              <a:rPr lang="zh-CN" altLang="en-US" sz="1600" b="1" dirty="0">
                <a:latin typeface="+mj-ea"/>
                <a:ea typeface="+mj-ea"/>
              </a:rPr>
              <a:t>个传感器，并逐渐增多</a:t>
            </a:r>
          </a:p>
        </p:txBody>
      </p:sp>
      <p:sp>
        <p:nvSpPr>
          <p:cNvPr id="29" name="object 5">
            <a:extLst>
              <a:ext uri="{FF2B5EF4-FFF2-40B4-BE49-F238E27FC236}">
                <a16:creationId xmlns:a16="http://schemas.microsoft.com/office/drawing/2014/main" id="{FAE8A78E-FC07-405B-811F-172AAFB60988}"/>
              </a:ext>
            </a:extLst>
          </p:cNvPr>
          <p:cNvSpPr/>
          <p:nvPr/>
        </p:nvSpPr>
        <p:spPr>
          <a:xfrm>
            <a:off x="1958661" y="2603575"/>
            <a:ext cx="1528964" cy="1397799"/>
          </a:xfrm>
          <a:prstGeom prst="rect">
            <a:avLst/>
          </a:prstGeom>
          <a:blipFill>
            <a:blip r:embed="rId11" cstate="print"/>
            <a:stretch>
              <a:fillRect t="-9206" b="-5692"/>
            </a:stretch>
          </a:blipFill>
        </p:spPr>
        <p:txBody>
          <a:bodyPr wrap="square" lIns="0" tIns="0" rIns="0" bIns="0" rtlCol="0">
            <a:noAutofit/>
          </a:bodyPr>
          <a:lstStyle/>
          <a:p>
            <a:endParaRPr/>
          </a:p>
        </p:txBody>
      </p:sp>
      <p:sp>
        <p:nvSpPr>
          <p:cNvPr id="30" name="object 10">
            <a:extLst>
              <a:ext uri="{FF2B5EF4-FFF2-40B4-BE49-F238E27FC236}">
                <a16:creationId xmlns:a16="http://schemas.microsoft.com/office/drawing/2014/main" id="{E0F3B0B2-01A3-46D8-9293-F7971AF9F955}"/>
              </a:ext>
            </a:extLst>
          </p:cNvPr>
          <p:cNvSpPr/>
          <p:nvPr/>
        </p:nvSpPr>
        <p:spPr>
          <a:xfrm>
            <a:off x="4011752" y="2566647"/>
            <a:ext cx="648467" cy="1307416"/>
          </a:xfrm>
          <a:prstGeom prst="rect">
            <a:avLst/>
          </a:prstGeom>
          <a:blipFill>
            <a:blip r:embed="rId12" cstate="print"/>
            <a:stretch>
              <a:fillRect/>
            </a:stretch>
          </a:blipFill>
        </p:spPr>
        <p:txBody>
          <a:bodyPr wrap="square" lIns="0" tIns="0" rIns="0" bIns="0" rtlCol="0">
            <a:noAutofit/>
          </a:bodyPr>
          <a:lstStyle/>
          <a:p>
            <a:endParaRPr/>
          </a:p>
        </p:txBody>
      </p:sp>
      <p:pic>
        <p:nvPicPr>
          <p:cNvPr id="31" name="图片 30">
            <a:extLst>
              <a:ext uri="{FF2B5EF4-FFF2-40B4-BE49-F238E27FC236}">
                <a16:creationId xmlns:a16="http://schemas.microsoft.com/office/drawing/2014/main" id="{72D8460F-13B5-4B94-AB3B-5057DB4DA111}"/>
              </a:ext>
            </a:extLst>
          </p:cNvPr>
          <p:cNvPicPr>
            <a:picLocks noChangeAspect="1"/>
          </p:cNvPicPr>
          <p:nvPr/>
        </p:nvPicPr>
        <p:blipFill rotWithShape="1">
          <a:blip r:embed="rId13">
            <a:extLst>
              <a:ext uri="{28A0092B-C50C-407E-A947-70E740481C1C}">
                <a14:useLocalDpi xmlns:a14="http://schemas.microsoft.com/office/drawing/2010/main" val="0"/>
              </a:ext>
            </a:extLst>
          </a:blip>
          <a:srcRect l="4289" t="4228" r="-4289" b="-580"/>
          <a:stretch/>
        </p:blipFill>
        <p:spPr>
          <a:xfrm>
            <a:off x="338187" y="4190088"/>
            <a:ext cx="1307733" cy="1691095"/>
          </a:xfrm>
          <a:prstGeom prst="rect">
            <a:avLst/>
          </a:prstGeom>
        </p:spPr>
      </p:pic>
      <p:pic>
        <p:nvPicPr>
          <p:cNvPr id="32" name="图片 31">
            <a:extLst>
              <a:ext uri="{FF2B5EF4-FFF2-40B4-BE49-F238E27FC236}">
                <a16:creationId xmlns:a16="http://schemas.microsoft.com/office/drawing/2014/main" id="{B9D7C147-33F7-4C79-BE0B-3A173E311262}"/>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929895" y="4196318"/>
            <a:ext cx="1228886" cy="1638514"/>
          </a:xfrm>
          <a:prstGeom prst="rect">
            <a:avLst/>
          </a:prstGeom>
        </p:spPr>
      </p:pic>
      <p:pic>
        <p:nvPicPr>
          <p:cNvPr id="33" name="图片 32">
            <a:extLst>
              <a:ext uri="{FF2B5EF4-FFF2-40B4-BE49-F238E27FC236}">
                <a16:creationId xmlns:a16="http://schemas.microsoft.com/office/drawing/2014/main" id="{E84435F6-4E3C-4D89-8CDE-D5042DC1252A}"/>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583966" y="4190088"/>
            <a:ext cx="1072119" cy="1679540"/>
          </a:xfrm>
          <a:prstGeom prst="rect">
            <a:avLst/>
          </a:prstGeom>
        </p:spPr>
      </p:pic>
      <p:sp>
        <p:nvSpPr>
          <p:cNvPr id="34" name="左箭头 28">
            <a:extLst>
              <a:ext uri="{FF2B5EF4-FFF2-40B4-BE49-F238E27FC236}">
                <a16:creationId xmlns:a16="http://schemas.microsoft.com/office/drawing/2014/main" id="{7FD4B248-5589-4D04-8BC0-734601F0E080}"/>
              </a:ext>
            </a:extLst>
          </p:cNvPr>
          <p:cNvSpPr>
            <a:spLocks noChangeArrowheads="1"/>
          </p:cNvSpPr>
          <p:nvPr/>
        </p:nvSpPr>
        <p:spPr bwMode="auto">
          <a:xfrm>
            <a:off x="5230633" y="3135709"/>
            <a:ext cx="500062" cy="642937"/>
          </a:xfrm>
          <a:prstGeom prst="leftArrow">
            <a:avLst>
              <a:gd name="adj1" fmla="val 50000"/>
              <a:gd name="adj2" fmla="val 50000"/>
            </a:avLst>
          </a:prstGeom>
          <a:solidFill>
            <a:schemeClr val="accent1"/>
          </a:solidFill>
          <a:ln w="9525" algn="ctr">
            <a:solidFill>
              <a:schemeClr val="tx1"/>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Tree>
    <p:extLst>
      <p:ext uri="{BB962C8B-B14F-4D97-AF65-F5344CB8AC3E}">
        <p14:creationId xmlns:p14="http://schemas.microsoft.com/office/powerpoint/2010/main" val="4127302738"/>
      </p:ext>
    </p:extLst>
  </p:cSld>
  <p:clrMapOvr>
    <a:masterClrMapping/>
  </p:clrMapOvr>
  <p:transition spd="slow">
    <p:wipe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0" name="文本框 14"/>
          <p:cNvSpPr txBox="1">
            <a:spLocks noChangeArrowheads="1"/>
          </p:cNvSpPr>
          <p:nvPr/>
        </p:nvSpPr>
        <p:spPr bwMode="auto">
          <a:xfrm>
            <a:off x="1073150" y="-63500"/>
            <a:ext cx="908050" cy="830263"/>
          </a:xfrm>
          <a:prstGeom prst="rect">
            <a:avLst/>
          </a:prstGeom>
          <a:noFill/>
          <a:ln w="9525">
            <a:noFill/>
            <a:miter lim="800000"/>
            <a:headEnd/>
            <a:tailEnd/>
          </a:ln>
        </p:spPr>
        <p:txBody>
          <a:bodyPr>
            <a:spAutoFit/>
          </a:bodyPr>
          <a:lstStyle/>
          <a:p>
            <a:r>
              <a:rPr lang="en-US" altLang="zh-CN" sz="4800" b="1">
                <a:solidFill>
                  <a:schemeClr val="bg1"/>
                </a:solidFill>
                <a:latin typeface="微软雅黑" pitchFamily="34" charset="-122"/>
                <a:ea typeface="微软雅黑" pitchFamily="34" charset="-122"/>
              </a:rPr>
              <a:t>1</a:t>
            </a:r>
            <a:endParaRPr lang="zh-CN" altLang="en-US" sz="4800" b="1">
              <a:solidFill>
                <a:schemeClr val="bg1"/>
              </a:solidFill>
              <a:latin typeface="微软雅黑" pitchFamily="34" charset="-122"/>
              <a:ea typeface="微软雅黑" pitchFamily="34" charset="-122"/>
            </a:endParaRPr>
          </a:p>
        </p:txBody>
      </p:sp>
      <p:sp>
        <p:nvSpPr>
          <p:cNvPr id="84" name="Rectangle 11"/>
          <p:cNvSpPr/>
          <p:nvPr/>
        </p:nvSpPr>
        <p:spPr bwMode="auto">
          <a:xfrm>
            <a:off x="635428" y="114300"/>
            <a:ext cx="6775306"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zh-CN" altLang="en-US" sz="3600" b="1" dirty="0">
                <a:solidFill>
                  <a:srgbClr val="0070C0"/>
                </a:solidFill>
                <a:latin typeface="+mj-ea"/>
                <a:ea typeface="+mj-ea"/>
              </a:rPr>
              <a:t>设计数字化</a:t>
            </a:r>
          </a:p>
        </p:txBody>
      </p:sp>
      <p:sp>
        <p:nvSpPr>
          <p:cNvPr id="31" name="矩形 30">
            <a:extLst>
              <a:ext uri="{FF2B5EF4-FFF2-40B4-BE49-F238E27FC236}">
                <a16:creationId xmlns:a16="http://schemas.microsoft.com/office/drawing/2014/main" id="{76F226C6-1CAF-433F-9222-DB2F2DEAA5DE}"/>
              </a:ext>
            </a:extLst>
          </p:cNvPr>
          <p:cNvSpPr/>
          <p:nvPr/>
        </p:nvSpPr>
        <p:spPr bwMode="auto">
          <a:xfrm>
            <a:off x="5953937" y="1480503"/>
            <a:ext cx="1447800" cy="1679575"/>
          </a:xfrm>
          <a:prstGeom prst="rect">
            <a:avLst/>
          </a:prstGeom>
          <a:solidFill>
            <a:srgbClr val="FF9300"/>
          </a:solidFill>
          <a:ln w="127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altLang="zh-CN" sz="2400" b="1" dirty="0">
                <a:latin typeface="微软雅黑" pitchFamily="34" charset="-122"/>
              </a:rPr>
              <a:t>02 </a:t>
            </a:r>
          </a:p>
          <a:p>
            <a:pPr>
              <a:defRPr/>
            </a:pPr>
            <a:r>
              <a:rPr lang="zh-CN" altLang="en-US" sz="2400" b="1" dirty="0">
                <a:latin typeface="微软雅黑" pitchFamily="34" charset="-122"/>
              </a:rPr>
              <a:t>产线仿真</a:t>
            </a:r>
          </a:p>
        </p:txBody>
      </p:sp>
      <p:sp>
        <p:nvSpPr>
          <p:cNvPr id="32" name="矩形 31">
            <a:extLst>
              <a:ext uri="{FF2B5EF4-FFF2-40B4-BE49-F238E27FC236}">
                <a16:creationId xmlns:a16="http://schemas.microsoft.com/office/drawing/2014/main" id="{F7379466-9BD9-43C6-BD6C-B8F42B1F3349}"/>
              </a:ext>
            </a:extLst>
          </p:cNvPr>
          <p:cNvSpPr/>
          <p:nvPr/>
        </p:nvSpPr>
        <p:spPr bwMode="auto">
          <a:xfrm>
            <a:off x="418324" y="1455103"/>
            <a:ext cx="1482725" cy="1668462"/>
          </a:xfrm>
          <a:prstGeom prst="rect">
            <a:avLst/>
          </a:prstGeom>
          <a:solidFill>
            <a:srgbClr val="FF9300"/>
          </a:solidFill>
          <a:ln w="127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altLang="zh-CN" sz="2400" b="1" dirty="0">
                <a:latin typeface="微软雅黑" pitchFamily="34" charset="-122"/>
              </a:rPr>
              <a:t>01 </a:t>
            </a:r>
          </a:p>
          <a:p>
            <a:pPr>
              <a:defRPr/>
            </a:pPr>
            <a:r>
              <a:rPr lang="zh-CN" altLang="en-US" sz="2400" b="1" dirty="0">
                <a:latin typeface="微软雅黑" pitchFamily="34" charset="-122"/>
              </a:rPr>
              <a:t>车间布局仿真</a:t>
            </a:r>
          </a:p>
        </p:txBody>
      </p:sp>
      <p:sp>
        <p:nvSpPr>
          <p:cNvPr id="33" name="矩形 32">
            <a:extLst>
              <a:ext uri="{FF2B5EF4-FFF2-40B4-BE49-F238E27FC236}">
                <a16:creationId xmlns:a16="http://schemas.microsoft.com/office/drawing/2014/main" id="{9D48FD7B-11B3-4F8D-97CD-E3E4F18F75BA}"/>
              </a:ext>
            </a:extLst>
          </p:cNvPr>
          <p:cNvSpPr/>
          <p:nvPr/>
        </p:nvSpPr>
        <p:spPr bwMode="auto">
          <a:xfrm>
            <a:off x="418324" y="3399790"/>
            <a:ext cx="1504950" cy="1630363"/>
          </a:xfrm>
          <a:prstGeom prst="rect">
            <a:avLst/>
          </a:prstGeom>
          <a:solidFill>
            <a:srgbClr val="FF9300"/>
          </a:solidFill>
          <a:ln w="127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altLang="zh-CN" sz="2400" b="1" dirty="0">
                <a:latin typeface="微软雅黑" pitchFamily="34" charset="-122"/>
              </a:rPr>
              <a:t>03 </a:t>
            </a:r>
          </a:p>
          <a:p>
            <a:pPr>
              <a:defRPr/>
            </a:pPr>
            <a:r>
              <a:rPr lang="zh-CN" altLang="en-US" sz="2400" b="1" dirty="0">
                <a:latin typeface="微软雅黑" pitchFamily="34" charset="-122"/>
              </a:rPr>
              <a:t>物流仿真</a:t>
            </a:r>
          </a:p>
        </p:txBody>
      </p:sp>
      <p:sp>
        <p:nvSpPr>
          <p:cNvPr id="34" name="矩形 33">
            <a:extLst>
              <a:ext uri="{FF2B5EF4-FFF2-40B4-BE49-F238E27FC236}">
                <a16:creationId xmlns:a16="http://schemas.microsoft.com/office/drawing/2014/main" id="{A58F99CD-8389-4E3D-BDA8-AD66D132ACCC}"/>
              </a:ext>
            </a:extLst>
          </p:cNvPr>
          <p:cNvSpPr/>
          <p:nvPr/>
        </p:nvSpPr>
        <p:spPr bwMode="auto">
          <a:xfrm>
            <a:off x="5953937" y="3387090"/>
            <a:ext cx="1447800" cy="1630363"/>
          </a:xfrm>
          <a:prstGeom prst="rect">
            <a:avLst/>
          </a:prstGeom>
          <a:solidFill>
            <a:srgbClr val="FF9300"/>
          </a:solidFill>
          <a:ln w="127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altLang="zh-CN" sz="2400" b="1" dirty="0">
                <a:latin typeface="微软雅黑" pitchFamily="34" charset="-122"/>
              </a:rPr>
              <a:t>04 </a:t>
            </a:r>
          </a:p>
          <a:p>
            <a:pPr>
              <a:defRPr/>
            </a:pPr>
            <a:r>
              <a:rPr lang="zh-CN" altLang="en-US" sz="2400" b="1" dirty="0">
                <a:latin typeface="微软雅黑" pitchFamily="34" charset="-122"/>
              </a:rPr>
              <a:t>工艺仿真</a:t>
            </a:r>
          </a:p>
        </p:txBody>
      </p:sp>
      <p:pic>
        <p:nvPicPr>
          <p:cNvPr id="35" name="Picture 8" descr="http://www.whonton.com/images/upload/Image/140357zvo7erzperbbp1zd.png">
            <a:extLst>
              <a:ext uri="{FF2B5EF4-FFF2-40B4-BE49-F238E27FC236}">
                <a16:creationId xmlns:a16="http://schemas.microsoft.com/office/drawing/2014/main" id="{C320BFE4-EEAA-4E25-A74A-817B4375DE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6349" y="3431540"/>
            <a:ext cx="1858963" cy="159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10" descr="http://h.hiphotos.baidu.com/zhidao/pic/item/b3fb43166d224f4ab739e4a509f790529922d1e0.jpg">
            <a:extLst>
              <a:ext uri="{FF2B5EF4-FFF2-40B4-BE49-F238E27FC236}">
                <a16:creationId xmlns:a16="http://schemas.microsoft.com/office/drawing/2014/main" id="{A0DC2659-DE52-411B-B0F3-3B873961ADE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18967" t="6020" b="12688"/>
          <a:stretch>
            <a:fillRect/>
          </a:stretch>
        </p:blipFill>
        <p:spPr bwMode="auto">
          <a:xfrm>
            <a:off x="1986774" y="3431540"/>
            <a:ext cx="1703388" cy="158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矩形 23">
            <a:extLst>
              <a:ext uri="{FF2B5EF4-FFF2-40B4-BE49-F238E27FC236}">
                <a16:creationId xmlns:a16="http://schemas.microsoft.com/office/drawing/2014/main" id="{4EAB6B8B-BFCA-4DB6-92C0-7625AC38B66E}"/>
              </a:ext>
            </a:extLst>
          </p:cNvPr>
          <p:cNvSpPr>
            <a:spLocks noChangeArrowheads="1"/>
          </p:cNvSpPr>
          <p:nvPr/>
        </p:nvSpPr>
        <p:spPr bwMode="auto">
          <a:xfrm>
            <a:off x="235527" y="5483028"/>
            <a:ext cx="1172094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en-US" b="1" dirty="0">
                <a:latin typeface="微软雅黑" panose="020B0503020204020204" pitchFamily="34" charset="-122"/>
              </a:rPr>
              <a:t>项目</a:t>
            </a:r>
            <a:r>
              <a:rPr lang="zh-CN" altLang="zh-CN" b="1" dirty="0">
                <a:latin typeface="微软雅黑" panose="020B0503020204020204" pitchFamily="34" charset="-122"/>
              </a:rPr>
              <a:t>在建设规划上，</a:t>
            </a:r>
            <a:r>
              <a:rPr lang="zh-CN" altLang="en-US" b="1" dirty="0">
                <a:latin typeface="微软雅黑" panose="020B0503020204020204" pitchFamily="34" charset="-122"/>
              </a:rPr>
              <a:t>通过</a:t>
            </a:r>
            <a:r>
              <a:rPr lang="zh-CN" altLang="zh-CN" b="1" dirty="0">
                <a:solidFill>
                  <a:srgbClr val="FF0000"/>
                </a:solidFill>
                <a:latin typeface="微软雅黑" panose="020B0503020204020204" pitchFamily="34" charset="-122"/>
              </a:rPr>
              <a:t>仿真设计</a:t>
            </a:r>
            <a:r>
              <a:rPr lang="zh-CN" altLang="zh-CN" b="1" dirty="0">
                <a:latin typeface="微软雅黑" panose="020B0503020204020204" pitchFamily="34" charset="-122"/>
              </a:rPr>
              <a:t>，对</a:t>
            </a:r>
            <a:r>
              <a:rPr lang="zh-CN" altLang="en-US" b="1" dirty="0">
                <a:latin typeface="微软雅黑" panose="020B0503020204020204" pitchFamily="34" charset="-122"/>
              </a:rPr>
              <a:t>车间</a:t>
            </a:r>
            <a:r>
              <a:rPr lang="zh-CN" altLang="zh-CN" b="1" dirty="0">
                <a:latin typeface="微软雅黑" panose="020B0503020204020204" pitchFamily="34" charset="-122"/>
              </a:rPr>
              <a:t>布局、</a:t>
            </a:r>
            <a:r>
              <a:rPr lang="zh-CN" altLang="en-US" b="1" dirty="0">
                <a:latin typeface="微软雅黑" panose="020B0503020204020204" pitchFamily="34" charset="-122"/>
              </a:rPr>
              <a:t>产线设计</a:t>
            </a:r>
            <a:r>
              <a:rPr lang="zh-CN" altLang="zh-CN" b="1" dirty="0">
                <a:latin typeface="微软雅黑" panose="020B0503020204020204" pitchFamily="34" charset="-122"/>
              </a:rPr>
              <a:t>、</a:t>
            </a:r>
            <a:r>
              <a:rPr lang="zh-CN" altLang="en-US" b="1" dirty="0">
                <a:latin typeface="微软雅黑" panose="020B0503020204020204" pitchFamily="34" charset="-122"/>
              </a:rPr>
              <a:t>工艺、物流</a:t>
            </a:r>
            <a:r>
              <a:rPr lang="zh-CN" altLang="zh-CN" b="1" dirty="0">
                <a:latin typeface="微软雅黑" panose="020B0503020204020204" pitchFamily="34" charset="-122"/>
              </a:rPr>
              <a:t>、</a:t>
            </a:r>
            <a:r>
              <a:rPr lang="zh-CN" altLang="en-US" b="1" dirty="0">
                <a:latin typeface="微软雅黑" panose="020B0503020204020204" pitchFamily="34" charset="-122"/>
              </a:rPr>
              <a:t>包装</a:t>
            </a:r>
            <a:r>
              <a:rPr lang="zh-CN" altLang="zh-CN" b="1" dirty="0">
                <a:latin typeface="微软雅黑" panose="020B0503020204020204" pitchFamily="34" charset="-122"/>
              </a:rPr>
              <a:t>等环节进行模拟仿真，实现</a:t>
            </a:r>
            <a:r>
              <a:rPr lang="zh-CN" altLang="en-US" b="1" dirty="0">
                <a:latin typeface="微软雅黑" panose="020B0503020204020204" pitchFamily="34" charset="-122"/>
              </a:rPr>
              <a:t>车间</a:t>
            </a:r>
            <a:r>
              <a:rPr lang="zh-CN" altLang="zh-CN" b="1" dirty="0">
                <a:latin typeface="微软雅黑" panose="020B0503020204020204" pitchFamily="34" charset="-122"/>
              </a:rPr>
              <a:t>最优设计。</a:t>
            </a:r>
          </a:p>
        </p:txBody>
      </p:sp>
      <p:pic>
        <p:nvPicPr>
          <p:cNvPr id="38" name="Picture 2" descr="597343953759839724">
            <a:extLst>
              <a:ext uri="{FF2B5EF4-FFF2-40B4-BE49-F238E27FC236}">
                <a16:creationId xmlns:a16="http://schemas.microsoft.com/office/drawing/2014/main" id="{85BB450D-3E20-4DB0-B46C-849EA95FBC3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81200" y="1558344"/>
            <a:ext cx="3544112" cy="1589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1">
            <a:extLst>
              <a:ext uri="{FF2B5EF4-FFF2-40B4-BE49-F238E27FC236}">
                <a16:creationId xmlns:a16="http://schemas.microsoft.com/office/drawing/2014/main" id="{7B52A4FC-8D4E-4683-863B-CA5BF023D33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01737" y="3417551"/>
            <a:ext cx="4427669" cy="1647526"/>
          </a:xfrm>
          <a:prstGeom prst="rect">
            <a:avLst/>
          </a:prstGeom>
          <a:noFill/>
          <a:extLst>
            <a:ext uri="{909E8E84-426E-40DD-AFC4-6F175D3DCCD1}">
              <a14:hiddenFill xmlns:a14="http://schemas.microsoft.com/office/drawing/2010/main">
                <a:solidFill>
                  <a:srgbClr val="FFFFFF"/>
                </a:solidFill>
              </a14:hiddenFill>
            </a:ext>
          </a:extLst>
        </p:spPr>
      </p:pic>
      <p:grpSp>
        <p:nvGrpSpPr>
          <p:cNvPr id="41" name="对象 3">
            <a:extLst>
              <a:ext uri="{FF2B5EF4-FFF2-40B4-BE49-F238E27FC236}">
                <a16:creationId xmlns:a16="http://schemas.microsoft.com/office/drawing/2014/main" id="{10E540F3-C10F-4F83-A087-68A6ECC75F7D}"/>
              </a:ext>
            </a:extLst>
          </p:cNvPr>
          <p:cNvGrpSpPr>
            <a:grpSpLocks/>
          </p:cNvGrpSpPr>
          <p:nvPr/>
        </p:nvGrpSpPr>
        <p:grpSpPr bwMode="auto">
          <a:xfrm>
            <a:off x="7401736" y="1422960"/>
            <a:ext cx="4427669" cy="1915686"/>
            <a:chOff x="-171" y="415"/>
            <a:chExt cx="10071" cy="7313"/>
          </a:xfrm>
        </p:grpSpPr>
        <p:pic>
          <p:nvPicPr>
            <p:cNvPr id="42" name="图片 3">
              <a:extLst>
                <a:ext uri="{FF2B5EF4-FFF2-40B4-BE49-F238E27FC236}">
                  <a16:creationId xmlns:a16="http://schemas.microsoft.com/office/drawing/2014/main" id="{72123B5C-DEF1-4021-B2FF-E84A784D9B8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1" y="415"/>
              <a:ext cx="9900" cy="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7">
              <a:extLst>
                <a:ext uri="{FF2B5EF4-FFF2-40B4-BE49-F238E27FC236}">
                  <a16:creationId xmlns:a16="http://schemas.microsoft.com/office/drawing/2014/main" id="{A1F8A8D1-EDDD-4F4A-A402-8EDA532E412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17" y="4535"/>
              <a:ext cx="2662" cy="1594"/>
            </a:xfrm>
            <a:prstGeom prst="rect">
              <a:avLst/>
            </a:prstGeom>
            <a:noFill/>
            <a:ln>
              <a:noFill/>
            </a:ln>
            <a:effectLst>
              <a:outerShdw dist="17961" dir="2700000" algn="ctr" rotWithShape="0">
                <a:srgbClr val="2F4D7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TextBox 5">
              <a:extLst>
                <a:ext uri="{FF2B5EF4-FFF2-40B4-BE49-F238E27FC236}">
                  <a16:creationId xmlns:a16="http://schemas.microsoft.com/office/drawing/2014/main" id="{85AE6B67-5CCD-4B3B-AAE3-0EA88214297D}"/>
                </a:ext>
              </a:extLst>
            </p:cNvPr>
            <p:cNvSpPr>
              <a:spLocks noChangeArrowheads="1"/>
            </p:cNvSpPr>
            <p:nvPr/>
          </p:nvSpPr>
          <p:spPr bwMode="auto">
            <a:xfrm>
              <a:off x="7088" y="5852"/>
              <a:ext cx="2812" cy="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r>
                <a:rPr lang="zh-CN" altLang="zh-CN" sz="1000" b="1">
                  <a:latin typeface="微软雅黑" panose="020B0503020204020204" pitchFamily="34" charset="-122"/>
                  <a:ea typeface="微软雅黑" panose="020B0503020204020204" pitchFamily="34" charset="-122"/>
                  <a:cs typeface="Times New Roman" panose="02020603050405020304" pitchFamily="18" charset="0"/>
                </a:rPr>
                <a:t>智能检测机器人</a:t>
              </a:r>
              <a:endParaRPr lang="zh-CN" altLang="zh-CN" sz="1800">
                <a:latin typeface="微软雅黑" panose="020B0503020204020204" pitchFamily="34" charset="-122"/>
                <a:ea typeface="微软雅黑" panose="020B0503020204020204" pitchFamily="34" charset="-122"/>
                <a:cs typeface="宋体" panose="02010600030101010101" pitchFamily="2" charset="-122"/>
              </a:endParaRPr>
            </a:p>
          </p:txBody>
        </p:sp>
      </p:grpSp>
    </p:spTree>
  </p:cSld>
  <p:clrMapOvr>
    <a:masterClrMapping/>
  </p:clrMapOvr>
  <p:transition spd="slow">
    <p:wipe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文本框 14"/>
          <p:cNvSpPr txBox="1">
            <a:spLocks noChangeArrowheads="1"/>
          </p:cNvSpPr>
          <p:nvPr/>
        </p:nvSpPr>
        <p:spPr bwMode="auto">
          <a:xfrm>
            <a:off x="1073150" y="-63500"/>
            <a:ext cx="908050" cy="830263"/>
          </a:xfrm>
          <a:prstGeom prst="rect">
            <a:avLst/>
          </a:prstGeom>
          <a:noFill/>
          <a:ln w="9525">
            <a:noFill/>
            <a:miter lim="800000"/>
            <a:headEnd/>
            <a:tailEnd/>
          </a:ln>
        </p:spPr>
        <p:txBody>
          <a:bodyPr>
            <a:spAutoFit/>
          </a:bodyPr>
          <a:lstStyle/>
          <a:p>
            <a:r>
              <a:rPr lang="en-US" altLang="zh-CN" sz="4800" b="1">
                <a:solidFill>
                  <a:schemeClr val="bg1"/>
                </a:solidFill>
                <a:latin typeface="微软雅黑" pitchFamily="34" charset="-122"/>
                <a:ea typeface="微软雅黑" pitchFamily="34" charset="-122"/>
              </a:rPr>
              <a:t>1</a:t>
            </a:r>
            <a:endParaRPr lang="zh-CN" altLang="en-US" sz="4800" b="1">
              <a:solidFill>
                <a:schemeClr val="bg1"/>
              </a:solidFill>
              <a:latin typeface="微软雅黑" pitchFamily="34" charset="-122"/>
              <a:ea typeface="微软雅黑" pitchFamily="34" charset="-122"/>
            </a:endParaRPr>
          </a:p>
        </p:txBody>
      </p:sp>
      <p:sp>
        <p:nvSpPr>
          <p:cNvPr id="9" name="Rectangle 11"/>
          <p:cNvSpPr/>
          <p:nvPr/>
        </p:nvSpPr>
        <p:spPr bwMode="auto">
          <a:xfrm>
            <a:off x="635427" y="114300"/>
            <a:ext cx="7430400"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zh-CN" altLang="en-US" sz="3600" b="1" dirty="0">
                <a:solidFill>
                  <a:srgbClr val="0070C0"/>
                </a:solidFill>
                <a:latin typeface="+mj-ea"/>
                <a:ea typeface="+mj-ea"/>
              </a:rPr>
              <a:t>信息化管理系统集成应用</a:t>
            </a:r>
          </a:p>
        </p:txBody>
      </p:sp>
      <p:sp>
        <p:nvSpPr>
          <p:cNvPr id="63" name="圆角矩形 94">
            <a:extLst>
              <a:ext uri="{FF2B5EF4-FFF2-40B4-BE49-F238E27FC236}">
                <a16:creationId xmlns:a16="http://schemas.microsoft.com/office/drawing/2014/main" id="{D2B94606-3A5C-4D65-920C-D7CCD3CDF680}"/>
              </a:ext>
            </a:extLst>
          </p:cNvPr>
          <p:cNvSpPr/>
          <p:nvPr/>
        </p:nvSpPr>
        <p:spPr>
          <a:xfrm>
            <a:off x="1628512" y="6007508"/>
            <a:ext cx="9086850" cy="785813"/>
          </a:xfrm>
          <a:prstGeom prst="round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altLang="zh-CN" dirty="0">
              <a:solidFill>
                <a:schemeClr val="tx1"/>
              </a:solidFill>
            </a:endParaRPr>
          </a:p>
          <a:p>
            <a:pPr>
              <a:defRPr/>
            </a:pPr>
            <a:r>
              <a:rPr lang="zh-CN" altLang="en-US" dirty="0">
                <a:solidFill>
                  <a:schemeClr val="tx1"/>
                </a:solidFill>
              </a:rPr>
              <a:t>自动化平台</a:t>
            </a:r>
          </a:p>
        </p:txBody>
      </p:sp>
      <p:sp>
        <p:nvSpPr>
          <p:cNvPr id="65" name="AutoShape 1027">
            <a:hlinkClick r:id="rId3" action="ppaction://hlinksldjump" highlightClick="1"/>
            <a:extLst>
              <a:ext uri="{FF2B5EF4-FFF2-40B4-BE49-F238E27FC236}">
                <a16:creationId xmlns:a16="http://schemas.microsoft.com/office/drawing/2014/main" id="{ACA2DF37-45E0-4B1C-AA94-68103E5AE69A}"/>
              </a:ext>
            </a:extLst>
          </p:cNvPr>
          <p:cNvSpPr>
            <a:spLocks noChangeArrowheads="1"/>
          </p:cNvSpPr>
          <p:nvPr/>
        </p:nvSpPr>
        <p:spPr bwMode="auto">
          <a:xfrm>
            <a:off x="2538150" y="1010058"/>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69" name="AutoShape 1036">
            <a:hlinkClick r:id="rId3" action="ppaction://hlinksldjump" highlightClick="1"/>
            <a:extLst>
              <a:ext uri="{FF2B5EF4-FFF2-40B4-BE49-F238E27FC236}">
                <a16:creationId xmlns:a16="http://schemas.microsoft.com/office/drawing/2014/main" id="{818A5C26-83F6-423D-98E9-7726353ECBAB}"/>
              </a:ext>
            </a:extLst>
          </p:cNvPr>
          <p:cNvSpPr>
            <a:spLocks noChangeArrowheads="1"/>
          </p:cNvSpPr>
          <p:nvPr/>
        </p:nvSpPr>
        <p:spPr bwMode="auto">
          <a:xfrm>
            <a:off x="6348150" y="1010058"/>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70" name="矩形 69">
            <a:extLst>
              <a:ext uri="{FF2B5EF4-FFF2-40B4-BE49-F238E27FC236}">
                <a16:creationId xmlns:a16="http://schemas.microsoft.com/office/drawing/2014/main" id="{B7BB5DC7-5B13-43DF-BD48-134E2C1C3669}"/>
              </a:ext>
            </a:extLst>
          </p:cNvPr>
          <p:cNvSpPr/>
          <p:nvPr/>
        </p:nvSpPr>
        <p:spPr>
          <a:xfrm>
            <a:off x="1628512" y="1578383"/>
            <a:ext cx="7072313" cy="4500563"/>
          </a:xfrm>
          <a:prstGeom prst="rect">
            <a:avLst/>
          </a:prstGeom>
          <a:solidFill>
            <a:schemeClr val="bg1"/>
          </a:solidFill>
          <a:ln w="50800">
            <a:solidFill>
              <a:schemeClr val="bg2">
                <a:lumMod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i="1" dirty="0">
              <a:solidFill>
                <a:schemeClr val="bg1"/>
              </a:solidFill>
            </a:endParaRPr>
          </a:p>
        </p:txBody>
      </p:sp>
      <p:sp>
        <p:nvSpPr>
          <p:cNvPr id="71" name="矩形 70">
            <a:extLst>
              <a:ext uri="{FF2B5EF4-FFF2-40B4-BE49-F238E27FC236}">
                <a16:creationId xmlns:a16="http://schemas.microsoft.com/office/drawing/2014/main" id="{12C98B54-2D9B-4D1D-9EB8-F43373AAC397}"/>
              </a:ext>
            </a:extLst>
          </p:cNvPr>
          <p:cNvSpPr/>
          <p:nvPr/>
        </p:nvSpPr>
        <p:spPr>
          <a:xfrm>
            <a:off x="1628512" y="792571"/>
            <a:ext cx="9144000" cy="642937"/>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2400" dirty="0">
                <a:solidFill>
                  <a:schemeClr val="tx1"/>
                </a:solidFill>
              </a:rPr>
              <a:t>ERP</a:t>
            </a:r>
          </a:p>
          <a:p>
            <a:pPr algn="ctr">
              <a:defRPr/>
            </a:pPr>
            <a:endParaRPr lang="en-US" altLang="zh-CN" dirty="0">
              <a:solidFill>
                <a:schemeClr val="tx1"/>
              </a:solidFill>
            </a:endParaRPr>
          </a:p>
          <a:p>
            <a:pPr algn="ctr">
              <a:defRPr/>
            </a:pPr>
            <a:endParaRPr lang="zh-CN" altLang="en-US" dirty="0">
              <a:solidFill>
                <a:schemeClr val="tx1"/>
              </a:solidFill>
            </a:endParaRPr>
          </a:p>
        </p:txBody>
      </p:sp>
      <p:sp>
        <p:nvSpPr>
          <p:cNvPr id="72" name="矩形 71">
            <a:extLst>
              <a:ext uri="{FF2B5EF4-FFF2-40B4-BE49-F238E27FC236}">
                <a16:creationId xmlns:a16="http://schemas.microsoft.com/office/drawing/2014/main" id="{9AFF81C9-79AD-44C2-B65F-7BDFA47192B8}"/>
              </a:ext>
            </a:extLst>
          </p:cNvPr>
          <p:cNvSpPr/>
          <p:nvPr/>
        </p:nvSpPr>
        <p:spPr>
          <a:xfrm>
            <a:off x="1771387" y="1006883"/>
            <a:ext cx="928688" cy="285750"/>
          </a:xfrm>
          <a:prstGeom prst="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dist">
              <a:defRPr/>
            </a:pPr>
            <a:r>
              <a:rPr lang="zh-CN" altLang="en-US" sz="1400" dirty="0"/>
              <a:t>销售管理</a:t>
            </a:r>
          </a:p>
        </p:txBody>
      </p:sp>
      <p:sp>
        <p:nvSpPr>
          <p:cNvPr id="73" name="矩形 72">
            <a:extLst>
              <a:ext uri="{FF2B5EF4-FFF2-40B4-BE49-F238E27FC236}">
                <a16:creationId xmlns:a16="http://schemas.microsoft.com/office/drawing/2014/main" id="{EB9FD391-AE05-451C-B1A6-61BA33738375}"/>
              </a:ext>
            </a:extLst>
          </p:cNvPr>
          <p:cNvSpPr/>
          <p:nvPr/>
        </p:nvSpPr>
        <p:spPr>
          <a:xfrm>
            <a:off x="2842950" y="1006883"/>
            <a:ext cx="928687" cy="285750"/>
          </a:xfrm>
          <a:prstGeom prst="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dist">
              <a:defRPr/>
            </a:pPr>
            <a:r>
              <a:rPr lang="zh-CN" altLang="en-US" sz="1400" dirty="0"/>
              <a:t>生产管理</a:t>
            </a:r>
          </a:p>
        </p:txBody>
      </p:sp>
      <p:sp>
        <p:nvSpPr>
          <p:cNvPr id="74" name="矩形 73">
            <a:extLst>
              <a:ext uri="{FF2B5EF4-FFF2-40B4-BE49-F238E27FC236}">
                <a16:creationId xmlns:a16="http://schemas.microsoft.com/office/drawing/2014/main" id="{1CDB2EA3-A5E7-4E38-85E9-E1B45C2345AE}"/>
              </a:ext>
            </a:extLst>
          </p:cNvPr>
          <p:cNvSpPr/>
          <p:nvPr/>
        </p:nvSpPr>
        <p:spPr>
          <a:xfrm>
            <a:off x="3985950" y="1006883"/>
            <a:ext cx="928687" cy="285750"/>
          </a:xfrm>
          <a:prstGeom prst="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dist">
              <a:defRPr/>
            </a:pPr>
            <a:r>
              <a:rPr lang="zh-CN" altLang="en-US" sz="1400" dirty="0"/>
              <a:t>采购管理</a:t>
            </a:r>
          </a:p>
        </p:txBody>
      </p:sp>
      <p:sp>
        <p:nvSpPr>
          <p:cNvPr id="75" name="矩形 74">
            <a:extLst>
              <a:ext uri="{FF2B5EF4-FFF2-40B4-BE49-F238E27FC236}">
                <a16:creationId xmlns:a16="http://schemas.microsoft.com/office/drawing/2014/main" id="{08D1B76B-E9F0-43FA-BAD2-BD96BC61CFAC}"/>
              </a:ext>
            </a:extLst>
          </p:cNvPr>
          <p:cNvSpPr/>
          <p:nvPr/>
        </p:nvSpPr>
        <p:spPr>
          <a:xfrm>
            <a:off x="5128950" y="1006883"/>
            <a:ext cx="928687" cy="285750"/>
          </a:xfrm>
          <a:prstGeom prst="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dist">
              <a:defRPr/>
            </a:pPr>
            <a:r>
              <a:rPr lang="zh-CN" altLang="en-US" sz="1400" dirty="0"/>
              <a:t>库存管理</a:t>
            </a:r>
          </a:p>
        </p:txBody>
      </p:sp>
      <p:sp>
        <p:nvSpPr>
          <p:cNvPr id="76" name="矩形 75">
            <a:extLst>
              <a:ext uri="{FF2B5EF4-FFF2-40B4-BE49-F238E27FC236}">
                <a16:creationId xmlns:a16="http://schemas.microsoft.com/office/drawing/2014/main" id="{14E36412-46AE-4AAD-A66C-0132E725D485}"/>
              </a:ext>
            </a:extLst>
          </p:cNvPr>
          <p:cNvSpPr/>
          <p:nvPr/>
        </p:nvSpPr>
        <p:spPr>
          <a:xfrm>
            <a:off x="6271950" y="1006883"/>
            <a:ext cx="928687" cy="285750"/>
          </a:xfrm>
          <a:prstGeom prst="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dist">
              <a:defRPr/>
            </a:pPr>
            <a:r>
              <a:rPr lang="zh-CN" altLang="en-US" sz="1400" dirty="0"/>
              <a:t>质量管理</a:t>
            </a:r>
          </a:p>
        </p:txBody>
      </p:sp>
      <p:sp>
        <p:nvSpPr>
          <p:cNvPr id="77" name="矩形 76">
            <a:extLst>
              <a:ext uri="{FF2B5EF4-FFF2-40B4-BE49-F238E27FC236}">
                <a16:creationId xmlns:a16="http://schemas.microsoft.com/office/drawing/2014/main" id="{4D30A63F-BEF3-462B-A497-F9D42346E96C}"/>
              </a:ext>
            </a:extLst>
          </p:cNvPr>
          <p:cNvSpPr/>
          <p:nvPr/>
        </p:nvSpPr>
        <p:spPr>
          <a:xfrm>
            <a:off x="7414950" y="1006883"/>
            <a:ext cx="928687" cy="285750"/>
          </a:xfrm>
          <a:prstGeom prst="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dist">
              <a:defRPr/>
            </a:pPr>
            <a:r>
              <a:rPr lang="zh-CN" altLang="en-US" sz="1400" dirty="0"/>
              <a:t>设备管理</a:t>
            </a:r>
          </a:p>
        </p:txBody>
      </p:sp>
      <p:sp>
        <p:nvSpPr>
          <p:cNvPr id="78" name="矩形 77">
            <a:extLst>
              <a:ext uri="{FF2B5EF4-FFF2-40B4-BE49-F238E27FC236}">
                <a16:creationId xmlns:a16="http://schemas.microsoft.com/office/drawing/2014/main" id="{13B89D58-7FC4-43CD-B34A-071318AEC512}"/>
              </a:ext>
            </a:extLst>
          </p:cNvPr>
          <p:cNvSpPr/>
          <p:nvPr/>
        </p:nvSpPr>
        <p:spPr>
          <a:xfrm>
            <a:off x="8557950" y="1006883"/>
            <a:ext cx="928687" cy="285750"/>
          </a:xfrm>
          <a:prstGeom prst="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dist">
              <a:defRPr/>
            </a:pPr>
            <a:r>
              <a:rPr lang="zh-CN" altLang="en-US" sz="1400" dirty="0"/>
              <a:t>财务管理</a:t>
            </a:r>
          </a:p>
        </p:txBody>
      </p:sp>
      <p:sp>
        <p:nvSpPr>
          <p:cNvPr id="79" name="矩形 78">
            <a:extLst>
              <a:ext uri="{FF2B5EF4-FFF2-40B4-BE49-F238E27FC236}">
                <a16:creationId xmlns:a16="http://schemas.microsoft.com/office/drawing/2014/main" id="{E741A826-741D-412E-8E20-0AD874657659}"/>
              </a:ext>
            </a:extLst>
          </p:cNvPr>
          <p:cNvSpPr/>
          <p:nvPr/>
        </p:nvSpPr>
        <p:spPr>
          <a:xfrm>
            <a:off x="9700950" y="1006883"/>
            <a:ext cx="928687" cy="285750"/>
          </a:xfrm>
          <a:prstGeom prst="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dist">
              <a:defRPr/>
            </a:pPr>
            <a:r>
              <a:rPr lang="zh-CN" altLang="en-US" sz="1400" dirty="0"/>
              <a:t>人事管理</a:t>
            </a:r>
          </a:p>
        </p:txBody>
      </p:sp>
      <p:sp>
        <p:nvSpPr>
          <p:cNvPr id="80" name="圆角矩形 46">
            <a:extLst>
              <a:ext uri="{FF2B5EF4-FFF2-40B4-BE49-F238E27FC236}">
                <a16:creationId xmlns:a16="http://schemas.microsoft.com/office/drawing/2014/main" id="{840805CA-3EF7-481C-BDD4-AB3EE3A04F2F}"/>
              </a:ext>
            </a:extLst>
          </p:cNvPr>
          <p:cNvSpPr/>
          <p:nvPr/>
        </p:nvSpPr>
        <p:spPr>
          <a:xfrm>
            <a:off x="1771387" y="1578383"/>
            <a:ext cx="1785938" cy="4500563"/>
          </a:xfrm>
          <a:prstGeom prst="round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chemeClr val="tx1"/>
                </a:solidFill>
              </a:rPr>
              <a:t>QMS</a:t>
            </a:r>
          </a:p>
          <a:p>
            <a:pPr algn="ctr">
              <a:defRPr/>
            </a:pPr>
            <a:r>
              <a:rPr lang="zh-CN" altLang="en-US" dirty="0">
                <a:solidFill>
                  <a:schemeClr val="tx1"/>
                </a:solidFill>
              </a:rPr>
              <a:t>质量管理系统</a:t>
            </a:r>
            <a:endParaRPr lang="en-US" altLang="zh-CN" dirty="0">
              <a:solidFill>
                <a:schemeClr val="tx1"/>
              </a:solidFill>
            </a:endParaRPr>
          </a:p>
          <a:p>
            <a:pPr algn="ctr">
              <a:defRPr/>
            </a:pPr>
            <a:endParaRPr lang="en-US" altLang="zh-CN" dirty="0">
              <a:solidFill>
                <a:schemeClr val="tx1"/>
              </a:solidFill>
            </a:endParaRPr>
          </a:p>
          <a:p>
            <a:pPr algn="ctr">
              <a:defRPr/>
            </a:pPr>
            <a:endParaRPr lang="en-US" altLang="zh-CN" dirty="0">
              <a:solidFill>
                <a:schemeClr val="tx1"/>
              </a:solidFill>
            </a:endParaRPr>
          </a:p>
          <a:p>
            <a:pPr algn="ctr">
              <a:defRPr/>
            </a:pPr>
            <a:endParaRPr lang="en-US" altLang="zh-CN" dirty="0">
              <a:solidFill>
                <a:schemeClr val="tx1"/>
              </a:solidFill>
            </a:endParaRPr>
          </a:p>
          <a:p>
            <a:pPr algn="ctr">
              <a:defRPr/>
            </a:pPr>
            <a:endParaRPr lang="en-US" altLang="zh-CN" dirty="0">
              <a:solidFill>
                <a:schemeClr val="tx1"/>
              </a:solidFill>
            </a:endParaRPr>
          </a:p>
          <a:p>
            <a:pPr algn="ctr">
              <a:defRPr/>
            </a:pPr>
            <a:endParaRPr lang="en-US" altLang="zh-CN" dirty="0">
              <a:solidFill>
                <a:schemeClr val="tx1"/>
              </a:solidFill>
            </a:endParaRPr>
          </a:p>
          <a:p>
            <a:pPr algn="ctr">
              <a:defRPr/>
            </a:pPr>
            <a:endParaRPr lang="en-US" altLang="zh-CN" dirty="0">
              <a:solidFill>
                <a:schemeClr val="tx1"/>
              </a:solidFill>
            </a:endParaRPr>
          </a:p>
          <a:p>
            <a:pPr algn="ctr">
              <a:defRPr/>
            </a:pPr>
            <a:endParaRPr lang="en-US" altLang="zh-CN" dirty="0">
              <a:solidFill>
                <a:schemeClr val="tx1"/>
              </a:solidFill>
            </a:endParaRPr>
          </a:p>
          <a:p>
            <a:pPr algn="ctr">
              <a:defRPr/>
            </a:pPr>
            <a:endParaRPr lang="en-US" altLang="zh-CN" dirty="0">
              <a:solidFill>
                <a:schemeClr val="tx1"/>
              </a:solidFill>
            </a:endParaRPr>
          </a:p>
          <a:p>
            <a:pPr algn="ctr">
              <a:defRPr/>
            </a:pPr>
            <a:endParaRPr lang="en-US" altLang="zh-CN" dirty="0">
              <a:solidFill>
                <a:schemeClr val="tx1"/>
              </a:solidFill>
            </a:endParaRPr>
          </a:p>
          <a:p>
            <a:pPr algn="ctr">
              <a:defRPr/>
            </a:pPr>
            <a:endParaRPr lang="en-US" altLang="zh-CN" dirty="0">
              <a:solidFill>
                <a:schemeClr val="tx1"/>
              </a:solidFill>
            </a:endParaRPr>
          </a:p>
          <a:p>
            <a:pPr algn="ctr">
              <a:defRPr/>
            </a:pPr>
            <a:endParaRPr lang="en-US" altLang="zh-CN" dirty="0">
              <a:solidFill>
                <a:schemeClr val="tx1"/>
              </a:solidFill>
            </a:endParaRPr>
          </a:p>
          <a:p>
            <a:pPr algn="ctr">
              <a:defRPr/>
            </a:pPr>
            <a:endParaRPr lang="en-US" altLang="zh-CN" dirty="0">
              <a:solidFill>
                <a:schemeClr val="tx1"/>
              </a:solidFill>
            </a:endParaRPr>
          </a:p>
          <a:p>
            <a:pPr algn="ctr">
              <a:defRPr/>
            </a:pPr>
            <a:endParaRPr lang="en-US" altLang="zh-CN" dirty="0">
              <a:solidFill>
                <a:schemeClr val="tx1"/>
              </a:solidFill>
            </a:endParaRPr>
          </a:p>
          <a:p>
            <a:pPr algn="ctr">
              <a:defRPr/>
            </a:pPr>
            <a:endParaRPr lang="zh-CN" altLang="en-US" dirty="0">
              <a:solidFill>
                <a:schemeClr val="tx1"/>
              </a:solidFill>
            </a:endParaRPr>
          </a:p>
        </p:txBody>
      </p:sp>
      <p:sp>
        <p:nvSpPr>
          <p:cNvPr id="81" name="矩形 80">
            <a:extLst>
              <a:ext uri="{FF2B5EF4-FFF2-40B4-BE49-F238E27FC236}">
                <a16:creationId xmlns:a16="http://schemas.microsoft.com/office/drawing/2014/main" id="{D236E8CF-A9C8-4F3C-AFF2-1C04C90C1F6B}"/>
              </a:ext>
            </a:extLst>
          </p:cNvPr>
          <p:cNvSpPr/>
          <p:nvPr/>
        </p:nvSpPr>
        <p:spPr>
          <a:xfrm>
            <a:off x="3700182" y="1578368"/>
            <a:ext cx="4929187" cy="928687"/>
          </a:xfrm>
          <a:prstGeom prst="rect">
            <a:avLst/>
          </a:prstGeom>
          <a:solidFill>
            <a:schemeClr val="accent1">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dirty="0">
                <a:solidFill>
                  <a:schemeClr val="bg2"/>
                </a:solidFill>
              </a:rPr>
              <a:t>制造执行系统（</a:t>
            </a:r>
            <a:r>
              <a:rPr lang="en-US" altLang="zh-CN" b="1" dirty="0">
                <a:solidFill>
                  <a:schemeClr val="bg2"/>
                </a:solidFill>
              </a:rPr>
              <a:t>MES</a:t>
            </a:r>
            <a:r>
              <a:rPr lang="zh-CN" altLang="en-US" b="1" dirty="0">
                <a:solidFill>
                  <a:schemeClr val="bg2"/>
                </a:solidFill>
              </a:rPr>
              <a:t>）</a:t>
            </a:r>
            <a:endParaRPr lang="en-US" altLang="zh-CN" b="1" dirty="0">
              <a:solidFill>
                <a:schemeClr val="bg2"/>
              </a:solidFill>
            </a:endParaRPr>
          </a:p>
          <a:p>
            <a:pPr algn="ctr">
              <a:defRPr/>
            </a:pPr>
            <a:endParaRPr lang="en-US" altLang="zh-CN" dirty="0">
              <a:solidFill>
                <a:schemeClr val="tx1"/>
              </a:solidFill>
            </a:endParaRPr>
          </a:p>
          <a:p>
            <a:pPr algn="ctr">
              <a:defRPr/>
            </a:pPr>
            <a:endParaRPr lang="zh-CN" altLang="en-US" dirty="0"/>
          </a:p>
        </p:txBody>
      </p:sp>
      <p:sp>
        <p:nvSpPr>
          <p:cNvPr id="82" name="矩形 81">
            <a:extLst>
              <a:ext uri="{FF2B5EF4-FFF2-40B4-BE49-F238E27FC236}">
                <a16:creationId xmlns:a16="http://schemas.microsoft.com/office/drawing/2014/main" id="{092CE69E-7D1D-495B-981A-C5184CB493D7}"/>
              </a:ext>
            </a:extLst>
          </p:cNvPr>
          <p:cNvSpPr/>
          <p:nvPr/>
        </p:nvSpPr>
        <p:spPr>
          <a:xfrm>
            <a:off x="3700200" y="2078446"/>
            <a:ext cx="928687" cy="2857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生产管理</a:t>
            </a:r>
          </a:p>
        </p:txBody>
      </p:sp>
      <p:sp>
        <p:nvSpPr>
          <p:cNvPr id="83" name="矩形 82">
            <a:extLst>
              <a:ext uri="{FF2B5EF4-FFF2-40B4-BE49-F238E27FC236}">
                <a16:creationId xmlns:a16="http://schemas.microsoft.com/office/drawing/2014/main" id="{E1740F92-9515-4809-883F-47017EA9C010}"/>
              </a:ext>
            </a:extLst>
          </p:cNvPr>
          <p:cNvSpPr/>
          <p:nvPr/>
        </p:nvSpPr>
        <p:spPr>
          <a:xfrm>
            <a:off x="4700325" y="2078446"/>
            <a:ext cx="928687" cy="2857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称量管理</a:t>
            </a:r>
          </a:p>
        </p:txBody>
      </p:sp>
      <p:sp>
        <p:nvSpPr>
          <p:cNvPr id="84" name="矩形 83">
            <a:extLst>
              <a:ext uri="{FF2B5EF4-FFF2-40B4-BE49-F238E27FC236}">
                <a16:creationId xmlns:a16="http://schemas.microsoft.com/office/drawing/2014/main" id="{79450870-DD7C-48D4-AF9E-2B91EED96580}"/>
              </a:ext>
            </a:extLst>
          </p:cNvPr>
          <p:cNvSpPr/>
          <p:nvPr/>
        </p:nvSpPr>
        <p:spPr>
          <a:xfrm>
            <a:off x="5700450" y="2078446"/>
            <a:ext cx="928687" cy="2857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设备管理</a:t>
            </a:r>
          </a:p>
        </p:txBody>
      </p:sp>
      <p:sp>
        <p:nvSpPr>
          <p:cNvPr id="85" name="矩形 84">
            <a:extLst>
              <a:ext uri="{FF2B5EF4-FFF2-40B4-BE49-F238E27FC236}">
                <a16:creationId xmlns:a16="http://schemas.microsoft.com/office/drawing/2014/main" id="{EB6D3911-4514-4115-8EF4-885E9D393331}"/>
              </a:ext>
            </a:extLst>
          </p:cNvPr>
          <p:cNvSpPr/>
          <p:nvPr/>
        </p:nvSpPr>
        <p:spPr>
          <a:xfrm>
            <a:off x="6700575" y="2078446"/>
            <a:ext cx="928687" cy="2857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物料管理</a:t>
            </a:r>
          </a:p>
        </p:txBody>
      </p:sp>
      <p:sp>
        <p:nvSpPr>
          <p:cNvPr id="86" name="矩形 85">
            <a:extLst>
              <a:ext uri="{FF2B5EF4-FFF2-40B4-BE49-F238E27FC236}">
                <a16:creationId xmlns:a16="http://schemas.microsoft.com/office/drawing/2014/main" id="{7E7F7C79-BC0F-46BC-AB73-B861982BC905}"/>
              </a:ext>
            </a:extLst>
          </p:cNvPr>
          <p:cNvSpPr/>
          <p:nvPr/>
        </p:nvSpPr>
        <p:spPr>
          <a:xfrm>
            <a:off x="7700700" y="2078446"/>
            <a:ext cx="928687" cy="2857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批次记录</a:t>
            </a:r>
          </a:p>
        </p:txBody>
      </p:sp>
      <p:sp>
        <p:nvSpPr>
          <p:cNvPr id="87" name="矩形 86">
            <a:extLst>
              <a:ext uri="{FF2B5EF4-FFF2-40B4-BE49-F238E27FC236}">
                <a16:creationId xmlns:a16="http://schemas.microsoft.com/office/drawing/2014/main" id="{C935F39C-9F87-4300-AC91-143100ED7156}"/>
              </a:ext>
            </a:extLst>
          </p:cNvPr>
          <p:cNvSpPr/>
          <p:nvPr/>
        </p:nvSpPr>
        <p:spPr>
          <a:xfrm>
            <a:off x="3700200" y="2864258"/>
            <a:ext cx="2286000" cy="1357313"/>
          </a:xfrm>
          <a:prstGeom prst="rect">
            <a:avLst/>
          </a:prstGeom>
          <a:solidFill>
            <a:schemeClr val="accent2">
              <a:lumMod val="20000"/>
              <a:lumOff val="80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chemeClr val="tx1"/>
                </a:solidFill>
              </a:rPr>
              <a:t>LIMS</a:t>
            </a:r>
          </a:p>
          <a:p>
            <a:pPr algn="ctr">
              <a:defRPr/>
            </a:pPr>
            <a:r>
              <a:rPr lang="zh-CN" altLang="en-US" dirty="0">
                <a:solidFill>
                  <a:schemeClr val="tx1"/>
                </a:solidFill>
              </a:rPr>
              <a:t>实验室信息管理系统</a:t>
            </a:r>
            <a:endParaRPr lang="en-US" altLang="zh-CN" dirty="0">
              <a:solidFill>
                <a:schemeClr val="tx1"/>
              </a:solidFill>
            </a:endParaRPr>
          </a:p>
          <a:p>
            <a:pPr algn="ctr">
              <a:defRPr/>
            </a:pPr>
            <a:endParaRPr lang="en-US" altLang="zh-CN" dirty="0"/>
          </a:p>
          <a:p>
            <a:pPr algn="ctr">
              <a:defRPr/>
            </a:pPr>
            <a:endParaRPr lang="en-US" altLang="zh-CN" dirty="0"/>
          </a:p>
          <a:p>
            <a:pPr algn="ctr">
              <a:defRPr/>
            </a:pPr>
            <a:endParaRPr lang="zh-CN" altLang="en-US" dirty="0"/>
          </a:p>
        </p:txBody>
      </p:sp>
      <p:sp>
        <p:nvSpPr>
          <p:cNvPr id="88" name="矩形 87">
            <a:extLst>
              <a:ext uri="{FF2B5EF4-FFF2-40B4-BE49-F238E27FC236}">
                <a16:creationId xmlns:a16="http://schemas.microsoft.com/office/drawing/2014/main" id="{CB2E3C8F-FEE2-411A-B9DC-7BC6B8D2F8A1}"/>
              </a:ext>
            </a:extLst>
          </p:cNvPr>
          <p:cNvSpPr/>
          <p:nvPr/>
        </p:nvSpPr>
        <p:spPr>
          <a:xfrm>
            <a:off x="6271950" y="2864258"/>
            <a:ext cx="2357437" cy="1357313"/>
          </a:xfrm>
          <a:prstGeom prst="rect">
            <a:avLst/>
          </a:prstGeom>
          <a:solidFill>
            <a:schemeClr val="accent1">
              <a:lumMod val="90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chemeClr val="tx1"/>
                </a:solidFill>
              </a:rPr>
              <a:t>WMS</a:t>
            </a:r>
          </a:p>
          <a:p>
            <a:pPr algn="ctr">
              <a:defRPr/>
            </a:pPr>
            <a:r>
              <a:rPr lang="zh-CN" altLang="en-US" dirty="0">
                <a:solidFill>
                  <a:schemeClr val="tx1"/>
                </a:solidFill>
              </a:rPr>
              <a:t>仓储管理系统</a:t>
            </a:r>
            <a:endParaRPr lang="en-US" altLang="zh-CN" dirty="0">
              <a:solidFill>
                <a:schemeClr val="tx1"/>
              </a:solidFill>
            </a:endParaRPr>
          </a:p>
          <a:p>
            <a:pPr algn="ctr">
              <a:defRPr/>
            </a:pPr>
            <a:endParaRPr lang="en-US" altLang="zh-CN" dirty="0">
              <a:solidFill>
                <a:schemeClr val="tx1"/>
              </a:solidFill>
            </a:endParaRPr>
          </a:p>
          <a:p>
            <a:pPr algn="ctr">
              <a:defRPr/>
            </a:pPr>
            <a:endParaRPr lang="en-US" altLang="zh-CN" dirty="0">
              <a:solidFill>
                <a:schemeClr val="tx1"/>
              </a:solidFill>
            </a:endParaRPr>
          </a:p>
          <a:p>
            <a:pPr algn="ctr">
              <a:defRPr/>
            </a:pPr>
            <a:endParaRPr lang="zh-CN" altLang="en-US" dirty="0">
              <a:solidFill>
                <a:schemeClr val="tx1"/>
              </a:solidFill>
            </a:endParaRPr>
          </a:p>
        </p:txBody>
      </p:sp>
      <p:sp>
        <p:nvSpPr>
          <p:cNvPr id="89" name="矩形 88">
            <a:extLst>
              <a:ext uri="{FF2B5EF4-FFF2-40B4-BE49-F238E27FC236}">
                <a16:creationId xmlns:a16="http://schemas.microsoft.com/office/drawing/2014/main" id="{0FC99A8F-4A57-435E-95E5-ED1CCF2E834C}"/>
              </a:ext>
            </a:extLst>
          </p:cNvPr>
          <p:cNvSpPr/>
          <p:nvPr/>
        </p:nvSpPr>
        <p:spPr>
          <a:xfrm>
            <a:off x="3771637" y="4578758"/>
            <a:ext cx="2286000" cy="1214438"/>
          </a:xfrm>
          <a:prstGeom prst="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tLang="zh-CN" dirty="0">
              <a:solidFill>
                <a:schemeClr val="tx1"/>
              </a:solidFill>
            </a:endParaRPr>
          </a:p>
          <a:p>
            <a:pPr algn="ctr">
              <a:defRPr/>
            </a:pPr>
            <a:r>
              <a:rPr lang="en-US" altLang="zh-CN" dirty="0">
                <a:solidFill>
                  <a:schemeClr val="tx1"/>
                </a:solidFill>
              </a:rPr>
              <a:t>SCADA/DCS</a:t>
            </a:r>
          </a:p>
          <a:p>
            <a:pPr algn="ctr">
              <a:defRPr/>
            </a:pPr>
            <a:r>
              <a:rPr lang="zh-CN" altLang="en-US" dirty="0">
                <a:solidFill>
                  <a:schemeClr val="tx1"/>
                </a:solidFill>
              </a:rPr>
              <a:t>数据采集及监视系统</a:t>
            </a:r>
            <a:endParaRPr lang="en-US" altLang="zh-CN" dirty="0">
              <a:solidFill>
                <a:schemeClr val="tx1"/>
              </a:solidFill>
            </a:endParaRPr>
          </a:p>
          <a:p>
            <a:pPr algn="ctr">
              <a:defRPr/>
            </a:pPr>
            <a:endParaRPr lang="en-US" altLang="zh-CN" dirty="0"/>
          </a:p>
          <a:p>
            <a:pPr algn="ctr">
              <a:defRPr/>
            </a:pPr>
            <a:endParaRPr lang="en-US" altLang="zh-CN" dirty="0"/>
          </a:p>
          <a:p>
            <a:pPr algn="ctr">
              <a:defRPr/>
            </a:pPr>
            <a:endParaRPr lang="zh-CN" altLang="en-US" dirty="0"/>
          </a:p>
        </p:txBody>
      </p:sp>
      <p:sp>
        <p:nvSpPr>
          <p:cNvPr id="90" name="矩形 89">
            <a:extLst>
              <a:ext uri="{FF2B5EF4-FFF2-40B4-BE49-F238E27FC236}">
                <a16:creationId xmlns:a16="http://schemas.microsoft.com/office/drawing/2014/main" id="{D7738453-7340-4B2F-931B-BECD27F01C51}"/>
              </a:ext>
            </a:extLst>
          </p:cNvPr>
          <p:cNvSpPr/>
          <p:nvPr/>
        </p:nvSpPr>
        <p:spPr>
          <a:xfrm>
            <a:off x="6271950" y="4578758"/>
            <a:ext cx="2357437" cy="1214438"/>
          </a:xfrm>
          <a:prstGeom prst="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tx1"/>
                </a:solidFill>
              </a:rPr>
              <a:t>设备远程监控中心</a:t>
            </a:r>
            <a:endParaRPr lang="en-US" altLang="zh-CN" dirty="0">
              <a:solidFill>
                <a:schemeClr val="tx1"/>
              </a:solidFill>
            </a:endParaRPr>
          </a:p>
          <a:p>
            <a:pPr algn="ctr">
              <a:defRPr/>
            </a:pPr>
            <a:endParaRPr lang="en-US" altLang="zh-CN" dirty="0">
              <a:solidFill>
                <a:schemeClr val="tx1"/>
              </a:solidFill>
            </a:endParaRPr>
          </a:p>
          <a:p>
            <a:pPr algn="ctr">
              <a:defRPr/>
            </a:pPr>
            <a:endParaRPr lang="zh-CN" altLang="en-US" dirty="0">
              <a:solidFill>
                <a:schemeClr val="tx1"/>
              </a:solidFill>
            </a:endParaRPr>
          </a:p>
        </p:txBody>
      </p:sp>
      <p:sp>
        <p:nvSpPr>
          <p:cNvPr id="91" name="矩形 90">
            <a:extLst>
              <a:ext uri="{FF2B5EF4-FFF2-40B4-BE49-F238E27FC236}">
                <a16:creationId xmlns:a16="http://schemas.microsoft.com/office/drawing/2014/main" id="{0F020E38-4E02-4F3A-BCA5-6942273AB513}"/>
              </a:ext>
            </a:extLst>
          </p:cNvPr>
          <p:cNvSpPr/>
          <p:nvPr/>
        </p:nvSpPr>
        <p:spPr>
          <a:xfrm>
            <a:off x="9104050" y="2078446"/>
            <a:ext cx="1239837" cy="1693862"/>
          </a:xfrm>
          <a:prstGeom prst="rect">
            <a:avLst/>
          </a:prstGeom>
          <a:solidFill>
            <a:srgbClr val="FFFF00"/>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tLang="zh-CN" dirty="0">
              <a:solidFill>
                <a:schemeClr val="tx1"/>
              </a:solidFill>
            </a:endParaRPr>
          </a:p>
          <a:p>
            <a:pPr algn="ctr">
              <a:defRPr/>
            </a:pPr>
            <a:endParaRPr lang="en-US" altLang="zh-CN" dirty="0">
              <a:solidFill>
                <a:schemeClr val="tx1"/>
              </a:solidFill>
            </a:endParaRPr>
          </a:p>
          <a:p>
            <a:pPr algn="ctr">
              <a:defRPr/>
            </a:pPr>
            <a:endParaRPr lang="en-US" altLang="zh-CN" dirty="0">
              <a:solidFill>
                <a:schemeClr val="tx1"/>
              </a:solidFill>
            </a:endParaRPr>
          </a:p>
          <a:p>
            <a:pPr algn="ctr">
              <a:defRPr/>
            </a:pPr>
            <a:endParaRPr lang="en-US" altLang="zh-CN" dirty="0">
              <a:solidFill>
                <a:schemeClr val="tx1"/>
              </a:solidFill>
            </a:endParaRPr>
          </a:p>
          <a:p>
            <a:pPr algn="ctr">
              <a:defRPr/>
            </a:pPr>
            <a:endParaRPr lang="en-US" altLang="zh-CN" dirty="0">
              <a:solidFill>
                <a:schemeClr val="tx1"/>
              </a:solidFill>
            </a:endParaRPr>
          </a:p>
          <a:p>
            <a:pPr algn="ctr">
              <a:defRPr/>
            </a:pPr>
            <a:r>
              <a:rPr lang="en-US" altLang="zh-CN" dirty="0">
                <a:solidFill>
                  <a:schemeClr val="tx1"/>
                </a:solidFill>
              </a:rPr>
              <a:t>APS</a:t>
            </a:r>
          </a:p>
          <a:p>
            <a:pPr algn="ctr">
              <a:defRPr/>
            </a:pPr>
            <a:endParaRPr lang="en-US" altLang="zh-CN" dirty="0">
              <a:solidFill>
                <a:schemeClr val="tx1"/>
              </a:solidFill>
            </a:endParaRPr>
          </a:p>
          <a:p>
            <a:pPr algn="ctr">
              <a:defRPr/>
            </a:pPr>
            <a:endParaRPr lang="en-US" altLang="zh-CN" dirty="0">
              <a:solidFill>
                <a:schemeClr val="tx1"/>
              </a:solidFill>
            </a:endParaRPr>
          </a:p>
          <a:p>
            <a:pPr algn="ctr">
              <a:defRPr/>
            </a:pPr>
            <a:endParaRPr lang="en-US" altLang="zh-CN" dirty="0">
              <a:solidFill>
                <a:schemeClr val="tx1"/>
              </a:solidFill>
            </a:endParaRPr>
          </a:p>
          <a:p>
            <a:pPr algn="ctr">
              <a:defRPr/>
            </a:pPr>
            <a:endParaRPr lang="zh-CN" altLang="en-US" dirty="0">
              <a:solidFill>
                <a:schemeClr val="tx1"/>
              </a:solidFill>
            </a:endParaRPr>
          </a:p>
        </p:txBody>
      </p:sp>
      <p:sp>
        <p:nvSpPr>
          <p:cNvPr id="92" name="矩形 91">
            <a:extLst>
              <a:ext uri="{FF2B5EF4-FFF2-40B4-BE49-F238E27FC236}">
                <a16:creationId xmlns:a16="http://schemas.microsoft.com/office/drawing/2014/main" id="{E812FE72-BFBD-4D9D-91E1-5B43E8295FE0}"/>
              </a:ext>
            </a:extLst>
          </p:cNvPr>
          <p:cNvSpPr/>
          <p:nvPr/>
        </p:nvSpPr>
        <p:spPr>
          <a:xfrm>
            <a:off x="3843075" y="5436008"/>
            <a:ext cx="928687" cy="2857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数据采集</a:t>
            </a:r>
          </a:p>
        </p:txBody>
      </p:sp>
      <p:sp>
        <p:nvSpPr>
          <p:cNvPr id="93" name="矩形 92">
            <a:extLst>
              <a:ext uri="{FF2B5EF4-FFF2-40B4-BE49-F238E27FC236}">
                <a16:creationId xmlns:a16="http://schemas.microsoft.com/office/drawing/2014/main" id="{C44225AC-5632-4E60-932D-AA7D936410B1}"/>
              </a:ext>
            </a:extLst>
          </p:cNvPr>
          <p:cNvSpPr/>
          <p:nvPr/>
        </p:nvSpPr>
        <p:spPr>
          <a:xfrm>
            <a:off x="4914637" y="5436008"/>
            <a:ext cx="928688" cy="2857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数据监视</a:t>
            </a:r>
          </a:p>
        </p:txBody>
      </p:sp>
      <p:sp>
        <p:nvSpPr>
          <p:cNvPr id="94" name="矩形 93">
            <a:extLst>
              <a:ext uri="{FF2B5EF4-FFF2-40B4-BE49-F238E27FC236}">
                <a16:creationId xmlns:a16="http://schemas.microsoft.com/office/drawing/2014/main" id="{4DCEFE81-1DCA-40B6-B1E0-4EAAC39BD4B8}"/>
              </a:ext>
            </a:extLst>
          </p:cNvPr>
          <p:cNvSpPr/>
          <p:nvPr/>
        </p:nvSpPr>
        <p:spPr>
          <a:xfrm>
            <a:off x="9107225" y="4221571"/>
            <a:ext cx="1236662" cy="1571625"/>
          </a:xfrm>
          <a:prstGeom prst="rect">
            <a:avLst/>
          </a:prstGeom>
          <a:solidFill>
            <a:srgbClr val="FFFF00"/>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tx1"/>
                </a:solidFill>
              </a:rPr>
              <a:t>能源管理</a:t>
            </a:r>
          </a:p>
        </p:txBody>
      </p:sp>
      <p:sp>
        <p:nvSpPr>
          <p:cNvPr id="95" name="左右箭头 62">
            <a:extLst>
              <a:ext uri="{FF2B5EF4-FFF2-40B4-BE49-F238E27FC236}">
                <a16:creationId xmlns:a16="http://schemas.microsoft.com/office/drawing/2014/main" id="{6A431634-0298-4903-94EC-D799E310A068}"/>
              </a:ext>
            </a:extLst>
          </p:cNvPr>
          <p:cNvSpPr/>
          <p:nvPr/>
        </p:nvSpPr>
        <p:spPr>
          <a:xfrm>
            <a:off x="8775437" y="2935696"/>
            <a:ext cx="285750" cy="12700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6" name="左右箭头 63">
            <a:extLst>
              <a:ext uri="{FF2B5EF4-FFF2-40B4-BE49-F238E27FC236}">
                <a16:creationId xmlns:a16="http://schemas.microsoft.com/office/drawing/2014/main" id="{A407E88C-D0F7-46E0-BCD0-4D0B84AAA14D}"/>
              </a:ext>
            </a:extLst>
          </p:cNvPr>
          <p:cNvSpPr/>
          <p:nvPr/>
        </p:nvSpPr>
        <p:spPr>
          <a:xfrm>
            <a:off x="8772262" y="5364571"/>
            <a:ext cx="285750" cy="12700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7" name="上箭头 64">
            <a:extLst>
              <a:ext uri="{FF2B5EF4-FFF2-40B4-BE49-F238E27FC236}">
                <a16:creationId xmlns:a16="http://schemas.microsoft.com/office/drawing/2014/main" id="{1595D271-F6F9-4C29-A526-F40C55025FF6}"/>
              </a:ext>
            </a:extLst>
          </p:cNvPr>
          <p:cNvSpPr/>
          <p:nvPr/>
        </p:nvSpPr>
        <p:spPr>
          <a:xfrm>
            <a:off x="4200262" y="2578508"/>
            <a:ext cx="214313" cy="35718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8" name="上箭头 65">
            <a:extLst>
              <a:ext uri="{FF2B5EF4-FFF2-40B4-BE49-F238E27FC236}">
                <a16:creationId xmlns:a16="http://schemas.microsoft.com/office/drawing/2014/main" id="{FF03E14B-CF08-4C07-8470-1CDA0FB07B65}"/>
              </a:ext>
            </a:extLst>
          </p:cNvPr>
          <p:cNvSpPr/>
          <p:nvPr/>
        </p:nvSpPr>
        <p:spPr>
          <a:xfrm>
            <a:off x="7129200" y="2578508"/>
            <a:ext cx="214312" cy="35718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99" name="下箭头 66">
            <a:extLst>
              <a:ext uri="{FF2B5EF4-FFF2-40B4-BE49-F238E27FC236}">
                <a16:creationId xmlns:a16="http://schemas.microsoft.com/office/drawing/2014/main" id="{A4686B0C-8207-47C4-90A0-C1329F328587}"/>
              </a:ext>
            </a:extLst>
          </p:cNvPr>
          <p:cNvSpPr/>
          <p:nvPr/>
        </p:nvSpPr>
        <p:spPr>
          <a:xfrm>
            <a:off x="5057512" y="2578508"/>
            <a:ext cx="214313" cy="35718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0" name="下箭头 67">
            <a:extLst>
              <a:ext uri="{FF2B5EF4-FFF2-40B4-BE49-F238E27FC236}">
                <a16:creationId xmlns:a16="http://schemas.microsoft.com/office/drawing/2014/main" id="{6E755766-07EA-4CCF-B3E7-852A1B288923}"/>
              </a:ext>
            </a:extLst>
          </p:cNvPr>
          <p:cNvSpPr/>
          <p:nvPr/>
        </p:nvSpPr>
        <p:spPr>
          <a:xfrm>
            <a:off x="7915012" y="2578508"/>
            <a:ext cx="214313" cy="35718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1" name="上箭头 68">
            <a:extLst>
              <a:ext uri="{FF2B5EF4-FFF2-40B4-BE49-F238E27FC236}">
                <a16:creationId xmlns:a16="http://schemas.microsoft.com/office/drawing/2014/main" id="{AC050E69-8EF1-4D6A-87CD-5FA8EB017860}"/>
              </a:ext>
            </a:extLst>
          </p:cNvPr>
          <p:cNvSpPr/>
          <p:nvPr/>
        </p:nvSpPr>
        <p:spPr>
          <a:xfrm>
            <a:off x="5986200" y="2578508"/>
            <a:ext cx="274637" cy="178593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2" name="下箭头 69">
            <a:extLst>
              <a:ext uri="{FF2B5EF4-FFF2-40B4-BE49-F238E27FC236}">
                <a16:creationId xmlns:a16="http://schemas.microsoft.com/office/drawing/2014/main" id="{3AAE006D-E714-4B85-AD9C-76CCD3D2755E}"/>
              </a:ext>
            </a:extLst>
          </p:cNvPr>
          <p:cNvSpPr/>
          <p:nvPr/>
        </p:nvSpPr>
        <p:spPr>
          <a:xfrm>
            <a:off x="4806687" y="4293008"/>
            <a:ext cx="214313" cy="35718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3" name="下箭头 70">
            <a:extLst>
              <a:ext uri="{FF2B5EF4-FFF2-40B4-BE49-F238E27FC236}">
                <a16:creationId xmlns:a16="http://schemas.microsoft.com/office/drawing/2014/main" id="{4FE16030-7FF8-4CF8-8321-39CC9D7F5975}"/>
              </a:ext>
            </a:extLst>
          </p:cNvPr>
          <p:cNvSpPr/>
          <p:nvPr/>
        </p:nvSpPr>
        <p:spPr>
          <a:xfrm>
            <a:off x="7365737" y="4293008"/>
            <a:ext cx="214313" cy="35718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4" name="上箭头 71">
            <a:extLst>
              <a:ext uri="{FF2B5EF4-FFF2-40B4-BE49-F238E27FC236}">
                <a16:creationId xmlns:a16="http://schemas.microsoft.com/office/drawing/2014/main" id="{4B13D3F3-F9D9-4DD5-B0E2-D64E126BC766}"/>
              </a:ext>
            </a:extLst>
          </p:cNvPr>
          <p:cNvSpPr/>
          <p:nvPr/>
        </p:nvSpPr>
        <p:spPr>
          <a:xfrm>
            <a:off x="3793862" y="1267233"/>
            <a:ext cx="192088" cy="288925"/>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5" name="下箭头 72">
            <a:extLst>
              <a:ext uri="{FF2B5EF4-FFF2-40B4-BE49-F238E27FC236}">
                <a16:creationId xmlns:a16="http://schemas.microsoft.com/office/drawing/2014/main" id="{1D321BB3-F225-473A-9BCC-2576F14E2FCA}"/>
              </a:ext>
            </a:extLst>
          </p:cNvPr>
          <p:cNvSpPr/>
          <p:nvPr/>
        </p:nvSpPr>
        <p:spPr>
          <a:xfrm>
            <a:off x="7211750" y="1292633"/>
            <a:ext cx="203200" cy="28575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6" name="左箭头 73">
            <a:extLst>
              <a:ext uri="{FF2B5EF4-FFF2-40B4-BE49-F238E27FC236}">
                <a16:creationId xmlns:a16="http://schemas.microsoft.com/office/drawing/2014/main" id="{5A3CA079-5B90-4A7C-928E-65CDC0853321}"/>
              </a:ext>
            </a:extLst>
          </p:cNvPr>
          <p:cNvSpPr/>
          <p:nvPr/>
        </p:nvSpPr>
        <p:spPr>
          <a:xfrm>
            <a:off x="10343887" y="5078821"/>
            <a:ext cx="357188" cy="21431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7" name="左箭头 74">
            <a:extLst>
              <a:ext uri="{FF2B5EF4-FFF2-40B4-BE49-F238E27FC236}">
                <a16:creationId xmlns:a16="http://schemas.microsoft.com/office/drawing/2014/main" id="{06CE8B06-71AE-43A1-9C34-ECCAE0507218}"/>
              </a:ext>
            </a:extLst>
          </p:cNvPr>
          <p:cNvSpPr/>
          <p:nvPr/>
        </p:nvSpPr>
        <p:spPr>
          <a:xfrm>
            <a:off x="10358175" y="2792821"/>
            <a:ext cx="357187" cy="214312"/>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8" name="上箭头 75">
            <a:extLst>
              <a:ext uri="{FF2B5EF4-FFF2-40B4-BE49-F238E27FC236}">
                <a16:creationId xmlns:a16="http://schemas.microsoft.com/office/drawing/2014/main" id="{0E8E696B-5C61-4CE7-8937-1A7E1654474A}"/>
              </a:ext>
            </a:extLst>
          </p:cNvPr>
          <p:cNvSpPr/>
          <p:nvPr/>
        </p:nvSpPr>
        <p:spPr>
          <a:xfrm>
            <a:off x="10604238" y="1435508"/>
            <a:ext cx="168274" cy="378618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9" name="减号 108">
            <a:extLst>
              <a:ext uri="{FF2B5EF4-FFF2-40B4-BE49-F238E27FC236}">
                <a16:creationId xmlns:a16="http://schemas.microsoft.com/office/drawing/2014/main" id="{CD9C4813-F0BB-4460-B0AA-0896CA7B5F47}"/>
              </a:ext>
            </a:extLst>
          </p:cNvPr>
          <p:cNvSpPr/>
          <p:nvPr/>
        </p:nvSpPr>
        <p:spPr>
          <a:xfrm>
            <a:off x="4389175" y="4078696"/>
            <a:ext cx="3617912" cy="522287"/>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10" name="矩形 109">
            <a:extLst>
              <a:ext uri="{FF2B5EF4-FFF2-40B4-BE49-F238E27FC236}">
                <a16:creationId xmlns:a16="http://schemas.microsoft.com/office/drawing/2014/main" id="{02AE702E-FF06-45FE-812E-40847D19F185}"/>
              </a:ext>
            </a:extLst>
          </p:cNvPr>
          <p:cNvSpPr/>
          <p:nvPr/>
        </p:nvSpPr>
        <p:spPr>
          <a:xfrm>
            <a:off x="2057137" y="5007383"/>
            <a:ext cx="1214438" cy="500063"/>
          </a:xfrm>
          <a:prstGeom prst="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人员管理</a:t>
            </a:r>
          </a:p>
        </p:txBody>
      </p:sp>
      <p:sp>
        <p:nvSpPr>
          <p:cNvPr id="111" name="矩形 110">
            <a:extLst>
              <a:ext uri="{FF2B5EF4-FFF2-40B4-BE49-F238E27FC236}">
                <a16:creationId xmlns:a16="http://schemas.microsoft.com/office/drawing/2014/main" id="{8C250FB1-72B9-4436-9CFC-E0702476CF2F}"/>
              </a:ext>
            </a:extLst>
          </p:cNvPr>
          <p:cNvSpPr/>
          <p:nvPr/>
        </p:nvSpPr>
        <p:spPr>
          <a:xfrm>
            <a:off x="2057137" y="4507321"/>
            <a:ext cx="1214438" cy="500062"/>
          </a:xfrm>
          <a:prstGeom prst="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实验室结果异常分析</a:t>
            </a:r>
          </a:p>
        </p:txBody>
      </p:sp>
      <p:sp>
        <p:nvSpPr>
          <p:cNvPr id="112" name="矩形 111">
            <a:extLst>
              <a:ext uri="{FF2B5EF4-FFF2-40B4-BE49-F238E27FC236}">
                <a16:creationId xmlns:a16="http://schemas.microsoft.com/office/drawing/2014/main" id="{C943669D-F6AC-4C34-98BE-277A16CD7DCB}"/>
              </a:ext>
            </a:extLst>
          </p:cNvPr>
          <p:cNvSpPr/>
          <p:nvPr/>
        </p:nvSpPr>
        <p:spPr>
          <a:xfrm>
            <a:off x="2057137" y="4007258"/>
            <a:ext cx="1214438" cy="500063"/>
          </a:xfrm>
          <a:prstGeom prst="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纠错与预防措施规程</a:t>
            </a:r>
          </a:p>
        </p:txBody>
      </p:sp>
      <p:sp>
        <p:nvSpPr>
          <p:cNvPr id="113" name="矩形 112">
            <a:extLst>
              <a:ext uri="{FF2B5EF4-FFF2-40B4-BE49-F238E27FC236}">
                <a16:creationId xmlns:a16="http://schemas.microsoft.com/office/drawing/2014/main" id="{A7902469-8D30-4F2F-8A23-8DCF94ED5EE7}"/>
              </a:ext>
            </a:extLst>
          </p:cNvPr>
          <p:cNvSpPr/>
          <p:nvPr/>
        </p:nvSpPr>
        <p:spPr>
          <a:xfrm>
            <a:off x="2057137" y="3484971"/>
            <a:ext cx="1214438" cy="500062"/>
          </a:xfrm>
          <a:prstGeom prst="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偏差处理规程</a:t>
            </a:r>
          </a:p>
        </p:txBody>
      </p:sp>
      <p:sp>
        <p:nvSpPr>
          <p:cNvPr id="114" name="矩形 113">
            <a:extLst>
              <a:ext uri="{FF2B5EF4-FFF2-40B4-BE49-F238E27FC236}">
                <a16:creationId xmlns:a16="http://schemas.microsoft.com/office/drawing/2014/main" id="{5ED104FB-7320-453D-8822-F77BBA6E5C57}"/>
              </a:ext>
            </a:extLst>
          </p:cNvPr>
          <p:cNvSpPr/>
          <p:nvPr/>
        </p:nvSpPr>
        <p:spPr>
          <a:xfrm>
            <a:off x="2057137" y="2973796"/>
            <a:ext cx="1214438" cy="500062"/>
          </a:xfrm>
          <a:prstGeom prst="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文档管理规程</a:t>
            </a:r>
          </a:p>
        </p:txBody>
      </p:sp>
      <p:sp>
        <p:nvSpPr>
          <p:cNvPr id="115" name="矩形 114">
            <a:extLst>
              <a:ext uri="{FF2B5EF4-FFF2-40B4-BE49-F238E27FC236}">
                <a16:creationId xmlns:a16="http://schemas.microsoft.com/office/drawing/2014/main" id="{09CA4BAB-DBBF-40C7-A076-6092DA765903}"/>
              </a:ext>
            </a:extLst>
          </p:cNvPr>
          <p:cNvSpPr/>
          <p:nvPr/>
        </p:nvSpPr>
        <p:spPr>
          <a:xfrm>
            <a:off x="2057137" y="2464208"/>
            <a:ext cx="1214438" cy="500063"/>
          </a:xfrm>
          <a:prstGeom prst="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变更规程</a:t>
            </a:r>
          </a:p>
        </p:txBody>
      </p:sp>
      <p:sp>
        <p:nvSpPr>
          <p:cNvPr id="116" name="矩形 115">
            <a:extLst>
              <a:ext uri="{FF2B5EF4-FFF2-40B4-BE49-F238E27FC236}">
                <a16:creationId xmlns:a16="http://schemas.microsoft.com/office/drawing/2014/main" id="{F6F7F8CE-F1DA-4F82-9657-A1D0A0DFB9B2}"/>
              </a:ext>
            </a:extLst>
          </p:cNvPr>
          <p:cNvSpPr/>
          <p:nvPr/>
        </p:nvSpPr>
        <p:spPr>
          <a:xfrm>
            <a:off x="2057137" y="5507446"/>
            <a:ext cx="1214438" cy="500062"/>
          </a:xfrm>
          <a:prstGeom prst="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计算机化系统管理规程</a:t>
            </a:r>
          </a:p>
        </p:txBody>
      </p:sp>
      <p:sp>
        <p:nvSpPr>
          <p:cNvPr id="117" name="矩形 116">
            <a:extLst>
              <a:ext uri="{FF2B5EF4-FFF2-40B4-BE49-F238E27FC236}">
                <a16:creationId xmlns:a16="http://schemas.microsoft.com/office/drawing/2014/main" id="{C95CA1A6-D3C9-42BB-94F2-AD84BFBF3899}"/>
              </a:ext>
            </a:extLst>
          </p:cNvPr>
          <p:cNvSpPr/>
          <p:nvPr/>
        </p:nvSpPr>
        <p:spPr>
          <a:xfrm>
            <a:off x="6343387" y="5221696"/>
            <a:ext cx="1071563" cy="50006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故障远程诊断</a:t>
            </a:r>
          </a:p>
        </p:txBody>
      </p:sp>
      <p:sp>
        <p:nvSpPr>
          <p:cNvPr id="118" name="矩形 117">
            <a:extLst>
              <a:ext uri="{FF2B5EF4-FFF2-40B4-BE49-F238E27FC236}">
                <a16:creationId xmlns:a16="http://schemas.microsoft.com/office/drawing/2014/main" id="{D4BE7A15-7C20-4D27-AFEB-69A9D280E682}"/>
              </a:ext>
            </a:extLst>
          </p:cNvPr>
          <p:cNvSpPr/>
          <p:nvPr/>
        </p:nvSpPr>
        <p:spPr>
          <a:xfrm>
            <a:off x="7486387" y="5221696"/>
            <a:ext cx="1071563" cy="50006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部件生命周期管理</a:t>
            </a:r>
          </a:p>
        </p:txBody>
      </p:sp>
      <p:sp>
        <p:nvSpPr>
          <p:cNvPr id="119" name="矩形 118">
            <a:extLst>
              <a:ext uri="{FF2B5EF4-FFF2-40B4-BE49-F238E27FC236}">
                <a16:creationId xmlns:a16="http://schemas.microsoft.com/office/drawing/2014/main" id="{619C7DF4-BC58-45D3-ABEA-8E1FA4D45AF1}"/>
              </a:ext>
            </a:extLst>
          </p:cNvPr>
          <p:cNvSpPr/>
          <p:nvPr/>
        </p:nvSpPr>
        <p:spPr>
          <a:xfrm>
            <a:off x="3843075" y="3435758"/>
            <a:ext cx="928687" cy="2857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留样管理</a:t>
            </a:r>
          </a:p>
        </p:txBody>
      </p:sp>
      <p:sp>
        <p:nvSpPr>
          <p:cNvPr id="175" name="矩形 174">
            <a:extLst>
              <a:ext uri="{FF2B5EF4-FFF2-40B4-BE49-F238E27FC236}">
                <a16:creationId xmlns:a16="http://schemas.microsoft.com/office/drawing/2014/main" id="{D973A2C9-A78F-4690-9A8E-797AFF31F33D}"/>
              </a:ext>
            </a:extLst>
          </p:cNvPr>
          <p:cNvSpPr/>
          <p:nvPr/>
        </p:nvSpPr>
        <p:spPr>
          <a:xfrm>
            <a:off x="4914637" y="3435758"/>
            <a:ext cx="928688" cy="2857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检验管理</a:t>
            </a:r>
          </a:p>
        </p:txBody>
      </p:sp>
      <p:sp>
        <p:nvSpPr>
          <p:cNvPr id="176" name="矩形 175">
            <a:extLst>
              <a:ext uri="{FF2B5EF4-FFF2-40B4-BE49-F238E27FC236}">
                <a16:creationId xmlns:a16="http://schemas.microsoft.com/office/drawing/2014/main" id="{AD9C9AB5-DC3F-4C73-911A-435F0B6BB12C}"/>
              </a:ext>
            </a:extLst>
          </p:cNvPr>
          <p:cNvSpPr/>
          <p:nvPr/>
        </p:nvSpPr>
        <p:spPr>
          <a:xfrm>
            <a:off x="3843075" y="3864383"/>
            <a:ext cx="1143000" cy="2857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稳定性控制</a:t>
            </a:r>
          </a:p>
        </p:txBody>
      </p:sp>
      <p:sp>
        <p:nvSpPr>
          <p:cNvPr id="177" name="矩形 176">
            <a:extLst>
              <a:ext uri="{FF2B5EF4-FFF2-40B4-BE49-F238E27FC236}">
                <a16:creationId xmlns:a16="http://schemas.microsoft.com/office/drawing/2014/main" id="{1AA1692F-2F3A-4D08-8BBD-0BEE6FA992EA}"/>
              </a:ext>
            </a:extLst>
          </p:cNvPr>
          <p:cNvSpPr/>
          <p:nvPr/>
        </p:nvSpPr>
        <p:spPr>
          <a:xfrm>
            <a:off x="6414825" y="3435758"/>
            <a:ext cx="928687" cy="2857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入库管理</a:t>
            </a:r>
          </a:p>
        </p:txBody>
      </p:sp>
      <p:sp>
        <p:nvSpPr>
          <p:cNvPr id="178" name="矩形 177">
            <a:extLst>
              <a:ext uri="{FF2B5EF4-FFF2-40B4-BE49-F238E27FC236}">
                <a16:creationId xmlns:a16="http://schemas.microsoft.com/office/drawing/2014/main" id="{C4C48025-1083-4710-803A-4E88ADE3AF29}"/>
              </a:ext>
            </a:extLst>
          </p:cNvPr>
          <p:cNvSpPr/>
          <p:nvPr/>
        </p:nvSpPr>
        <p:spPr>
          <a:xfrm>
            <a:off x="6414825" y="3864383"/>
            <a:ext cx="928687" cy="2857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出库管理</a:t>
            </a:r>
          </a:p>
        </p:txBody>
      </p:sp>
      <p:sp>
        <p:nvSpPr>
          <p:cNvPr id="179" name="矩形 178">
            <a:extLst>
              <a:ext uri="{FF2B5EF4-FFF2-40B4-BE49-F238E27FC236}">
                <a16:creationId xmlns:a16="http://schemas.microsoft.com/office/drawing/2014/main" id="{21FB6546-4CB6-402A-A7F5-89773F1D1907}"/>
              </a:ext>
            </a:extLst>
          </p:cNvPr>
          <p:cNvSpPr/>
          <p:nvPr/>
        </p:nvSpPr>
        <p:spPr>
          <a:xfrm>
            <a:off x="7557825" y="3435758"/>
            <a:ext cx="928687" cy="2857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库存管理</a:t>
            </a:r>
          </a:p>
        </p:txBody>
      </p:sp>
      <p:sp>
        <p:nvSpPr>
          <p:cNvPr id="180" name="矩形 179">
            <a:extLst>
              <a:ext uri="{FF2B5EF4-FFF2-40B4-BE49-F238E27FC236}">
                <a16:creationId xmlns:a16="http://schemas.microsoft.com/office/drawing/2014/main" id="{D3AFC2C4-3795-4247-9ACE-8B6E87AC1B9C}"/>
              </a:ext>
            </a:extLst>
          </p:cNvPr>
          <p:cNvSpPr/>
          <p:nvPr/>
        </p:nvSpPr>
        <p:spPr>
          <a:xfrm>
            <a:off x="7557825" y="3864383"/>
            <a:ext cx="928687" cy="2857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存货管理</a:t>
            </a:r>
          </a:p>
        </p:txBody>
      </p:sp>
      <p:sp>
        <p:nvSpPr>
          <p:cNvPr id="181" name="矩形 180">
            <a:extLst>
              <a:ext uri="{FF2B5EF4-FFF2-40B4-BE49-F238E27FC236}">
                <a16:creationId xmlns:a16="http://schemas.microsoft.com/office/drawing/2014/main" id="{72FAEE3D-7613-495F-BFA4-DC8D448D05F8}"/>
              </a:ext>
            </a:extLst>
          </p:cNvPr>
          <p:cNvSpPr/>
          <p:nvPr/>
        </p:nvSpPr>
        <p:spPr>
          <a:xfrm>
            <a:off x="3343012" y="6221821"/>
            <a:ext cx="1285875" cy="35718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工艺系统</a:t>
            </a:r>
          </a:p>
        </p:txBody>
      </p:sp>
      <p:sp>
        <p:nvSpPr>
          <p:cNvPr id="182" name="矩形 181">
            <a:extLst>
              <a:ext uri="{FF2B5EF4-FFF2-40B4-BE49-F238E27FC236}">
                <a16:creationId xmlns:a16="http://schemas.microsoft.com/office/drawing/2014/main" id="{22D22B30-6B4D-490C-B0FA-00B1357116A9}"/>
              </a:ext>
            </a:extLst>
          </p:cNvPr>
          <p:cNvSpPr/>
          <p:nvPr/>
        </p:nvSpPr>
        <p:spPr>
          <a:xfrm>
            <a:off x="4771762" y="6221821"/>
            <a:ext cx="1285875" cy="35718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辅助系统</a:t>
            </a:r>
          </a:p>
        </p:txBody>
      </p:sp>
      <p:sp>
        <p:nvSpPr>
          <p:cNvPr id="183" name="矩形 182">
            <a:extLst>
              <a:ext uri="{FF2B5EF4-FFF2-40B4-BE49-F238E27FC236}">
                <a16:creationId xmlns:a16="http://schemas.microsoft.com/office/drawing/2014/main" id="{BD0EEC2C-65B9-4FF3-B2B5-BBE21A019CDC}"/>
              </a:ext>
            </a:extLst>
          </p:cNvPr>
          <p:cNvSpPr/>
          <p:nvPr/>
        </p:nvSpPr>
        <p:spPr>
          <a:xfrm>
            <a:off x="6129075" y="6221821"/>
            <a:ext cx="1285875" cy="35718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公共系统</a:t>
            </a:r>
          </a:p>
        </p:txBody>
      </p:sp>
      <p:sp>
        <p:nvSpPr>
          <p:cNvPr id="184" name="矩形 183">
            <a:extLst>
              <a:ext uri="{FF2B5EF4-FFF2-40B4-BE49-F238E27FC236}">
                <a16:creationId xmlns:a16="http://schemas.microsoft.com/office/drawing/2014/main" id="{C201E53A-4E1A-4395-910E-29D22B80BADB}"/>
              </a:ext>
            </a:extLst>
          </p:cNvPr>
          <p:cNvSpPr/>
          <p:nvPr/>
        </p:nvSpPr>
        <p:spPr>
          <a:xfrm>
            <a:off x="8906716" y="6205946"/>
            <a:ext cx="1420328" cy="35718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仓储物流</a:t>
            </a:r>
            <a:r>
              <a:rPr lang="en-US" altLang="zh-CN" sz="1400" dirty="0">
                <a:solidFill>
                  <a:schemeClr val="tx1"/>
                </a:solidFill>
              </a:rPr>
              <a:t>·</a:t>
            </a:r>
            <a:r>
              <a:rPr lang="zh-CN" altLang="en-US" sz="1400" dirty="0">
                <a:solidFill>
                  <a:schemeClr val="tx1"/>
                </a:solidFill>
              </a:rPr>
              <a:t>系统</a:t>
            </a:r>
          </a:p>
        </p:txBody>
      </p:sp>
      <p:sp>
        <p:nvSpPr>
          <p:cNvPr id="185" name="矩形 184">
            <a:extLst>
              <a:ext uri="{FF2B5EF4-FFF2-40B4-BE49-F238E27FC236}">
                <a16:creationId xmlns:a16="http://schemas.microsoft.com/office/drawing/2014/main" id="{ABE581B9-7A4A-498E-BE00-2C48BF0EE8FF}"/>
              </a:ext>
            </a:extLst>
          </p:cNvPr>
          <p:cNvSpPr/>
          <p:nvPr/>
        </p:nvSpPr>
        <p:spPr>
          <a:xfrm>
            <a:off x="7549403" y="6205946"/>
            <a:ext cx="1285875" cy="35718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rPr>
              <a:t>能源系统</a:t>
            </a:r>
          </a:p>
        </p:txBody>
      </p:sp>
      <p:sp>
        <p:nvSpPr>
          <p:cNvPr id="186" name="上下箭头 100">
            <a:extLst>
              <a:ext uri="{FF2B5EF4-FFF2-40B4-BE49-F238E27FC236}">
                <a16:creationId xmlns:a16="http://schemas.microsoft.com/office/drawing/2014/main" id="{977BA357-9172-41AB-B1E4-DA7AB31DA5C7}"/>
              </a:ext>
            </a:extLst>
          </p:cNvPr>
          <p:cNvSpPr>
            <a:spLocks noChangeArrowheads="1"/>
          </p:cNvSpPr>
          <p:nvPr/>
        </p:nvSpPr>
        <p:spPr bwMode="auto">
          <a:xfrm>
            <a:off x="4771762" y="5793196"/>
            <a:ext cx="214313" cy="285750"/>
          </a:xfrm>
          <a:prstGeom prst="upDownArrow">
            <a:avLst>
              <a:gd name="adj1" fmla="val 50000"/>
              <a:gd name="adj2" fmla="val 50000"/>
            </a:avLst>
          </a:prstGeom>
          <a:solidFill>
            <a:schemeClr val="accent1"/>
          </a:solidFill>
          <a:ln w="9525" algn="ctr">
            <a:solidFill>
              <a:schemeClr val="tx1"/>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 name="文本框 1">
            <a:extLst>
              <a:ext uri="{FF2B5EF4-FFF2-40B4-BE49-F238E27FC236}">
                <a16:creationId xmlns:a16="http://schemas.microsoft.com/office/drawing/2014/main" id="{F81CB01B-6483-4533-8A82-CE11539C9163}"/>
              </a:ext>
            </a:extLst>
          </p:cNvPr>
          <p:cNvSpPr txBox="1"/>
          <p:nvPr/>
        </p:nvSpPr>
        <p:spPr>
          <a:xfrm>
            <a:off x="25137" y="1556158"/>
            <a:ext cx="1389045" cy="646331"/>
          </a:xfrm>
          <a:prstGeom prst="rect">
            <a:avLst/>
          </a:prstGeom>
          <a:noFill/>
        </p:spPr>
        <p:txBody>
          <a:bodyPr wrap="square" rtlCol="0">
            <a:spAutoFit/>
          </a:bodyPr>
          <a:lstStyle/>
          <a:p>
            <a:pPr marL="285750" indent="-285750">
              <a:buFont typeface="Wingdings" panose="05000000000000000000" pitchFamily="2" charset="2"/>
              <a:buChar char="ü"/>
            </a:pPr>
            <a:r>
              <a:rPr lang="zh-CN" altLang="en-US" b="1" dirty="0">
                <a:latin typeface="+mn-ea"/>
                <a:ea typeface="+mn-ea"/>
              </a:rPr>
              <a:t>横向集成</a:t>
            </a:r>
            <a:endParaRPr lang="en-US" altLang="zh-CN" b="1" dirty="0">
              <a:latin typeface="+mn-ea"/>
              <a:ea typeface="+mn-ea"/>
            </a:endParaRPr>
          </a:p>
          <a:p>
            <a:pPr marL="285750" indent="-285750">
              <a:buFont typeface="Wingdings" panose="05000000000000000000" pitchFamily="2" charset="2"/>
              <a:buChar char="ü"/>
            </a:pPr>
            <a:r>
              <a:rPr lang="zh-CN" altLang="en-US" b="1" dirty="0">
                <a:latin typeface="+mn-ea"/>
                <a:ea typeface="+mn-ea"/>
              </a:rPr>
              <a:t>纵向集成</a:t>
            </a:r>
          </a:p>
        </p:txBody>
      </p:sp>
    </p:spTree>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文本框 14"/>
          <p:cNvSpPr txBox="1">
            <a:spLocks noChangeArrowheads="1"/>
          </p:cNvSpPr>
          <p:nvPr/>
        </p:nvSpPr>
        <p:spPr bwMode="auto">
          <a:xfrm>
            <a:off x="1073150" y="-63500"/>
            <a:ext cx="908050" cy="830263"/>
          </a:xfrm>
          <a:prstGeom prst="rect">
            <a:avLst/>
          </a:prstGeom>
          <a:noFill/>
          <a:ln w="9525">
            <a:noFill/>
            <a:miter lim="800000"/>
            <a:headEnd/>
            <a:tailEnd/>
          </a:ln>
        </p:spPr>
        <p:txBody>
          <a:bodyPr>
            <a:spAutoFit/>
          </a:bodyPr>
          <a:lstStyle/>
          <a:p>
            <a:r>
              <a:rPr lang="en-US" altLang="zh-CN" sz="4800" b="1">
                <a:solidFill>
                  <a:schemeClr val="bg1"/>
                </a:solidFill>
                <a:latin typeface="微软雅黑" pitchFamily="34" charset="-122"/>
                <a:ea typeface="微软雅黑" pitchFamily="34" charset="-122"/>
              </a:rPr>
              <a:t>1</a:t>
            </a:r>
            <a:endParaRPr lang="zh-CN" altLang="en-US" sz="4800" b="1">
              <a:solidFill>
                <a:schemeClr val="bg1"/>
              </a:solidFill>
              <a:latin typeface="微软雅黑" pitchFamily="34" charset="-122"/>
              <a:ea typeface="微软雅黑" pitchFamily="34" charset="-122"/>
            </a:endParaRPr>
          </a:p>
        </p:txBody>
      </p:sp>
      <p:sp>
        <p:nvSpPr>
          <p:cNvPr id="9" name="Rectangle 11"/>
          <p:cNvSpPr/>
          <p:nvPr/>
        </p:nvSpPr>
        <p:spPr bwMode="auto">
          <a:xfrm>
            <a:off x="635427" y="114300"/>
            <a:ext cx="7430400"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zh-CN" altLang="en-US" sz="3600" b="1" dirty="0">
                <a:solidFill>
                  <a:srgbClr val="0070C0"/>
                </a:solidFill>
                <a:latin typeface="+mj-ea"/>
                <a:ea typeface="+mj-ea"/>
              </a:rPr>
              <a:t>集成应用接口</a:t>
            </a:r>
          </a:p>
        </p:txBody>
      </p:sp>
      <p:sp>
        <p:nvSpPr>
          <p:cNvPr id="121" name="矩形: 圆角 120">
            <a:extLst>
              <a:ext uri="{FF2B5EF4-FFF2-40B4-BE49-F238E27FC236}">
                <a16:creationId xmlns:a16="http://schemas.microsoft.com/office/drawing/2014/main" id="{3F3621D5-151B-4218-80F1-2B0D4D65B116}"/>
              </a:ext>
            </a:extLst>
          </p:cNvPr>
          <p:cNvSpPr/>
          <p:nvPr/>
        </p:nvSpPr>
        <p:spPr bwMode="auto">
          <a:xfrm>
            <a:off x="5375920" y="3323484"/>
            <a:ext cx="1800200" cy="715089"/>
          </a:xfrm>
          <a:prstGeom prst="roundRect">
            <a:avLst/>
          </a:prstGeom>
          <a:solidFill>
            <a:srgbClr val="00B0F0"/>
          </a:solidFill>
          <a:ln>
            <a:noFill/>
            <a:headEnd type="none" w="med" len="med"/>
            <a:tailEnd type="none" w="med" len="med"/>
          </a:ln>
          <a:effectLst>
            <a:glow rad="63500">
              <a:schemeClr val="accent5">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anchor="ctr">
            <a:spAutoFit/>
          </a:bodyPr>
          <a:lstStyle/>
          <a:p>
            <a:pPr algn="ctr">
              <a:defRPr/>
            </a:pPr>
            <a:r>
              <a:rPr lang="en-US" altLang="zh-CN" sz="3600" dirty="0">
                <a:solidFill>
                  <a:schemeClr val="tx1"/>
                </a:solidFill>
                <a:latin typeface="STLiti" charset="-122"/>
                <a:ea typeface="STLiti" charset="-122"/>
                <a:cs typeface="STLiti" charset="-122"/>
              </a:rPr>
              <a:t>MES</a:t>
            </a:r>
            <a:endParaRPr lang="zh-CN" altLang="en-US" sz="3200" dirty="0">
              <a:solidFill>
                <a:schemeClr val="tx1"/>
              </a:solidFill>
              <a:latin typeface="STLiti" charset="-122"/>
              <a:ea typeface="STLiti" charset="-122"/>
              <a:cs typeface="STLiti" charset="-122"/>
            </a:endParaRPr>
          </a:p>
        </p:txBody>
      </p:sp>
      <p:sp>
        <p:nvSpPr>
          <p:cNvPr id="122" name="矩形: 圆角 121">
            <a:extLst>
              <a:ext uri="{FF2B5EF4-FFF2-40B4-BE49-F238E27FC236}">
                <a16:creationId xmlns:a16="http://schemas.microsoft.com/office/drawing/2014/main" id="{02CDE818-E371-49F2-A20C-DA56772D78EC}"/>
              </a:ext>
            </a:extLst>
          </p:cNvPr>
          <p:cNvSpPr/>
          <p:nvPr/>
        </p:nvSpPr>
        <p:spPr bwMode="auto">
          <a:xfrm>
            <a:off x="5591944" y="1445419"/>
            <a:ext cx="1368152" cy="510778"/>
          </a:xfrm>
          <a:prstGeom prst="roundRect">
            <a:avLst/>
          </a:prstGeom>
          <a:solidFill>
            <a:srgbClr val="FFC000"/>
          </a:solidFill>
          <a:ln>
            <a:noFill/>
            <a:headEnd type="none" w="med" len="med"/>
            <a:tailEnd type="none" w="med" len="med"/>
          </a:ln>
          <a:effectLst>
            <a:glow rad="63500">
              <a:schemeClr val="accent5">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anchor="ctr">
            <a:spAutoFit/>
          </a:bodyPr>
          <a:lstStyle/>
          <a:p>
            <a:pPr algn="ctr">
              <a:defRPr/>
            </a:pPr>
            <a:r>
              <a:rPr lang="en-US" altLang="zh-CN" sz="2400" dirty="0">
                <a:solidFill>
                  <a:schemeClr val="tx1"/>
                </a:solidFill>
                <a:latin typeface="STLiti" charset="-122"/>
                <a:ea typeface="STLiti" charset="-122"/>
                <a:cs typeface="STLiti" charset="-122"/>
              </a:rPr>
              <a:t>ERP</a:t>
            </a:r>
            <a:endParaRPr lang="zh-CN" altLang="en-US" sz="2400" dirty="0">
              <a:solidFill>
                <a:schemeClr val="tx1"/>
              </a:solidFill>
              <a:latin typeface="STLiti" charset="-122"/>
              <a:ea typeface="STLiti" charset="-122"/>
              <a:cs typeface="STLiti" charset="-122"/>
            </a:endParaRPr>
          </a:p>
        </p:txBody>
      </p:sp>
      <p:sp>
        <p:nvSpPr>
          <p:cNvPr id="123" name="矩形: 圆角 122">
            <a:extLst>
              <a:ext uri="{FF2B5EF4-FFF2-40B4-BE49-F238E27FC236}">
                <a16:creationId xmlns:a16="http://schemas.microsoft.com/office/drawing/2014/main" id="{C4251D40-575B-4D8B-B662-A7CA9ECDF683}"/>
              </a:ext>
            </a:extLst>
          </p:cNvPr>
          <p:cNvSpPr/>
          <p:nvPr/>
        </p:nvSpPr>
        <p:spPr bwMode="auto">
          <a:xfrm>
            <a:off x="9164207" y="1445419"/>
            <a:ext cx="1541305" cy="510778"/>
          </a:xfrm>
          <a:prstGeom prst="roundRect">
            <a:avLst/>
          </a:prstGeom>
          <a:solidFill>
            <a:srgbClr val="92D050"/>
          </a:solidFill>
          <a:ln>
            <a:noFill/>
            <a:headEnd type="none" w="med" len="med"/>
            <a:tailEnd type="none" w="med" len="med"/>
          </a:ln>
          <a:effectLst>
            <a:glow rad="63500">
              <a:schemeClr val="accent5">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wrap="square" anchor="ctr">
            <a:spAutoFit/>
          </a:bodyPr>
          <a:lstStyle/>
          <a:p>
            <a:pPr algn="ctr">
              <a:defRPr/>
            </a:pPr>
            <a:r>
              <a:rPr lang="zh-CN" altLang="en-US" sz="2400" dirty="0">
                <a:solidFill>
                  <a:schemeClr val="tx1"/>
                </a:solidFill>
                <a:latin typeface="STLiti" charset="-122"/>
                <a:ea typeface="STLiti" charset="-122"/>
                <a:cs typeface="STLiti" charset="-122"/>
              </a:rPr>
              <a:t>物流调度</a:t>
            </a:r>
          </a:p>
        </p:txBody>
      </p:sp>
      <p:sp>
        <p:nvSpPr>
          <p:cNvPr id="124" name="矩形: 圆角 123">
            <a:extLst>
              <a:ext uri="{FF2B5EF4-FFF2-40B4-BE49-F238E27FC236}">
                <a16:creationId xmlns:a16="http://schemas.microsoft.com/office/drawing/2014/main" id="{4C9AF73D-E6F9-4611-B86A-DD7F50B44C05}"/>
              </a:ext>
            </a:extLst>
          </p:cNvPr>
          <p:cNvSpPr/>
          <p:nvPr/>
        </p:nvSpPr>
        <p:spPr bwMode="auto">
          <a:xfrm>
            <a:off x="1544644" y="3425639"/>
            <a:ext cx="1800225" cy="510778"/>
          </a:xfrm>
          <a:prstGeom prst="roundRect">
            <a:avLst/>
          </a:prstGeom>
          <a:solidFill>
            <a:schemeClr val="bg1">
              <a:lumMod val="85000"/>
            </a:schemeClr>
          </a:solidFill>
          <a:ln>
            <a:noFill/>
            <a:headEnd type="none" w="med" len="med"/>
            <a:tailEnd type="none" w="med" len="med"/>
          </a:ln>
          <a:effectLst>
            <a:glow rad="63500">
              <a:schemeClr val="accent5">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wrap="square" anchor="ctr">
            <a:spAutoFit/>
          </a:bodyPr>
          <a:lstStyle/>
          <a:p>
            <a:pPr algn="ctr">
              <a:defRPr/>
            </a:pPr>
            <a:r>
              <a:rPr lang="en-US" altLang="zh-CN" sz="2400" dirty="0">
                <a:solidFill>
                  <a:schemeClr val="tx1"/>
                </a:solidFill>
                <a:latin typeface="STLiti" charset="-122"/>
                <a:ea typeface="STLiti" charset="-122"/>
                <a:cs typeface="STLiti" charset="-122"/>
              </a:rPr>
              <a:t>DCS/SCADA</a:t>
            </a:r>
            <a:endParaRPr lang="zh-CN" altLang="en-US" sz="2400" dirty="0">
              <a:solidFill>
                <a:schemeClr val="tx1"/>
              </a:solidFill>
              <a:latin typeface="STLiti" charset="-122"/>
              <a:ea typeface="STLiti" charset="-122"/>
              <a:cs typeface="STLiti" charset="-122"/>
            </a:endParaRPr>
          </a:p>
        </p:txBody>
      </p:sp>
      <p:sp>
        <p:nvSpPr>
          <p:cNvPr id="125" name="矩形: 圆角 124">
            <a:extLst>
              <a:ext uri="{FF2B5EF4-FFF2-40B4-BE49-F238E27FC236}">
                <a16:creationId xmlns:a16="http://schemas.microsoft.com/office/drawing/2014/main" id="{1BEE79B9-624F-4774-879C-CC9F9EEDA9E8}"/>
              </a:ext>
            </a:extLst>
          </p:cNvPr>
          <p:cNvSpPr/>
          <p:nvPr/>
        </p:nvSpPr>
        <p:spPr bwMode="auto">
          <a:xfrm>
            <a:off x="1432568" y="5413007"/>
            <a:ext cx="1912286" cy="510778"/>
          </a:xfrm>
          <a:prstGeom prst="roundRect">
            <a:avLst/>
          </a:prstGeom>
          <a:solidFill>
            <a:schemeClr val="bg2">
              <a:lumMod val="60000"/>
              <a:lumOff val="40000"/>
            </a:schemeClr>
          </a:solidFill>
          <a:ln>
            <a:noFill/>
            <a:headEnd type="none" w="med" len="med"/>
            <a:tailEnd type="none" w="med" len="med"/>
          </a:ln>
          <a:effectLst>
            <a:glow rad="63500">
              <a:schemeClr val="accent5">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wrap="square" anchor="ctr">
            <a:spAutoFit/>
          </a:bodyPr>
          <a:lstStyle/>
          <a:p>
            <a:pPr algn="ctr">
              <a:defRPr/>
            </a:pPr>
            <a:r>
              <a:rPr lang="zh-CN" altLang="en-US" sz="2400" dirty="0">
                <a:solidFill>
                  <a:schemeClr val="tx1"/>
                </a:solidFill>
                <a:latin typeface="STLiti" charset="-122"/>
                <a:ea typeface="STLiti" charset="-122"/>
                <a:cs typeface="STLiti" charset="-122"/>
              </a:rPr>
              <a:t>设备、</a:t>
            </a:r>
            <a:r>
              <a:rPr lang="en-US" altLang="zh-CN" sz="2400" dirty="0">
                <a:solidFill>
                  <a:schemeClr val="tx1"/>
                </a:solidFill>
                <a:latin typeface="STLiti" charset="-122"/>
                <a:ea typeface="STLiti" charset="-122"/>
                <a:cs typeface="STLiti" charset="-122"/>
              </a:rPr>
              <a:t>EMS</a:t>
            </a:r>
            <a:endParaRPr lang="zh-CN" altLang="en-US" sz="3200" dirty="0">
              <a:solidFill>
                <a:schemeClr val="tx1"/>
              </a:solidFill>
              <a:latin typeface="STLiti" charset="-122"/>
              <a:ea typeface="STLiti" charset="-122"/>
              <a:cs typeface="STLiti" charset="-122"/>
            </a:endParaRPr>
          </a:p>
        </p:txBody>
      </p:sp>
      <p:sp>
        <p:nvSpPr>
          <p:cNvPr id="126" name="矩形: 圆角 125">
            <a:extLst>
              <a:ext uri="{FF2B5EF4-FFF2-40B4-BE49-F238E27FC236}">
                <a16:creationId xmlns:a16="http://schemas.microsoft.com/office/drawing/2014/main" id="{851A20A5-3800-4017-A5AE-E1FD014559ED}"/>
              </a:ext>
            </a:extLst>
          </p:cNvPr>
          <p:cNvSpPr/>
          <p:nvPr/>
        </p:nvSpPr>
        <p:spPr bwMode="auto">
          <a:xfrm>
            <a:off x="9192344" y="5405859"/>
            <a:ext cx="1368152" cy="510778"/>
          </a:xfrm>
          <a:prstGeom prst="roundRect">
            <a:avLst/>
          </a:prstGeom>
          <a:solidFill>
            <a:srgbClr val="92D050"/>
          </a:solidFill>
          <a:ln>
            <a:noFill/>
            <a:headEnd type="none" w="med" len="med"/>
            <a:tailEnd type="none" w="med" len="med"/>
          </a:ln>
          <a:effectLst>
            <a:glow rad="63500">
              <a:schemeClr val="accent5">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anchor="ctr">
            <a:spAutoFit/>
          </a:bodyPr>
          <a:lstStyle/>
          <a:p>
            <a:pPr algn="ctr">
              <a:defRPr/>
            </a:pPr>
            <a:r>
              <a:rPr lang="en-US" altLang="zh-CN" sz="2400" dirty="0">
                <a:solidFill>
                  <a:schemeClr val="tx1"/>
                </a:solidFill>
                <a:latin typeface="STLiti" charset="-122"/>
                <a:ea typeface="STLiti" charset="-122"/>
                <a:cs typeface="STLiti" charset="-122"/>
              </a:rPr>
              <a:t>WMS</a:t>
            </a:r>
            <a:endParaRPr lang="zh-CN" altLang="en-US" sz="2400" dirty="0">
              <a:solidFill>
                <a:schemeClr val="tx1"/>
              </a:solidFill>
              <a:latin typeface="STLiti" charset="-122"/>
              <a:ea typeface="STLiti" charset="-122"/>
              <a:cs typeface="STLiti" charset="-122"/>
            </a:endParaRPr>
          </a:p>
        </p:txBody>
      </p:sp>
      <p:cxnSp>
        <p:nvCxnSpPr>
          <p:cNvPr id="129" name="直接箭头连接符 128">
            <a:extLst>
              <a:ext uri="{FF2B5EF4-FFF2-40B4-BE49-F238E27FC236}">
                <a16:creationId xmlns:a16="http://schemas.microsoft.com/office/drawing/2014/main" id="{1FDF0FBB-16A0-4D65-A362-42E3382D6E52}"/>
              </a:ext>
            </a:extLst>
          </p:cNvPr>
          <p:cNvCxnSpPr>
            <a:cxnSpLocks/>
          </p:cNvCxnSpPr>
          <p:nvPr/>
        </p:nvCxnSpPr>
        <p:spPr bwMode="auto">
          <a:xfrm>
            <a:off x="6240463" y="2024063"/>
            <a:ext cx="0" cy="1231900"/>
          </a:xfrm>
          <a:prstGeom prst="straightConnector1">
            <a:avLst/>
          </a:prstGeom>
          <a:ln w="2857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30" name="直接箭头连接符 129">
            <a:extLst>
              <a:ext uri="{FF2B5EF4-FFF2-40B4-BE49-F238E27FC236}">
                <a16:creationId xmlns:a16="http://schemas.microsoft.com/office/drawing/2014/main" id="{2D59C802-5EFC-4748-A85F-405911696672}"/>
              </a:ext>
            </a:extLst>
          </p:cNvPr>
          <p:cNvCxnSpPr>
            <a:cxnSpLocks/>
          </p:cNvCxnSpPr>
          <p:nvPr/>
        </p:nvCxnSpPr>
        <p:spPr bwMode="auto">
          <a:xfrm flipV="1">
            <a:off x="6311900" y="2024063"/>
            <a:ext cx="0" cy="1231900"/>
          </a:xfrm>
          <a:prstGeom prst="straightConnector1">
            <a:avLst/>
          </a:prstGeom>
          <a:ln w="2857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31" name="文本框 32">
            <a:extLst>
              <a:ext uri="{FF2B5EF4-FFF2-40B4-BE49-F238E27FC236}">
                <a16:creationId xmlns:a16="http://schemas.microsoft.com/office/drawing/2014/main" id="{D7BB911D-B401-4C4E-A7DC-BB9B38725C02}"/>
              </a:ext>
            </a:extLst>
          </p:cNvPr>
          <p:cNvSpPr txBox="1">
            <a:spLocks noChangeArrowheads="1"/>
          </p:cNvSpPr>
          <p:nvPr/>
        </p:nvSpPr>
        <p:spPr bwMode="auto">
          <a:xfrm>
            <a:off x="5086971" y="2108336"/>
            <a:ext cx="10054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zh-CN"/>
            </a:defPPr>
            <a:lvl1pPr>
              <a:spcBef>
                <a:spcPct val="0"/>
              </a:spcBef>
              <a:buFontTx/>
              <a:buNone/>
              <a:defRPr sz="1600">
                <a:latin typeface="STXingkai" charset="-122"/>
                <a:ea typeface="STXingkai" charset="-122"/>
                <a:cs typeface="STXingkai" charset="-122"/>
              </a:defRPr>
            </a:lvl1pPr>
            <a:lvl2pPr marL="742950" indent="-285750">
              <a:spcBef>
                <a:spcPct val="20000"/>
              </a:spcBef>
              <a:buChar char="–"/>
              <a:defRPr sz="1600">
                <a:latin typeface="Arial" charset="0"/>
                <a:ea typeface="黑体" charset="-122"/>
              </a:defRPr>
            </a:lvl2pPr>
            <a:lvl3pPr marL="1143000" indent="-228600">
              <a:spcBef>
                <a:spcPct val="20000"/>
              </a:spcBef>
              <a:buChar char="•"/>
              <a:defRPr sz="1600">
                <a:latin typeface="Arial" charset="0"/>
                <a:ea typeface="黑体" charset="-122"/>
              </a:defRPr>
            </a:lvl3pPr>
            <a:lvl4pPr marL="1600200" indent="-228600">
              <a:spcBef>
                <a:spcPct val="20000"/>
              </a:spcBef>
              <a:buChar char="–"/>
              <a:defRPr sz="1600">
                <a:latin typeface="Arial" charset="0"/>
                <a:ea typeface="黑体" charset="-122"/>
              </a:defRPr>
            </a:lvl4pPr>
            <a:lvl5pPr marL="2057400" indent="-228600">
              <a:spcBef>
                <a:spcPct val="20000"/>
              </a:spcBef>
              <a:buChar char="»"/>
              <a:defRPr sz="1600">
                <a:latin typeface="Arial" charset="0"/>
                <a:ea typeface="黑体" charset="-122"/>
              </a:defRPr>
            </a:lvl5pPr>
            <a:lvl6pPr marL="2514600" indent="-228600" eaLnBrk="0" fontAlgn="base" hangingPunct="0">
              <a:spcBef>
                <a:spcPct val="20000"/>
              </a:spcBef>
              <a:spcAft>
                <a:spcPct val="0"/>
              </a:spcAft>
              <a:buChar char="»"/>
              <a:defRPr sz="1600">
                <a:latin typeface="Arial" charset="0"/>
                <a:ea typeface="黑体" charset="-122"/>
              </a:defRPr>
            </a:lvl6pPr>
            <a:lvl7pPr marL="2971800" indent="-228600" eaLnBrk="0" fontAlgn="base" hangingPunct="0">
              <a:spcBef>
                <a:spcPct val="20000"/>
              </a:spcBef>
              <a:spcAft>
                <a:spcPct val="0"/>
              </a:spcAft>
              <a:buChar char="»"/>
              <a:defRPr sz="1600">
                <a:latin typeface="Arial" charset="0"/>
                <a:ea typeface="黑体" charset="-122"/>
              </a:defRPr>
            </a:lvl7pPr>
            <a:lvl8pPr marL="3429000" indent="-228600" eaLnBrk="0" fontAlgn="base" hangingPunct="0">
              <a:spcBef>
                <a:spcPct val="20000"/>
              </a:spcBef>
              <a:spcAft>
                <a:spcPct val="0"/>
              </a:spcAft>
              <a:buChar char="»"/>
              <a:defRPr sz="1600">
                <a:latin typeface="Arial" charset="0"/>
                <a:ea typeface="黑体" charset="-122"/>
              </a:defRPr>
            </a:lvl8pPr>
            <a:lvl9pPr marL="3886200" indent="-228600" eaLnBrk="0" fontAlgn="base" hangingPunct="0">
              <a:spcBef>
                <a:spcPct val="20000"/>
              </a:spcBef>
              <a:spcAft>
                <a:spcPct val="0"/>
              </a:spcAft>
              <a:buChar char="»"/>
              <a:defRPr sz="1600">
                <a:latin typeface="Arial" charset="0"/>
                <a:ea typeface="黑体" charset="-122"/>
              </a:defRPr>
            </a:lvl9pPr>
          </a:lstStyle>
          <a:p>
            <a:r>
              <a:rPr lang="zh-CN" altLang="en-US" dirty="0"/>
              <a:t>生产计划</a:t>
            </a:r>
          </a:p>
        </p:txBody>
      </p:sp>
      <p:sp>
        <p:nvSpPr>
          <p:cNvPr id="132" name="文本框 33">
            <a:extLst>
              <a:ext uri="{FF2B5EF4-FFF2-40B4-BE49-F238E27FC236}">
                <a16:creationId xmlns:a16="http://schemas.microsoft.com/office/drawing/2014/main" id="{BA54A128-89C8-4C59-8180-224CEF52CB73}"/>
              </a:ext>
            </a:extLst>
          </p:cNvPr>
          <p:cNvSpPr txBox="1">
            <a:spLocks noChangeArrowheads="1"/>
          </p:cNvSpPr>
          <p:nvPr/>
        </p:nvSpPr>
        <p:spPr bwMode="auto">
          <a:xfrm>
            <a:off x="6284318" y="2726532"/>
            <a:ext cx="162095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zh-CN"/>
            </a:defPPr>
            <a:lvl1pPr>
              <a:spcBef>
                <a:spcPct val="0"/>
              </a:spcBef>
              <a:buFontTx/>
              <a:buNone/>
              <a:defRPr sz="1600">
                <a:latin typeface="STXingkai" charset="-122"/>
                <a:ea typeface="STXingkai" charset="-122"/>
                <a:cs typeface="STXingkai" charset="-122"/>
              </a:defRPr>
            </a:lvl1pPr>
            <a:lvl2pPr marL="742950" indent="-285750">
              <a:spcBef>
                <a:spcPct val="20000"/>
              </a:spcBef>
              <a:buChar char="–"/>
              <a:defRPr sz="1600">
                <a:latin typeface="Arial" charset="0"/>
                <a:ea typeface="黑体" charset="-122"/>
              </a:defRPr>
            </a:lvl2pPr>
            <a:lvl3pPr marL="1143000" indent="-228600">
              <a:spcBef>
                <a:spcPct val="20000"/>
              </a:spcBef>
              <a:buChar char="•"/>
              <a:defRPr sz="1600">
                <a:latin typeface="Arial" charset="0"/>
                <a:ea typeface="黑体" charset="-122"/>
              </a:defRPr>
            </a:lvl3pPr>
            <a:lvl4pPr marL="1600200" indent="-228600">
              <a:spcBef>
                <a:spcPct val="20000"/>
              </a:spcBef>
              <a:buChar char="–"/>
              <a:defRPr sz="1600">
                <a:latin typeface="Arial" charset="0"/>
                <a:ea typeface="黑体" charset="-122"/>
              </a:defRPr>
            </a:lvl4pPr>
            <a:lvl5pPr marL="2057400" indent="-228600">
              <a:spcBef>
                <a:spcPct val="20000"/>
              </a:spcBef>
              <a:buChar char="»"/>
              <a:defRPr sz="1600">
                <a:latin typeface="Arial" charset="0"/>
                <a:ea typeface="黑体" charset="-122"/>
              </a:defRPr>
            </a:lvl5pPr>
            <a:lvl6pPr marL="2514600" indent="-228600" eaLnBrk="0" fontAlgn="base" hangingPunct="0">
              <a:spcBef>
                <a:spcPct val="20000"/>
              </a:spcBef>
              <a:spcAft>
                <a:spcPct val="0"/>
              </a:spcAft>
              <a:buChar char="»"/>
              <a:defRPr sz="1600">
                <a:latin typeface="Arial" charset="0"/>
                <a:ea typeface="黑体" charset="-122"/>
              </a:defRPr>
            </a:lvl6pPr>
            <a:lvl7pPr marL="2971800" indent="-228600" eaLnBrk="0" fontAlgn="base" hangingPunct="0">
              <a:spcBef>
                <a:spcPct val="20000"/>
              </a:spcBef>
              <a:spcAft>
                <a:spcPct val="0"/>
              </a:spcAft>
              <a:buChar char="»"/>
              <a:defRPr sz="1600">
                <a:latin typeface="Arial" charset="0"/>
                <a:ea typeface="黑体" charset="-122"/>
              </a:defRPr>
            </a:lvl7pPr>
            <a:lvl8pPr marL="3429000" indent="-228600" eaLnBrk="0" fontAlgn="base" hangingPunct="0">
              <a:spcBef>
                <a:spcPct val="20000"/>
              </a:spcBef>
              <a:spcAft>
                <a:spcPct val="0"/>
              </a:spcAft>
              <a:buChar char="»"/>
              <a:defRPr sz="1600">
                <a:latin typeface="Arial" charset="0"/>
                <a:ea typeface="黑体" charset="-122"/>
              </a:defRPr>
            </a:lvl8pPr>
            <a:lvl9pPr marL="3886200" indent="-228600" eaLnBrk="0" fontAlgn="base" hangingPunct="0">
              <a:spcBef>
                <a:spcPct val="20000"/>
              </a:spcBef>
              <a:spcAft>
                <a:spcPct val="0"/>
              </a:spcAft>
              <a:buChar char="»"/>
              <a:defRPr sz="1600">
                <a:latin typeface="Arial" charset="0"/>
                <a:ea typeface="黑体" charset="-122"/>
              </a:defRPr>
            </a:lvl9pPr>
          </a:lstStyle>
          <a:p>
            <a:r>
              <a:rPr lang="zh-CN" altLang="en-US" dirty="0"/>
              <a:t>物料平衡、绩效</a:t>
            </a:r>
          </a:p>
        </p:txBody>
      </p:sp>
      <p:cxnSp>
        <p:nvCxnSpPr>
          <p:cNvPr id="133" name="连接符: 肘形 132">
            <a:extLst>
              <a:ext uri="{FF2B5EF4-FFF2-40B4-BE49-F238E27FC236}">
                <a16:creationId xmlns:a16="http://schemas.microsoft.com/office/drawing/2014/main" id="{9383167F-2BB0-4958-98DC-FB4D78625BB8}"/>
              </a:ext>
            </a:extLst>
          </p:cNvPr>
          <p:cNvCxnSpPr>
            <a:cxnSpLocks/>
          </p:cNvCxnSpPr>
          <p:nvPr/>
        </p:nvCxnSpPr>
        <p:spPr bwMode="auto">
          <a:xfrm rot="16200000" flipH="1">
            <a:off x="6866732" y="3515520"/>
            <a:ext cx="1698625" cy="2881312"/>
          </a:xfrm>
          <a:prstGeom prst="bentConnector2">
            <a:avLst/>
          </a:prstGeom>
          <a:ln w="2857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34" name="文本框 50">
            <a:extLst>
              <a:ext uri="{FF2B5EF4-FFF2-40B4-BE49-F238E27FC236}">
                <a16:creationId xmlns:a16="http://schemas.microsoft.com/office/drawing/2014/main" id="{15DD1467-BD51-4031-A5FC-9CC91B2E43C6}"/>
              </a:ext>
            </a:extLst>
          </p:cNvPr>
          <p:cNvSpPr txBox="1">
            <a:spLocks noChangeArrowheads="1"/>
          </p:cNvSpPr>
          <p:nvPr/>
        </p:nvSpPr>
        <p:spPr bwMode="auto">
          <a:xfrm>
            <a:off x="6527801" y="5300664"/>
            <a:ext cx="223651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1600">
                <a:solidFill>
                  <a:schemeClr val="tx1"/>
                </a:solidFill>
                <a:latin typeface="Arial" charset="0"/>
                <a:ea typeface="黑体" charset="-122"/>
              </a:defRPr>
            </a:lvl1pPr>
            <a:lvl2pPr marL="742950" indent="-285750">
              <a:spcBef>
                <a:spcPct val="20000"/>
              </a:spcBef>
              <a:buChar char="–"/>
              <a:defRPr sz="1600">
                <a:solidFill>
                  <a:schemeClr val="tx1"/>
                </a:solidFill>
                <a:latin typeface="Arial" charset="0"/>
                <a:ea typeface="黑体" charset="-122"/>
              </a:defRPr>
            </a:lvl2pPr>
            <a:lvl3pPr marL="1143000" indent="-228600">
              <a:spcBef>
                <a:spcPct val="20000"/>
              </a:spcBef>
              <a:buChar char="•"/>
              <a:defRPr sz="1600">
                <a:solidFill>
                  <a:schemeClr val="tx1"/>
                </a:solidFill>
                <a:latin typeface="Arial" charset="0"/>
                <a:ea typeface="黑体" charset="-122"/>
              </a:defRPr>
            </a:lvl3pPr>
            <a:lvl4pPr marL="1600200" indent="-228600">
              <a:spcBef>
                <a:spcPct val="20000"/>
              </a:spcBef>
              <a:buChar char="–"/>
              <a:defRPr sz="1600">
                <a:solidFill>
                  <a:schemeClr val="tx1"/>
                </a:solidFill>
                <a:latin typeface="Arial" charset="0"/>
                <a:ea typeface="黑体" charset="-122"/>
              </a:defRPr>
            </a:lvl4pPr>
            <a:lvl5pPr marL="2057400" indent="-228600">
              <a:spcBef>
                <a:spcPct val="20000"/>
              </a:spcBef>
              <a:buChar char="»"/>
              <a:defRPr sz="1600">
                <a:solidFill>
                  <a:schemeClr val="tx1"/>
                </a:solidFill>
                <a:latin typeface="Arial" charset="0"/>
                <a:ea typeface="黑体" charset="-122"/>
              </a:defRPr>
            </a:lvl5pPr>
            <a:lvl6pPr marL="2514600" indent="-228600" eaLnBrk="0" fontAlgn="base" hangingPunct="0">
              <a:spcBef>
                <a:spcPct val="20000"/>
              </a:spcBef>
              <a:spcAft>
                <a:spcPct val="0"/>
              </a:spcAft>
              <a:buChar char="»"/>
              <a:defRPr sz="1600">
                <a:solidFill>
                  <a:schemeClr val="tx1"/>
                </a:solidFill>
                <a:latin typeface="Arial" charset="0"/>
                <a:ea typeface="黑体" charset="-122"/>
              </a:defRPr>
            </a:lvl6pPr>
            <a:lvl7pPr marL="2971800" indent="-228600" eaLnBrk="0" fontAlgn="base" hangingPunct="0">
              <a:spcBef>
                <a:spcPct val="20000"/>
              </a:spcBef>
              <a:spcAft>
                <a:spcPct val="0"/>
              </a:spcAft>
              <a:buChar char="»"/>
              <a:defRPr sz="1600">
                <a:solidFill>
                  <a:schemeClr val="tx1"/>
                </a:solidFill>
                <a:latin typeface="Arial" charset="0"/>
                <a:ea typeface="黑体" charset="-122"/>
              </a:defRPr>
            </a:lvl7pPr>
            <a:lvl8pPr marL="3429000" indent="-228600" eaLnBrk="0" fontAlgn="base" hangingPunct="0">
              <a:spcBef>
                <a:spcPct val="20000"/>
              </a:spcBef>
              <a:spcAft>
                <a:spcPct val="0"/>
              </a:spcAft>
              <a:buChar char="»"/>
              <a:defRPr sz="1600">
                <a:solidFill>
                  <a:schemeClr val="tx1"/>
                </a:solidFill>
                <a:latin typeface="Arial" charset="0"/>
                <a:ea typeface="黑体" charset="-122"/>
              </a:defRPr>
            </a:lvl8pPr>
            <a:lvl9pPr marL="3886200" indent="-228600" eaLnBrk="0" fontAlgn="base" hangingPunct="0">
              <a:spcBef>
                <a:spcPct val="20000"/>
              </a:spcBef>
              <a:spcAft>
                <a:spcPct val="0"/>
              </a:spcAft>
              <a:buChar char="»"/>
              <a:defRPr sz="1600">
                <a:solidFill>
                  <a:schemeClr val="tx1"/>
                </a:solidFill>
                <a:latin typeface="Arial" charset="0"/>
                <a:ea typeface="黑体" charset="-122"/>
              </a:defRPr>
            </a:lvl9pPr>
          </a:lstStyle>
          <a:p>
            <a:pPr>
              <a:spcBef>
                <a:spcPct val="0"/>
              </a:spcBef>
              <a:buFontTx/>
              <a:buNone/>
            </a:pPr>
            <a:r>
              <a:rPr lang="zh-CN" altLang="en-US" dirty="0">
                <a:latin typeface="STXingkai" charset="-122"/>
                <a:ea typeface="STXingkai" charset="-122"/>
                <a:cs typeface="STXingkai" charset="-122"/>
              </a:rPr>
              <a:t>库存台账、出入库结果</a:t>
            </a:r>
          </a:p>
        </p:txBody>
      </p:sp>
      <p:cxnSp>
        <p:nvCxnSpPr>
          <p:cNvPr id="135" name="直接箭头连接符 134">
            <a:extLst>
              <a:ext uri="{FF2B5EF4-FFF2-40B4-BE49-F238E27FC236}">
                <a16:creationId xmlns:a16="http://schemas.microsoft.com/office/drawing/2014/main" id="{5F1B83BF-432A-4B8C-9E03-0782708243D2}"/>
              </a:ext>
            </a:extLst>
          </p:cNvPr>
          <p:cNvCxnSpPr>
            <a:cxnSpLocks/>
          </p:cNvCxnSpPr>
          <p:nvPr/>
        </p:nvCxnSpPr>
        <p:spPr bwMode="auto">
          <a:xfrm flipV="1">
            <a:off x="9912350" y="2024063"/>
            <a:ext cx="0" cy="3313112"/>
          </a:xfrm>
          <a:prstGeom prst="straightConnector1">
            <a:avLst/>
          </a:prstGeom>
          <a:ln w="2857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36" name="文本框 54">
            <a:extLst>
              <a:ext uri="{FF2B5EF4-FFF2-40B4-BE49-F238E27FC236}">
                <a16:creationId xmlns:a16="http://schemas.microsoft.com/office/drawing/2014/main" id="{DB2CDE45-6201-40C4-A6EE-184C294D778A}"/>
              </a:ext>
            </a:extLst>
          </p:cNvPr>
          <p:cNvSpPr txBox="1">
            <a:spLocks noChangeArrowheads="1"/>
          </p:cNvSpPr>
          <p:nvPr/>
        </p:nvSpPr>
        <p:spPr bwMode="auto">
          <a:xfrm>
            <a:off x="9898119" y="2377606"/>
            <a:ext cx="203132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zh-CN"/>
            </a:defPPr>
            <a:lvl1pPr>
              <a:spcBef>
                <a:spcPct val="0"/>
              </a:spcBef>
              <a:buFontTx/>
              <a:buNone/>
              <a:defRPr sz="1600">
                <a:latin typeface="STXingkai" charset="-122"/>
                <a:ea typeface="STXingkai" charset="-122"/>
                <a:cs typeface="STXingkai" charset="-122"/>
              </a:defRPr>
            </a:lvl1pPr>
            <a:lvl2pPr marL="742950" indent="-285750">
              <a:spcBef>
                <a:spcPct val="20000"/>
              </a:spcBef>
              <a:buChar char="–"/>
              <a:defRPr sz="1600">
                <a:latin typeface="Arial" charset="0"/>
                <a:ea typeface="黑体" charset="-122"/>
              </a:defRPr>
            </a:lvl2pPr>
            <a:lvl3pPr marL="1143000" indent="-228600">
              <a:spcBef>
                <a:spcPct val="20000"/>
              </a:spcBef>
              <a:buChar char="•"/>
              <a:defRPr sz="1600">
                <a:latin typeface="Arial" charset="0"/>
                <a:ea typeface="黑体" charset="-122"/>
              </a:defRPr>
            </a:lvl3pPr>
            <a:lvl4pPr marL="1600200" indent="-228600">
              <a:spcBef>
                <a:spcPct val="20000"/>
              </a:spcBef>
              <a:buChar char="–"/>
              <a:defRPr sz="1600">
                <a:latin typeface="Arial" charset="0"/>
                <a:ea typeface="黑体" charset="-122"/>
              </a:defRPr>
            </a:lvl4pPr>
            <a:lvl5pPr marL="2057400" indent="-228600">
              <a:spcBef>
                <a:spcPct val="20000"/>
              </a:spcBef>
              <a:buChar char="»"/>
              <a:defRPr sz="1600">
                <a:latin typeface="Arial" charset="0"/>
                <a:ea typeface="黑体" charset="-122"/>
              </a:defRPr>
            </a:lvl5pPr>
            <a:lvl6pPr marL="2514600" indent="-228600" eaLnBrk="0" fontAlgn="base" hangingPunct="0">
              <a:spcBef>
                <a:spcPct val="20000"/>
              </a:spcBef>
              <a:spcAft>
                <a:spcPct val="0"/>
              </a:spcAft>
              <a:buChar char="»"/>
              <a:defRPr sz="1600">
                <a:latin typeface="Arial" charset="0"/>
                <a:ea typeface="黑体" charset="-122"/>
              </a:defRPr>
            </a:lvl6pPr>
            <a:lvl7pPr marL="2971800" indent="-228600" eaLnBrk="0" fontAlgn="base" hangingPunct="0">
              <a:spcBef>
                <a:spcPct val="20000"/>
              </a:spcBef>
              <a:spcAft>
                <a:spcPct val="0"/>
              </a:spcAft>
              <a:buChar char="»"/>
              <a:defRPr sz="1600">
                <a:latin typeface="Arial" charset="0"/>
                <a:ea typeface="黑体" charset="-122"/>
              </a:defRPr>
            </a:lvl7pPr>
            <a:lvl8pPr marL="3429000" indent="-228600" eaLnBrk="0" fontAlgn="base" hangingPunct="0">
              <a:spcBef>
                <a:spcPct val="20000"/>
              </a:spcBef>
              <a:spcAft>
                <a:spcPct val="0"/>
              </a:spcAft>
              <a:buChar char="»"/>
              <a:defRPr sz="1600">
                <a:latin typeface="Arial" charset="0"/>
                <a:ea typeface="黑体" charset="-122"/>
              </a:defRPr>
            </a:lvl8pPr>
            <a:lvl9pPr marL="3886200" indent="-228600" eaLnBrk="0" fontAlgn="base" hangingPunct="0">
              <a:spcBef>
                <a:spcPct val="20000"/>
              </a:spcBef>
              <a:spcAft>
                <a:spcPct val="0"/>
              </a:spcAft>
              <a:buChar char="»"/>
              <a:defRPr sz="1600">
                <a:latin typeface="Arial" charset="0"/>
                <a:ea typeface="黑体" charset="-122"/>
              </a:defRPr>
            </a:lvl9pPr>
          </a:lstStyle>
          <a:p>
            <a:r>
              <a:rPr lang="zh-CN" altLang="en-US" dirty="0"/>
              <a:t>原料、包材派送指令</a:t>
            </a:r>
          </a:p>
        </p:txBody>
      </p:sp>
      <p:cxnSp>
        <p:nvCxnSpPr>
          <p:cNvPr id="137" name="直接箭头连接符 136">
            <a:extLst>
              <a:ext uri="{FF2B5EF4-FFF2-40B4-BE49-F238E27FC236}">
                <a16:creationId xmlns:a16="http://schemas.microsoft.com/office/drawing/2014/main" id="{97800B1F-76CA-48B9-AAC8-7AF0111F6B16}"/>
              </a:ext>
            </a:extLst>
          </p:cNvPr>
          <p:cNvCxnSpPr>
            <a:cxnSpLocks/>
          </p:cNvCxnSpPr>
          <p:nvPr/>
        </p:nvCxnSpPr>
        <p:spPr bwMode="auto">
          <a:xfrm>
            <a:off x="9840913" y="2024063"/>
            <a:ext cx="0" cy="3313112"/>
          </a:xfrm>
          <a:prstGeom prst="straightConnector1">
            <a:avLst/>
          </a:prstGeom>
          <a:ln w="2857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38" name="文本框 60">
            <a:extLst>
              <a:ext uri="{FF2B5EF4-FFF2-40B4-BE49-F238E27FC236}">
                <a16:creationId xmlns:a16="http://schemas.microsoft.com/office/drawing/2014/main" id="{3639E02B-C619-4B50-AE51-D392D326FBC3}"/>
              </a:ext>
            </a:extLst>
          </p:cNvPr>
          <p:cNvSpPr txBox="1">
            <a:spLocks noChangeArrowheads="1"/>
          </p:cNvSpPr>
          <p:nvPr/>
        </p:nvSpPr>
        <p:spPr bwMode="auto">
          <a:xfrm>
            <a:off x="8482347" y="4445407"/>
            <a:ext cx="141577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zh-CN"/>
            </a:defPPr>
            <a:lvl1pPr>
              <a:spcBef>
                <a:spcPct val="0"/>
              </a:spcBef>
              <a:buFontTx/>
              <a:buNone/>
              <a:defRPr sz="1600">
                <a:latin typeface="STXingkai" charset="-122"/>
                <a:ea typeface="STXingkai" charset="-122"/>
                <a:cs typeface="STXingkai" charset="-122"/>
              </a:defRPr>
            </a:lvl1pPr>
            <a:lvl2pPr marL="742950" indent="-285750">
              <a:spcBef>
                <a:spcPct val="20000"/>
              </a:spcBef>
              <a:buChar char="–"/>
              <a:defRPr sz="1600">
                <a:latin typeface="Arial" charset="0"/>
                <a:ea typeface="黑体" charset="-122"/>
              </a:defRPr>
            </a:lvl2pPr>
            <a:lvl3pPr marL="1143000" indent="-228600">
              <a:spcBef>
                <a:spcPct val="20000"/>
              </a:spcBef>
              <a:buChar char="•"/>
              <a:defRPr sz="1600">
                <a:latin typeface="Arial" charset="0"/>
                <a:ea typeface="黑体" charset="-122"/>
              </a:defRPr>
            </a:lvl3pPr>
            <a:lvl4pPr marL="1600200" indent="-228600">
              <a:spcBef>
                <a:spcPct val="20000"/>
              </a:spcBef>
              <a:buChar char="–"/>
              <a:defRPr sz="1600">
                <a:latin typeface="Arial" charset="0"/>
                <a:ea typeface="黑体" charset="-122"/>
              </a:defRPr>
            </a:lvl4pPr>
            <a:lvl5pPr marL="2057400" indent="-228600">
              <a:spcBef>
                <a:spcPct val="20000"/>
              </a:spcBef>
              <a:buChar char="»"/>
              <a:defRPr sz="1600">
                <a:latin typeface="Arial" charset="0"/>
                <a:ea typeface="黑体" charset="-122"/>
              </a:defRPr>
            </a:lvl5pPr>
            <a:lvl6pPr marL="2514600" indent="-228600" eaLnBrk="0" fontAlgn="base" hangingPunct="0">
              <a:spcBef>
                <a:spcPct val="20000"/>
              </a:spcBef>
              <a:spcAft>
                <a:spcPct val="0"/>
              </a:spcAft>
              <a:buChar char="»"/>
              <a:defRPr sz="1600">
                <a:latin typeface="Arial" charset="0"/>
                <a:ea typeface="黑体" charset="-122"/>
              </a:defRPr>
            </a:lvl6pPr>
            <a:lvl7pPr marL="2971800" indent="-228600" eaLnBrk="0" fontAlgn="base" hangingPunct="0">
              <a:spcBef>
                <a:spcPct val="20000"/>
              </a:spcBef>
              <a:spcAft>
                <a:spcPct val="0"/>
              </a:spcAft>
              <a:buChar char="»"/>
              <a:defRPr sz="1600">
                <a:latin typeface="Arial" charset="0"/>
                <a:ea typeface="黑体" charset="-122"/>
              </a:defRPr>
            </a:lvl7pPr>
            <a:lvl8pPr marL="3429000" indent="-228600" eaLnBrk="0" fontAlgn="base" hangingPunct="0">
              <a:spcBef>
                <a:spcPct val="20000"/>
              </a:spcBef>
              <a:spcAft>
                <a:spcPct val="0"/>
              </a:spcAft>
              <a:buChar char="»"/>
              <a:defRPr sz="1600">
                <a:latin typeface="Arial" charset="0"/>
                <a:ea typeface="黑体" charset="-122"/>
              </a:defRPr>
            </a:lvl8pPr>
            <a:lvl9pPr marL="3886200" indent="-228600" eaLnBrk="0" fontAlgn="base" hangingPunct="0">
              <a:spcBef>
                <a:spcPct val="20000"/>
              </a:spcBef>
              <a:spcAft>
                <a:spcPct val="0"/>
              </a:spcAft>
              <a:buChar char="»"/>
              <a:defRPr sz="1600">
                <a:latin typeface="Arial" charset="0"/>
                <a:ea typeface="黑体" charset="-122"/>
              </a:defRPr>
            </a:lvl9pPr>
          </a:lstStyle>
          <a:p>
            <a:r>
              <a:rPr lang="zh-CN" altLang="en-US" dirty="0"/>
              <a:t>指令执行结果</a:t>
            </a:r>
          </a:p>
        </p:txBody>
      </p:sp>
      <p:cxnSp>
        <p:nvCxnSpPr>
          <p:cNvPr id="139" name="直接箭头连接符 138">
            <a:extLst>
              <a:ext uri="{FF2B5EF4-FFF2-40B4-BE49-F238E27FC236}">
                <a16:creationId xmlns:a16="http://schemas.microsoft.com/office/drawing/2014/main" id="{49A44336-BBCE-453B-B6D8-4DB618FB2A1B}"/>
              </a:ext>
            </a:extLst>
          </p:cNvPr>
          <p:cNvCxnSpPr>
            <a:cxnSpLocks/>
          </p:cNvCxnSpPr>
          <p:nvPr/>
        </p:nvCxnSpPr>
        <p:spPr bwMode="auto">
          <a:xfrm>
            <a:off x="2472373" y="4020503"/>
            <a:ext cx="0" cy="1331912"/>
          </a:xfrm>
          <a:prstGeom prst="straightConnector1">
            <a:avLst/>
          </a:prstGeom>
          <a:ln w="2857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40" name="文本框 65">
            <a:extLst>
              <a:ext uri="{FF2B5EF4-FFF2-40B4-BE49-F238E27FC236}">
                <a16:creationId xmlns:a16="http://schemas.microsoft.com/office/drawing/2014/main" id="{59AF8C49-2790-4B4D-B204-C1408828E932}"/>
              </a:ext>
            </a:extLst>
          </p:cNvPr>
          <p:cNvSpPr txBox="1">
            <a:spLocks noChangeArrowheads="1"/>
          </p:cNvSpPr>
          <p:nvPr/>
        </p:nvSpPr>
        <p:spPr bwMode="auto">
          <a:xfrm>
            <a:off x="-24503" y="4231007"/>
            <a:ext cx="203132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zh-CN"/>
            </a:defPPr>
            <a:lvl1pPr>
              <a:spcBef>
                <a:spcPct val="0"/>
              </a:spcBef>
              <a:buFontTx/>
              <a:buNone/>
              <a:defRPr sz="1600">
                <a:latin typeface="STXingkai" charset="-122"/>
                <a:ea typeface="STXingkai" charset="-122"/>
                <a:cs typeface="STXingkai" charset="-122"/>
              </a:defRPr>
            </a:lvl1pPr>
            <a:lvl2pPr marL="742950" indent="-285750">
              <a:spcBef>
                <a:spcPct val="20000"/>
              </a:spcBef>
              <a:buChar char="–"/>
              <a:defRPr sz="1600">
                <a:latin typeface="Arial" charset="0"/>
                <a:ea typeface="黑体" charset="-122"/>
              </a:defRPr>
            </a:lvl2pPr>
            <a:lvl3pPr marL="1143000" indent="-228600">
              <a:spcBef>
                <a:spcPct val="20000"/>
              </a:spcBef>
              <a:buChar char="•"/>
              <a:defRPr sz="1600">
                <a:latin typeface="Arial" charset="0"/>
                <a:ea typeface="黑体" charset="-122"/>
              </a:defRPr>
            </a:lvl3pPr>
            <a:lvl4pPr marL="1600200" indent="-228600">
              <a:spcBef>
                <a:spcPct val="20000"/>
              </a:spcBef>
              <a:buChar char="–"/>
              <a:defRPr sz="1600">
                <a:latin typeface="Arial" charset="0"/>
                <a:ea typeface="黑体" charset="-122"/>
              </a:defRPr>
            </a:lvl4pPr>
            <a:lvl5pPr marL="2057400" indent="-228600">
              <a:spcBef>
                <a:spcPct val="20000"/>
              </a:spcBef>
              <a:buChar char="»"/>
              <a:defRPr sz="1600">
                <a:latin typeface="Arial" charset="0"/>
                <a:ea typeface="黑体" charset="-122"/>
              </a:defRPr>
            </a:lvl5pPr>
            <a:lvl6pPr marL="2514600" indent="-228600" eaLnBrk="0" fontAlgn="base" hangingPunct="0">
              <a:spcBef>
                <a:spcPct val="20000"/>
              </a:spcBef>
              <a:spcAft>
                <a:spcPct val="0"/>
              </a:spcAft>
              <a:buChar char="»"/>
              <a:defRPr sz="1600">
                <a:latin typeface="Arial" charset="0"/>
                <a:ea typeface="黑体" charset="-122"/>
              </a:defRPr>
            </a:lvl6pPr>
            <a:lvl7pPr marL="2971800" indent="-228600" eaLnBrk="0" fontAlgn="base" hangingPunct="0">
              <a:spcBef>
                <a:spcPct val="20000"/>
              </a:spcBef>
              <a:spcAft>
                <a:spcPct val="0"/>
              </a:spcAft>
              <a:buChar char="»"/>
              <a:defRPr sz="1600">
                <a:latin typeface="Arial" charset="0"/>
                <a:ea typeface="黑体" charset="-122"/>
              </a:defRPr>
            </a:lvl7pPr>
            <a:lvl8pPr marL="3429000" indent="-228600" eaLnBrk="0" fontAlgn="base" hangingPunct="0">
              <a:spcBef>
                <a:spcPct val="20000"/>
              </a:spcBef>
              <a:spcAft>
                <a:spcPct val="0"/>
              </a:spcAft>
              <a:buChar char="»"/>
              <a:defRPr sz="1600">
                <a:latin typeface="Arial" charset="0"/>
                <a:ea typeface="黑体" charset="-122"/>
              </a:defRPr>
            </a:lvl8pPr>
            <a:lvl9pPr marL="3886200" indent="-228600" eaLnBrk="0" fontAlgn="base" hangingPunct="0">
              <a:spcBef>
                <a:spcPct val="20000"/>
              </a:spcBef>
              <a:spcAft>
                <a:spcPct val="0"/>
              </a:spcAft>
              <a:buChar char="»"/>
              <a:defRPr sz="1600">
                <a:latin typeface="Arial" charset="0"/>
                <a:ea typeface="黑体" charset="-122"/>
              </a:defRPr>
            </a:lvl9pPr>
          </a:lstStyle>
          <a:p>
            <a:r>
              <a:rPr lang="zh-CN" altLang="en-US" dirty="0"/>
              <a:t>控制设备、工艺配方</a:t>
            </a:r>
          </a:p>
        </p:txBody>
      </p:sp>
      <p:cxnSp>
        <p:nvCxnSpPr>
          <p:cNvPr id="141" name="直接箭头连接符 140">
            <a:extLst>
              <a:ext uri="{FF2B5EF4-FFF2-40B4-BE49-F238E27FC236}">
                <a16:creationId xmlns:a16="http://schemas.microsoft.com/office/drawing/2014/main" id="{D5CEA0C1-FD65-4804-A40D-41047134CC48}"/>
              </a:ext>
            </a:extLst>
          </p:cNvPr>
          <p:cNvCxnSpPr>
            <a:cxnSpLocks/>
          </p:cNvCxnSpPr>
          <p:nvPr/>
        </p:nvCxnSpPr>
        <p:spPr bwMode="auto">
          <a:xfrm flipV="1">
            <a:off x="2543810" y="4020503"/>
            <a:ext cx="0" cy="1331912"/>
          </a:xfrm>
          <a:prstGeom prst="straightConnector1">
            <a:avLst/>
          </a:prstGeom>
          <a:ln w="2857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42" name="文本框 69">
            <a:extLst>
              <a:ext uri="{FF2B5EF4-FFF2-40B4-BE49-F238E27FC236}">
                <a16:creationId xmlns:a16="http://schemas.microsoft.com/office/drawing/2014/main" id="{C587CB62-3D73-40CD-8EDE-DEE9107E0A6F}"/>
              </a:ext>
            </a:extLst>
          </p:cNvPr>
          <p:cNvSpPr txBox="1">
            <a:spLocks noChangeArrowheads="1"/>
          </p:cNvSpPr>
          <p:nvPr/>
        </p:nvSpPr>
        <p:spPr bwMode="auto">
          <a:xfrm>
            <a:off x="2676865" y="5012215"/>
            <a:ext cx="305724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zh-CN"/>
            </a:defPPr>
            <a:lvl1pPr>
              <a:spcBef>
                <a:spcPct val="0"/>
              </a:spcBef>
              <a:buFontTx/>
              <a:buNone/>
              <a:defRPr sz="1600">
                <a:latin typeface="STXingkai" charset="-122"/>
                <a:ea typeface="STXingkai" charset="-122"/>
                <a:cs typeface="STXingkai" charset="-122"/>
              </a:defRPr>
            </a:lvl1pPr>
            <a:lvl2pPr marL="742950" indent="-285750">
              <a:spcBef>
                <a:spcPct val="20000"/>
              </a:spcBef>
              <a:buChar char="–"/>
              <a:defRPr sz="1600">
                <a:latin typeface="Arial" charset="0"/>
                <a:ea typeface="黑体" charset="-122"/>
              </a:defRPr>
            </a:lvl2pPr>
            <a:lvl3pPr marL="1143000" indent="-228600">
              <a:spcBef>
                <a:spcPct val="20000"/>
              </a:spcBef>
              <a:buChar char="•"/>
              <a:defRPr sz="1600">
                <a:latin typeface="Arial" charset="0"/>
                <a:ea typeface="黑体" charset="-122"/>
              </a:defRPr>
            </a:lvl3pPr>
            <a:lvl4pPr marL="1600200" indent="-228600">
              <a:spcBef>
                <a:spcPct val="20000"/>
              </a:spcBef>
              <a:buChar char="–"/>
              <a:defRPr sz="1600">
                <a:latin typeface="Arial" charset="0"/>
                <a:ea typeface="黑体" charset="-122"/>
              </a:defRPr>
            </a:lvl4pPr>
            <a:lvl5pPr marL="2057400" indent="-228600">
              <a:spcBef>
                <a:spcPct val="20000"/>
              </a:spcBef>
              <a:buChar char="»"/>
              <a:defRPr sz="1600">
                <a:latin typeface="Arial" charset="0"/>
                <a:ea typeface="黑体" charset="-122"/>
              </a:defRPr>
            </a:lvl5pPr>
            <a:lvl6pPr marL="2514600" indent="-228600" eaLnBrk="0" fontAlgn="base" hangingPunct="0">
              <a:spcBef>
                <a:spcPct val="20000"/>
              </a:spcBef>
              <a:spcAft>
                <a:spcPct val="0"/>
              </a:spcAft>
              <a:buChar char="»"/>
              <a:defRPr sz="1600">
                <a:latin typeface="Arial" charset="0"/>
                <a:ea typeface="黑体" charset="-122"/>
              </a:defRPr>
            </a:lvl6pPr>
            <a:lvl7pPr marL="2971800" indent="-228600" eaLnBrk="0" fontAlgn="base" hangingPunct="0">
              <a:spcBef>
                <a:spcPct val="20000"/>
              </a:spcBef>
              <a:spcAft>
                <a:spcPct val="0"/>
              </a:spcAft>
              <a:buChar char="»"/>
              <a:defRPr sz="1600">
                <a:latin typeface="Arial" charset="0"/>
                <a:ea typeface="黑体" charset="-122"/>
              </a:defRPr>
            </a:lvl7pPr>
            <a:lvl8pPr marL="3429000" indent="-228600" eaLnBrk="0" fontAlgn="base" hangingPunct="0">
              <a:spcBef>
                <a:spcPct val="20000"/>
              </a:spcBef>
              <a:spcAft>
                <a:spcPct val="0"/>
              </a:spcAft>
              <a:buChar char="»"/>
              <a:defRPr sz="1600">
                <a:latin typeface="Arial" charset="0"/>
                <a:ea typeface="黑体" charset="-122"/>
              </a:defRPr>
            </a:lvl8pPr>
            <a:lvl9pPr marL="3886200" indent="-228600" eaLnBrk="0" fontAlgn="base" hangingPunct="0">
              <a:spcBef>
                <a:spcPct val="20000"/>
              </a:spcBef>
              <a:spcAft>
                <a:spcPct val="0"/>
              </a:spcAft>
              <a:buChar char="»"/>
              <a:defRPr sz="1600">
                <a:latin typeface="Arial" charset="0"/>
                <a:ea typeface="黑体" charset="-122"/>
              </a:defRPr>
            </a:lvl9pPr>
          </a:lstStyle>
          <a:p>
            <a:r>
              <a:rPr lang="zh-CN" altLang="en-US" dirty="0"/>
              <a:t>设备参数、工艺参数、环境参数</a:t>
            </a:r>
          </a:p>
        </p:txBody>
      </p:sp>
      <p:cxnSp>
        <p:nvCxnSpPr>
          <p:cNvPr id="143" name="直接箭头连接符 142">
            <a:extLst>
              <a:ext uri="{FF2B5EF4-FFF2-40B4-BE49-F238E27FC236}">
                <a16:creationId xmlns:a16="http://schemas.microsoft.com/office/drawing/2014/main" id="{B5AFCCE4-3CA5-47B9-98C7-B39AE279AB58}"/>
              </a:ext>
            </a:extLst>
          </p:cNvPr>
          <p:cNvCxnSpPr>
            <a:cxnSpLocks/>
          </p:cNvCxnSpPr>
          <p:nvPr/>
        </p:nvCxnSpPr>
        <p:spPr bwMode="auto">
          <a:xfrm flipH="1">
            <a:off x="3344863" y="3644900"/>
            <a:ext cx="2030412" cy="0"/>
          </a:xfrm>
          <a:prstGeom prst="straightConnector1">
            <a:avLst/>
          </a:prstGeom>
          <a:ln w="2857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44" name="直接箭头连接符 143">
            <a:extLst>
              <a:ext uri="{FF2B5EF4-FFF2-40B4-BE49-F238E27FC236}">
                <a16:creationId xmlns:a16="http://schemas.microsoft.com/office/drawing/2014/main" id="{2BE3EB2A-6F84-410F-9E85-BE3C341E0051}"/>
              </a:ext>
            </a:extLst>
          </p:cNvPr>
          <p:cNvCxnSpPr>
            <a:cxnSpLocks/>
          </p:cNvCxnSpPr>
          <p:nvPr/>
        </p:nvCxnSpPr>
        <p:spPr bwMode="auto">
          <a:xfrm>
            <a:off x="3344863" y="3716338"/>
            <a:ext cx="2030412" cy="0"/>
          </a:xfrm>
          <a:prstGeom prst="straightConnector1">
            <a:avLst/>
          </a:prstGeom>
          <a:ln w="2857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45" name="文本框 76">
            <a:extLst>
              <a:ext uri="{FF2B5EF4-FFF2-40B4-BE49-F238E27FC236}">
                <a16:creationId xmlns:a16="http://schemas.microsoft.com/office/drawing/2014/main" id="{7873CA6C-AB8F-414D-A5E5-A16145F5AE67}"/>
              </a:ext>
            </a:extLst>
          </p:cNvPr>
          <p:cNvSpPr txBox="1">
            <a:spLocks noChangeArrowheads="1"/>
          </p:cNvSpPr>
          <p:nvPr/>
        </p:nvSpPr>
        <p:spPr bwMode="auto">
          <a:xfrm>
            <a:off x="3449639" y="3738564"/>
            <a:ext cx="180022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1600">
                <a:solidFill>
                  <a:schemeClr val="tx1"/>
                </a:solidFill>
                <a:latin typeface="Arial" charset="0"/>
                <a:ea typeface="黑体" charset="-122"/>
              </a:defRPr>
            </a:lvl1pPr>
            <a:lvl2pPr marL="742950" indent="-285750">
              <a:spcBef>
                <a:spcPct val="20000"/>
              </a:spcBef>
              <a:buChar char="–"/>
              <a:defRPr sz="1600">
                <a:solidFill>
                  <a:schemeClr val="tx1"/>
                </a:solidFill>
                <a:latin typeface="Arial" charset="0"/>
                <a:ea typeface="黑体" charset="-122"/>
              </a:defRPr>
            </a:lvl2pPr>
            <a:lvl3pPr marL="1143000" indent="-228600">
              <a:spcBef>
                <a:spcPct val="20000"/>
              </a:spcBef>
              <a:buChar char="•"/>
              <a:defRPr sz="1600">
                <a:solidFill>
                  <a:schemeClr val="tx1"/>
                </a:solidFill>
                <a:latin typeface="Arial" charset="0"/>
                <a:ea typeface="黑体" charset="-122"/>
              </a:defRPr>
            </a:lvl3pPr>
            <a:lvl4pPr marL="1600200" indent="-228600">
              <a:spcBef>
                <a:spcPct val="20000"/>
              </a:spcBef>
              <a:buChar char="–"/>
              <a:defRPr sz="1600">
                <a:solidFill>
                  <a:schemeClr val="tx1"/>
                </a:solidFill>
                <a:latin typeface="Arial" charset="0"/>
                <a:ea typeface="黑体" charset="-122"/>
              </a:defRPr>
            </a:lvl4pPr>
            <a:lvl5pPr marL="2057400" indent="-228600">
              <a:spcBef>
                <a:spcPct val="20000"/>
              </a:spcBef>
              <a:buChar char="»"/>
              <a:defRPr sz="1600">
                <a:solidFill>
                  <a:schemeClr val="tx1"/>
                </a:solidFill>
                <a:latin typeface="Arial" charset="0"/>
                <a:ea typeface="黑体" charset="-122"/>
              </a:defRPr>
            </a:lvl5pPr>
            <a:lvl6pPr marL="2514600" indent="-228600" eaLnBrk="0" fontAlgn="base" hangingPunct="0">
              <a:spcBef>
                <a:spcPct val="20000"/>
              </a:spcBef>
              <a:spcAft>
                <a:spcPct val="0"/>
              </a:spcAft>
              <a:buChar char="»"/>
              <a:defRPr sz="1600">
                <a:solidFill>
                  <a:schemeClr val="tx1"/>
                </a:solidFill>
                <a:latin typeface="Arial" charset="0"/>
                <a:ea typeface="黑体" charset="-122"/>
              </a:defRPr>
            </a:lvl6pPr>
            <a:lvl7pPr marL="2971800" indent="-228600" eaLnBrk="0" fontAlgn="base" hangingPunct="0">
              <a:spcBef>
                <a:spcPct val="20000"/>
              </a:spcBef>
              <a:spcAft>
                <a:spcPct val="0"/>
              </a:spcAft>
              <a:buChar char="»"/>
              <a:defRPr sz="1600">
                <a:solidFill>
                  <a:schemeClr val="tx1"/>
                </a:solidFill>
                <a:latin typeface="Arial" charset="0"/>
                <a:ea typeface="黑体" charset="-122"/>
              </a:defRPr>
            </a:lvl7pPr>
            <a:lvl8pPr marL="3429000" indent="-228600" eaLnBrk="0" fontAlgn="base" hangingPunct="0">
              <a:spcBef>
                <a:spcPct val="20000"/>
              </a:spcBef>
              <a:spcAft>
                <a:spcPct val="0"/>
              </a:spcAft>
              <a:buChar char="»"/>
              <a:defRPr sz="1600">
                <a:solidFill>
                  <a:schemeClr val="tx1"/>
                </a:solidFill>
                <a:latin typeface="Arial" charset="0"/>
                <a:ea typeface="黑体" charset="-122"/>
              </a:defRPr>
            </a:lvl8pPr>
            <a:lvl9pPr marL="3886200" indent="-228600" eaLnBrk="0" fontAlgn="base" hangingPunct="0">
              <a:spcBef>
                <a:spcPct val="20000"/>
              </a:spcBef>
              <a:spcAft>
                <a:spcPct val="0"/>
              </a:spcAft>
              <a:buChar char="»"/>
              <a:defRPr sz="1600">
                <a:solidFill>
                  <a:schemeClr val="tx1"/>
                </a:solidFill>
                <a:latin typeface="Arial" charset="0"/>
                <a:ea typeface="黑体" charset="-122"/>
              </a:defRPr>
            </a:lvl9pPr>
          </a:lstStyle>
          <a:p>
            <a:pPr>
              <a:spcBef>
                <a:spcPct val="0"/>
              </a:spcBef>
              <a:buFontTx/>
              <a:buNone/>
            </a:pPr>
            <a:r>
              <a:rPr lang="zh-CN" altLang="en-US" dirty="0">
                <a:latin typeface="STXingkai" charset="-122"/>
                <a:ea typeface="STXingkai" charset="-122"/>
                <a:cs typeface="STXingkai" charset="-122"/>
              </a:rPr>
              <a:t>实际工艺参数、产出计数、设备状态</a:t>
            </a:r>
          </a:p>
        </p:txBody>
      </p:sp>
      <p:sp>
        <p:nvSpPr>
          <p:cNvPr id="146" name="文本框 78">
            <a:extLst>
              <a:ext uri="{FF2B5EF4-FFF2-40B4-BE49-F238E27FC236}">
                <a16:creationId xmlns:a16="http://schemas.microsoft.com/office/drawing/2014/main" id="{00D18DE0-F114-4895-921C-A75EFDDEDBD5}"/>
              </a:ext>
            </a:extLst>
          </p:cNvPr>
          <p:cNvSpPr txBox="1">
            <a:spLocks noChangeArrowheads="1"/>
          </p:cNvSpPr>
          <p:nvPr/>
        </p:nvSpPr>
        <p:spPr bwMode="auto">
          <a:xfrm>
            <a:off x="3889833" y="3313569"/>
            <a:ext cx="10054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1600">
                <a:solidFill>
                  <a:schemeClr val="tx1"/>
                </a:solidFill>
                <a:latin typeface="Arial" charset="0"/>
                <a:ea typeface="黑体" charset="-122"/>
              </a:defRPr>
            </a:lvl1pPr>
            <a:lvl2pPr marL="742950" indent="-285750">
              <a:spcBef>
                <a:spcPct val="20000"/>
              </a:spcBef>
              <a:buChar char="–"/>
              <a:defRPr sz="1600">
                <a:solidFill>
                  <a:schemeClr val="tx1"/>
                </a:solidFill>
                <a:latin typeface="Arial" charset="0"/>
                <a:ea typeface="黑体" charset="-122"/>
              </a:defRPr>
            </a:lvl2pPr>
            <a:lvl3pPr marL="1143000" indent="-228600">
              <a:spcBef>
                <a:spcPct val="20000"/>
              </a:spcBef>
              <a:buChar char="•"/>
              <a:defRPr sz="1600">
                <a:solidFill>
                  <a:schemeClr val="tx1"/>
                </a:solidFill>
                <a:latin typeface="Arial" charset="0"/>
                <a:ea typeface="黑体" charset="-122"/>
              </a:defRPr>
            </a:lvl3pPr>
            <a:lvl4pPr marL="1600200" indent="-228600">
              <a:spcBef>
                <a:spcPct val="20000"/>
              </a:spcBef>
              <a:buChar char="–"/>
              <a:defRPr sz="1600">
                <a:solidFill>
                  <a:schemeClr val="tx1"/>
                </a:solidFill>
                <a:latin typeface="Arial" charset="0"/>
                <a:ea typeface="黑体" charset="-122"/>
              </a:defRPr>
            </a:lvl4pPr>
            <a:lvl5pPr marL="2057400" indent="-228600">
              <a:spcBef>
                <a:spcPct val="20000"/>
              </a:spcBef>
              <a:buChar char="»"/>
              <a:defRPr sz="1600">
                <a:solidFill>
                  <a:schemeClr val="tx1"/>
                </a:solidFill>
                <a:latin typeface="Arial" charset="0"/>
                <a:ea typeface="黑体" charset="-122"/>
              </a:defRPr>
            </a:lvl5pPr>
            <a:lvl6pPr marL="2514600" indent="-228600" eaLnBrk="0" fontAlgn="base" hangingPunct="0">
              <a:spcBef>
                <a:spcPct val="20000"/>
              </a:spcBef>
              <a:spcAft>
                <a:spcPct val="0"/>
              </a:spcAft>
              <a:buChar char="»"/>
              <a:defRPr sz="1600">
                <a:solidFill>
                  <a:schemeClr val="tx1"/>
                </a:solidFill>
                <a:latin typeface="Arial" charset="0"/>
                <a:ea typeface="黑体" charset="-122"/>
              </a:defRPr>
            </a:lvl6pPr>
            <a:lvl7pPr marL="2971800" indent="-228600" eaLnBrk="0" fontAlgn="base" hangingPunct="0">
              <a:spcBef>
                <a:spcPct val="20000"/>
              </a:spcBef>
              <a:spcAft>
                <a:spcPct val="0"/>
              </a:spcAft>
              <a:buChar char="»"/>
              <a:defRPr sz="1600">
                <a:solidFill>
                  <a:schemeClr val="tx1"/>
                </a:solidFill>
                <a:latin typeface="Arial" charset="0"/>
                <a:ea typeface="黑体" charset="-122"/>
              </a:defRPr>
            </a:lvl7pPr>
            <a:lvl8pPr marL="3429000" indent="-228600" eaLnBrk="0" fontAlgn="base" hangingPunct="0">
              <a:spcBef>
                <a:spcPct val="20000"/>
              </a:spcBef>
              <a:spcAft>
                <a:spcPct val="0"/>
              </a:spcAft>
              <a:buChar char="»"/>
              <a:defRPr sz="1600">
                <a:solidFill>
                  <a:schemeClr val="tx1"/>
                </a:solidFill>
                <a:latin typeface="Arial" charset="0"/>
                <a:ea typeface="黑体" charset="-122"/>
              </a:defRPr>
            </a:lvl8pPr>
            <a:lvl9pPr marL="3886200" indent="-228600" eaLnBrk="0" fontAlgn="base" hangingPunct="0">
              <a:spcBef>
                <a:spcPct val="20000"/>
              </a:spcBef>
              <a:spcAft>
                <a:spcPct val="0"/>
              </a:spcAft>
              <a:buChar char="»"/>
              <a:defRPr sz="1600">
                <a:solidFill>
                  <a:schemeClr val="tx1"/>
                </a:solidFill>
                <a:latin typeface="Arial" charset="0"/>
                <a:ea typeface="黑体" charset="-122"/>
              </a:defRPr>
            </a:lvl9pPr>
          </a:lstStyle>
          <a:p>
            <a:pPr>
              <a:spcBef>
                <a:spcPct val="0"/>
              </a:spcBef>
              <a:buFontTx/>
              <a:buNone/>
            </a:pPr>
            <a:r>
              <a:rPr lang="zh-CN" altLang="en-US">
                <a:latin typeface="STXingkai" charset="-122"/>
                <a:ea typeface="STXingkai" charset="-122"/>
                <a:cs typeface="STXingkai" charset="-122"/>
              </a:rPr>
              <a:t>生产指令</a:t>
            </a:r>
          </a:p>
        </p:txBody>
      </p:sp>
      <p:cxnSp>
        <p:nvCxnSpPr>
          <p:cNvPr id="147" name="连接符: 肘形 146">
            <a:extLst>
              <a:ext uri="{FF2B5EF4-FFF2-40B4-BE49-F238E27FC236}">
                <a16:creationId xmlns:a16="http://schemas.microsoft.com/office/drawing/2014/main" id="{90BC3F16-BABB-4556-81C4-6B0AD2A08EB7}"/>
              </a:ext>
            </a:extLst>
          </p:cNvPr>
          <p:cNvCxnSpPr>
            <a:cxnSpLocks/>
          </p:cNvCxnSpPr>
          <p:nvPr/>
        </p:nvCxnSpPr>
        <p:spPr bwMode="auto">
          <a:xfrm flipV="1">
            <a:off x="7248526" y="1736726"/>
            <a:ext cx="2016125" cy="1979613"/>
          </a:xfrm>
          <a:prstGeom prst="bentConnector3">
            <a:avLst/>
          </a:prstGeom>
          <a:ln w="2857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48" name="连接符: 肘形 147">
            <a:extLst>
              <a:ext uri="{FF2B5EF4-FFF2-40B4-BE49-F238E27FC236}">
                <a16:creationId xmlns:a16="http://schemas.microsoft.com/office/drawing/2014/main" id="{2BF42C3A-4261-4D3B-84EE-8524F75D9A88}"/>
              </a:ext>
            </a:extLst>
          </p:cNvPr>
          <p:cNvCxnSpPr>
            <a:cxnSpLocks/>
          </p:cNvCxnSpPr>
          <p:nvPr/>
        </p:nvCxnSpPr>
        <p:spPr bwMode="auto">
          <a:xfrm rot="10800000" flipV="1">
            <a:off x="7104064" y="1628776"/>
            <a:ext cx="2016125" cy="1979613"/>
          </a:xfrm>
          <a:prstGeom prst="bentConnector3">
            <a:avLst/>
          </a:prstGeom>
          <a:ln w="2857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149" name="连接符: 肘形 148">
            <a:extLst>
              <a:ext uri="{FF2B5EF4-FFF2-40B4-BE49-F238E27FC236}">
                <a16:creationId xmlns:a16="http://schemas.microsoft.com/office/drawing/2014/main" id="{17D617A7-4430-4FEF-A4E4-64FAB552CEF3}"/>
              </a:ext>
            </a:extLst>
          </p:cNvPr>
          <p:cNvCxnSpPr>
            <a:cxnSpLocks/>
          </p:cNvCxnSpPr>
          <p:nvPr/>
        </p:nvCxnSpPr>
        <p:spPr bwMode="auto">
          <a:xfrm rot="10800000">
            <a:off x="6348414" y="4106863"/>
            <a:ext cx="2916237" cy="1554162"/>
          </a:xfrm>
          <a:prstGeom prst="bentConnector2">
            <a:avLst/>
          </a:prstGeom>
          <a:ln w="2857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50" name="文本框 86">
            <a:extLst>
              <a:ext uri="{FF2B5EF4-FFF2-40B4-BE49-F238E27FC236}">
                <a16:creationId xmlns:a16="http://schemas.microsoft.com/office/drawing/2014/main" id="{5803C073-9A31-4AF3-87E1-B1E77EF6D3B0}"/>
              </a:ext>
            </a:extLst>
          </p:cNvPr>
          <p:cNvSpPr txBox="1">
            <a:spLocks noChangeArrowheads="1"/>
          </p:cNvSpPr>
          <p:nvPr/>
        </p:nvSpPr>
        <p:spPr bwMode="auto">
          <a:xfrm>
            <a:off x="8261609" y="3065086"/>
            <a:ext cx="10054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zh-CN"/>
            </a:defPPr>
            <a:lvl1pPr>
              <a:spcBef>
                <a:spcPct val="0"/>
              </a:spcBef>
              <a:buFontTx/>
              <a:buNone/>
              <a:defRPr sz="1600">
                <a:latin typeface="STXingkai" charset="-122"/>
                <a:ea typeface="STXingkai" charset="-122"/>
                <a:cs typeface="STXingkai" charset="-122"/>
              </a:defRPr>
            </a:lvl1pPr>
            <a:lvl2pPr marL="742950" indent="-285750">
              <a:spcBef>
                <a:spcPct val="20000"/>
              </a:spcBef>
              <a:buChar char="–"/>
              <a:defRPr sz="1600">
                <a:latin typeface="Arial" charset="0"/>
                <a:ea typeface="黑体" charset="-122"/>
              </a:defRPr>
            </a:lvl2pPr>
            <a:lvl3pPr marL="1143000" indent="-228600">
              <a:spcBef>
                <a:spcPct val="20000"/>
              </a:spcBef>
              <a:buChar char="•"/>
              <a:defRPr sz="1600">
                <a:latin typeface="Arial" charset="0"/>
                <a:ea typeface="黑体" charset="-122"/>
              </a:defRPr>
            </a:lvl3pPr>
            <a:lvl4pPr marL="1600200" indent="-228600">
              <a:spcBef>
                <a:spcPct val="20000"/>
              </a:spcBef>
              <a:buChar char="–"/>
              <a:defRPr sz="1600">
                <a:latin typeface="Arial" charset="0"/>
                <a:ea typeface="黑体" charset="-122"/>
              </a:defRPr>
            </a:lvl4pPr>
            <a:lvl5pPr marL="2057400" indent="-228600">
              <a:spcBef>
                <a:spcPct val="20000"/>
              </a:spcBef>
              <a:buChar char="»"/>
              <a:defRPr sz="1600">
                <a:latin typeface="Arial" charset="0"/>
                <a:ea typeface="黑体" charset="-122"/>
              </a:defRPr>
            </a:lvl5pPr>
            <a:lvl6pPr marL="2514600" indent="-228600" eaLnBrk="0" fontAlgn="base" hangingPunct="0">
              <a:spcBef>
                <a:spcPct val="20000"/>
              </a:spcBef>
              <a:spcAft>
                <a:spcPct val="0"/>
              </a:spcAft>
              <a:buChar char="»"/>
              <a:defRPr sz="1600">
                <a:latin typeface="Arial" charset="0"/>
                <a:ea typeface="黑体" charset="-122"/>
              </a:defRPr>
            </a:lvl6pPr>
            <a:lvl7pPr marL="2971800" indent="-228600" eaLnBrk="0" fontAlgn="base" hangingPunct="0">
              <a:spcBef>
                <a:spcPct val="20000"/>
              </a:spcBef>
              <a:spcAft>
                <a:spcPct val="0"/>
              </a:spcAft>
              <a:buChar char="»"/>
              <a:defRPr sz="1600">
                <a:latin typeface="Arial" charset="0"/>
                <a:ea typeface="黑体" charset="-122"/>
              </a:defRPr>
            </a:lvl7pPr>
            <a:lvl8pPr marL="3429000" indent="-228600" eaLnBrk="0" fontAlgn="base" hangingPunct="0">
              <a:spcBef>
                <a:spcPct val="20000"/>
              </a:spcBef>
              <a:spcAft>
                <a:spcPct val="0"/>
              </a:spcAft>
              <a:buChar char="»"/>
              <a:defRPr sz="1600">
                <a:latin typeface="Arial" charset="0"/>
                <a:ea typeface="黑体" charset="-122"/>
              </a:defRPr>
            </a:lvl8pPr>
            <a:lvl9pPr marL="3886200" indent="-228600" eaLnBrk="0" fontAlgn="base" hangingPunct="0">
              <a:spcBef>
                <a:spcPct val="20000"/>
              </a:spcBef>
              <a:spcAft>
                <a:spcPct val="0"/>
              </a:spcAft>
              <a:buChar char="»"/>
              <a:defRPr sz="1600">
                <a:latin typeface="Arial" charset="0"/>
                <a:ea typeface="黑体" charset="-122"/>
              </a:defRPr>
            </a:lvl9pPr>
          </a:lstStyle>
          <a:p>
            <a:r>
              <a:rPr lang="zh-CN" altLang="en-US" dirty="0"/>
              <a:t>派送指令</a:t>
            </a:r>
          </a:p>
        </p:txBody>
      </p:sp>
      <p:sp>
        <p:nvSpPr>
          <p:cNvPr id="151" name="文本框 87">
            <a:extLst>
              <a:ext uri="{FF2B5EF4-FFF2-40B4-BE49-F238E27FC236}">
                <a16:creationId xmlns:a16="http://schemas.microsoft.com/office/drawing/2014/main" id="{A43060FC-FF4A-4AF8-B57A-1233A93850A6}"/>
              </a:ext>
            </a:extLst>
          </p:cNvPr>
          <p:cNvSpPr txBox="1">
            <a:spLocks noChangeArrowheads="1"/>
          </p:cNvSpPr>
          <p:nvPr/>
        </p:nvSpPr>
        <p:spPr bwMode="auto">
          <a:xfrm>
            <a:off x="6790324" y="2088734"/>
            <a:ext cx="141577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zh-CN"/>
            </a:defPPr>
            <a:lvl1pPr>
              <a:spcBef>
                <a:spcPct val="0"/>
              </a:spcBef>
              <a:buFontTx/>
              <a:buNone/>
              <a:defRPr sz="1600">
                <a:latin typeface="STXingkai" charset="-122"/>
                <a:ea typeface="STXingkai" charset="-122"/>
                <a:cs typeface="STXingkai" charset="-122"/>
              </a:defRPr>
            </a:lvl1pPr>
            <a:lvl2pPr marL="742950" indent="-285750">
              <a:spcBef>
                <a:spcPct val="20000"/>
              </a:spcBef>
              <a:buChar char="–"/>
              <a:defRPr sz="1600">
                <a:latin typeface="Arial" charset="0"/>
                <a:ea typeface="黑体" charset="-122"/>
              </a:defRPr>
            </a:lvl2pPr>
            <a:lvl3pPr marL="1143000" indent="-228600">
              <a:spcBef>
                <a:spcPct val="20000"/>
              </a:spcBef>
              <a:buChar char="•"/>
              <a:defRPr sz="1600">
                <a:latin typeface="Arial" charset="0"/>
                <a:ea typeface="黑体" charset="-122"/>
              </a:defRPr>
            </a:lvl3pPr>
            <a:lvl4pPr marL="1600200" indent="-228600">
              <a:spcBef>
                <a:spcPct val="20000"/>
              </a:spcBef>
              <a:buChar char="–"/>
              <a:defRPr sz="1600">
                <a:latin typeface="Arial" charset="0"/>
                <a:ea typeface="黑体" charset="-122"/>
              </a:defRPr>
            </a:lvl4pPr>
            <a:lvl5pPr marL="2057400" indent="-228600">
              <a:spcBef>
                <a:spcPct val="20000"/>
              </a:spcBef>
              <a:buChar char="»"/>
              <a:defRPr sz="1600">
                <a:latin typeface="Arial" charset="0"/>
                <a:ea typeface="黑体" charset="-122"/>
              </a:defRPr>
            </a:lvl5pPr>
            <a:lvl6pPr marL="2514600" indent="-228600" eaLnBrk="0" fontAlgn="base" hangingPunct="0">
              <a:spcBef>
                <a:spcPct val="20000"/>
              </a:spcBef>
              <a:spcAft>
                <a:spcPct val="0"/>
              </a:spcAft>
              <a:buChar char="»"/>
              <a:defRPr sz="1600">
                <a:latin typeface="Arial" charset="0"/>
                <a:ea typeface="黑体" charset="-122"/>
              </a:defRPr>
            </a:lvl6pPr>
            <a:lvl7pPr marL="2971800" indent="-228600" eaLnBrk="0" fontAlgn="base" hangingPunct="0">
              <a:spcBef>
                <a:spcPct val="20000"/>
              </a:spcBef>
              <a:spcAft>
                <a:spcPct val="0"/>
              </a:spcAft>
              <a:buChar char="»"/>
              <a:defRPr sz="1600">
                <a:latin typeface="Arial" charset="0"/>
                <a:ea typeface="黑体" charset="-122"/>
              </a:defRPr>
            </a:lvl7pPr>
            <a:lvl8pPr marL="3429000" indent="-228600" eaLnBrk="0" fontAlgn="base" hangingPunct="0">
              <a:spcBef>
                <a:spcPct val="20000"/>
              </a:spcBef>
              <a:spcAft>
                <a:spcPct val="0"/>
              </a:spcAft>
              <a:buChar char="»"/>
              <a:defRPr sz="1600">
                <a:latin typeface="Arial" charset="0"/>
                <a:ea typeface="黑体" charset="-122"/>
              </a:defRPr>
            </a:lvl8pPr>
            <a:lvl9pPr marL="3886200" indent="-228600" eaLnBrk="0" fontAlgn="base" hangingPunct="0">
              <a:spcBef>
                <a:spcPct val="20000"/>
              </a:spcBef>
              <a:spcAft>
                <a:spcPct val="0"/>
              </a:spcAft>
              <a:buChar char="»"/>
              <a:defRPr sz="1600">
                <a:latin typeface="Arial" charset="0"/>
                <a:ea typeface="黑体" charset="-122"/>
              </a:defRPr>
            </a:lvl9pPr>
          </a:lstStyle>
          <a:p>
            <a:r>
              <a:rPr lang="zh-CN" altLang="en-US" dirty="0"/>
              <a:t>指令执行结果</a:t>
            </a:r>
          </a:p>
        </p:txBody>
      </p:sp>
      <p:sp>
        <p:nvSpPr>
          <p:cNvPr id="152" name="文本框 6">
            <a:extLst>
              <a:ext uri="{FF2B5EF4-FFF2-40B4-BE49-F238E27FC236}">
                <a16:creationId xmlns:a16="http://schemas.microsoft.com/office/drawing/2014/main" id="{C7330E6E-1F78-4474-AB54-9BA43613BDAC}"/>
              </a:ext>
            </a:extLst>
          </p:cNvPr>
          <p:cNvSpPr txBox="1">
            <a:spLocks noChangeArrowheads="1"/>
          </p:cNvSpPr>
          <p:nvPr/>
        </p:nvSpPr>
        <p:spPr bwMode="auto">
          <a:xfrm>
            <a:off x="6240463" y="5826125"/>
            <a:ext cx="203132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1600">
                <a:solidFill>
                  <a:schemeClr val="tx1"/>
                </a:solidFill>
                <a:latin typeface="Arial" charset="0"/>
                <a:ea typeface="黑体" charset="-122"/>
              </a:defRPr>
            </a:lvl1pPr>
            <a:lvl2pPr marL="742950" indent="-285750">
              <a:spcBef>
                <a:spcPct val="20000"/>
              </a:spcBef>
              <a:buChar char="–"/>
              <a:defRPr sz="1600">
                <a:solidFill>
                  <a:schemeClr val="tx1"/>
                </a:solidFill>
                <a:latin typeface="Arial" charset="0"/>
                <a:ea typeface="黑体" charset="-122"/>
              </a:defRPr>
            </a:lvl2pPr>
            <a:lvl3pPr marL="1143000" indent="-228600">
              <a:spcBef>
                <a:spcPct val="20000"/>
              </a:spcBef>
              <a:buChar char="•"/>
              <a:defRPr sz="1600">
                <a:solidFill>
                  <a:schemeClr val="tx1"/>
                </a:solidFill>
                <a:latin typeface="Arial" charset="0"/>
                <a:ea typeface="黑体" charset="-122"/>
              </a:defRPr>
            </a:lvl3pPr>
            <a:lvl4pPr marL="1600200" indent="-228600">
              <a:spcBef>
                <a:spcPct val="20000"/>
              </a:spcBef>
              <a:buChar char="–"/>
              <a:defRPr sz="1600">
                <a:solidFill>
                  <a:schemeClr val="tx1"/>
                </a:solidFill>
                <a:latin typeface="Arial" charset="0"/>
                <a:ea typeface="黑体" charset="-122"/>
              </a:defRPr>
            </a:lvl4pPr>
            <a:lvl5pPr marL="2057400" indent="-228600">
              <a:spcBef>
                <a:spcPct val="20000"/>
              </a:spcBef>
              <a:buChar char="»"/>
              <a:defRPr sz="1600">
                <a:solidFill>
                  <a:schemeClr val="tx1"/>
                </a:solidFill>
                <a:latin typeface="Arial" charset="0"/>
                <a:ea typeface="黑体" charset="-122"/>
              </a:defRPr>
            </a:lvl5pPr>
            <a:lvl6pPr marL="2514600" indent="-228600" eaLnBrk="0" fontAlgn="base" hangingPunct="0">
              <a:spcBef>
                <a:spcPct val="20000"/>
              </a:spcBef>
              <a:spcAft>
                <a:spcPct val="0"/>
              </a:spcAft>
              <a:buChar char="»"/>
              <a:defRPr sz="1600">
                <a:solidFill>
                  <a:schemeClr val="tx1"/>
                </a:solidFill>
                <a:latin typeface="Arial" charset="0"/>
                <a:ea typeface="黑体" charset="-122"/>
              </a:defRPr>
            </a:lvl6pPr>
            <a:lvl7pPr marL="2971800" indent="-228600" eaLnBrk="0" fontAlgn="base" hangingPunct="0">
              <a:spcBef>
                <a:spcPct val="20000"/>
              </a:spcBef>
              <a:spcAft>
                <a:spcPct val="0"/>
              </a:spcAft>
              <a:buChar char="»"/>
              <a:defRPr sz="1600">
                <a:solidFill>
                  <a:schemeClr val="tx1"/>
                </a:solidFill>
                <a:latin typeface="Arial" charset="0"/>
                <a:ea typeface="黑体" charset="-122"/>
              </a:defRPr>
            </a:lvl7pPr>
            <a:lvl8pPr marL="3429000" indent="-228600" eaLnBrk="0" fontAlgn="base" hangingPunct="0">
              <a:spcBef>
                <a:spcPct val="20000"/>
              </a:spcBef>
              <a:spcAft>
                <a:spcPct val="0"/>
              </a:spcAft>
              <a:buChar char="»"/>
              <a:defRPr sz="1600">
                <a:solidFill>
                  <a:schemeClr val="tx1"/>
                </a:solidFill>
                <a:latin typeface="Arial" charset="0"/>
                <a:ea typeface="黑体" charset="-122"/>
              </a:defRPr>
            </a:lvl8pPr>
            <a:lvl9pPr marL="3886200" indent="-228600" eaLnBrk="0" fontAlgn="base" hangingPunct="0">
              <a:spcBef>
                <a:spcPct val="20000"/>
              </a:spcBef>
              <a:spcAft>
                <a:spcPct val="0"/>
              </a:spcAft>
              <a:buChar char="»"/>
              <a:defRPr sz="1600">
                <a:solidFill>
                  <a:schemeClr val="tx1"/>
                </a:solidFill>
                <a:latin typeface="Arial" charset="0"/>
                <a:ea typeface="黑体" charset="-122"/>
              </a:defRPr>
            </a:lvl9pPr>
          </a:lstStyle>
          <a:p>
            <a:pPr>
              <a:spcBef>
                <a:spcPct val="0"/>
              </a:spcBef>
              <a:buFontTx/>
              <a:buNone/>
            </a:pPr>
            <a:r>
              <a:rPr lang="zh-CN" altLang="en-US" dirty="0">
                <a:latin typeface="STXingkai" charset="-122"/>
                <a:ea typeface="STXingkai" charset="-122"/>
                <a:cs typeface="STXingkai" charset="-122"/>
              </a:rPr>
              <a:t>物料需求、产出实绩</a:t>
            </a:r>
          </a:p>
        </p:txBody>
      </p:sp>
      <p:sp>
        <p:nvSpPr>
          <p:cNvPr id="153" name="矩形: 圆角 152">
            <a:extLst>
              <a:ext uri="{FF2B5EF4-FFF2-40B4-BE49-F238E27FC236}">
                <a16:creationId xmlns:a16="http://schemas.microsoft.com/office/drawing/2014/main" id="{A552EE40-03B4-4CD6-ABD4-2FBF71B50ABE}"/>
              </a:ext>
            </a:extLst>
          </p:cNvPr>
          <p:cNvSpPr/>
          <p:nvPr/>
        </p:nvSpPr>
        <p:spPr bwMode="auto">
          <a:xfrm>
            <a:off x="1631504" y="1780821"/>
            <a:ext cx="1800225" cy="510778"/>
          </a:xfrm>
          <a:prstGeom prst="roundRect">
            <a:avLst/>
          </a:prstGeom>
          <a:solidFill>
            <a:schemeClr val="accent3">
              <a:lumMod val="40000"/>
              <a:lumOff val="60000"/>
            </a:schemeClr>
          </a:solidFill>
          <a:ln>
            <a:noFill/>
            <a:headEnd type="none" w="med" len="med"/>
            <a:tailEnd type="none" w="med" len="med"/>
          </a:ln>
          <a:effectLst>
            <a:glow rad="63500">
              <a:schemeClr val="accent5">
                <a:satMod val="175000"/>
                <a:alpha val="40000"/>
              </a:schemeClr>
            </a:glow>
            <a:outerShdw blurRad="40000" dist="20000" dir="5400000" rotWithShape="0">
              <a:srgbClr val="000000">
                <a:alpha val="38000"/>
              </a:srgbClr>
            </a:outerShdw>
          </a:effectLst>
        </p:spPr>
        <p:style>
          <a:lnRef idx="1">
            <a:schemeClr val="accent2"/>
          </a:lnRef>
          <a:fillRef idx="2">
            <a:schemeClr val="accent2"/>
          </a:fillRef>
          <a:effectRef idx="1">
            <a:schemeClr val="accent2"/>
          </a:effectRef>
          <a:fontRef idx="minor">
            <a:schemeClr val="dk1"/>
          </a:fontRef>
        </p:style>
        <p:txBody>
          <a:bodyPr wrap="square" anchor="ctr">
            <a:spAutoFit/>
          </a:bodyPr>
          <a:lstStyle/>
          <a:p>
            <a:pPr algn="ctr">
              <a:defRPr/>
            </a:pPr>
            <a:r>
              <a:rPr lang="en-US" altLang="zh-CN" sz="2400" dirty="0">
                <a:solidFill>
                  <a:schemeClr val="tx1"/>
                </a:solidFill>
                <a:latin typeface="STLiti" charset="-122"/>
                <a:ea typeface="STLiti" charset="-122"/>
                <a:cs typeface="STLiti" charset="-122"/>
              </a:rPr>
              <a:t>LIMS</a:t>
            </a:r>
            <a:endParaRPr lang="zh-CN" altLang="en-US" sz="2400" dirty="0">
              <a:solidFill>
                <a:schemeClr val="tx1"/>
              </a:solidFill>
              <a:latin typeface="STLiti" charset="-122"/>
              <a:ea typeface="STLiti" charset="-122"/>
              <a:cs typeface="STLiti" charset="-122"/>
            </a:endParaRPr>
          </a:p>
        </p:txBody>
      </p:sp>
      <p:cxnSp>
        <p:nvCxnSpPr>
          <p:cNvPr id="4" name="直接箭头连接符 3">
            <a:extLst>
              <a:ext uri="{FF2B5EF4-FFF2-40B4-BE49-F238E27FC236}">
                <a16:creationId xmlns:a16="http://schemas.microsoft.com/office/drawing/2014/main" id="{5795A72B-5459-400E-A656-CE623755A149}"/>
              </a:ext>
            </a:extLst>
          </p:cNvPr>
          <p:cNvCxnSpPr/>
          <p:nvPr/>
        </p:nvCxnSpPr>
        <p:spPr>
          <a:xfrm>
            <a:off x="3344854" y="2377606"/>
            <a:ext cx="1905010" cy="945878"/>
          </a:xfrm>
          <a:prstGeom prst="straightConnector1">
            <a:avLst/>
          </a:prstGeom>
          <a:ln w="2857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6" name="直接箭头连接符 5">
            <a:extLst>
              <a:ext uri="{FF2B5EF4-FFF2-40B4-BE49-F238E27FC236}">
                <a16:creationId xmlns:a16="http://schemas.microsoft.com/office/drawing/2014/main" id="{CA32B046-D74C-4DDB-87F8-73BE79843079}"/>
              </a:ext>
            </a:extLst>
          </p:cNvPr>
          <p:cNvCxnSpPr/>
          <p:nvPr/>
        </p:nvCxnSpPr>
        <p:spPr>
          <a:xfrm flipH="1" flipV="1">
            <a:off x="3449639" y="2352559"/>
            <a:ext cx="1925636" cy="942764"/>
          </a:xfrm>
          <a:prstGeom prst="straightConnector1">
            <a:avLst/>
          </a:prstGeom>
          <a:ln w="2857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154" name="文本框 32">
            <a:extLst>
              <a:ext uri="{FF2B5EF4-FFF2-40B4-BE49-F238E27FC236}">
                <a16:creationId xmlns:a16="http://schemas.microsoft.com/office/drawing/2014/main" id="{8E109DCC-2D06-42EA-A81A-54364FE235F3}"/>
              </a:ext>
            </a:extLst>
          </p:cNvPr>
          <p:cNvSpPr txBox="1">
            <a:spLocks noChangeArrowheads="1"/>
          </p:cNvSpPr>
          <p:nvPr/>
        </p:nvSpPr>
        <p:spPr bwMode="auto">
          <a:xfrm>
            <a:off x="3097578" y="2745511"/>
            <a:ext cx="10054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zh-CN"/>
            </a:defPPr>
            <a:lvl1pPr>
              <a:spcBef>
                <a:spcPct val="0"/>
              </a:spcBef>
              <a:buFontTx/>
              <a:buNone/>
              <a:defRPr sz="1600">
                <a:latin typeface="STXingkai" charset="-122"/>
                <a:ea typeface="STXingkai" charset="-122"/>
                <a:cs typeface="STXingkai" charset="-122"/>
              </a:defRPr>
            </a:lvl1pPr>
            <a:lvl2pPr marL="742950" indent="-285750">
              <a:spcBef>
                <a:spcPct val="20000"/>
              </a:spcBef>
              <a:buChar char="–"/>
              <a:defRPr sz="1600">
                <a:latin typeface="Arial" charset="0"/>
                <a:ea typeface="黑体" charset="-122"/>
              </a:defRPr>
            </a:lvl2pPr>
            <a:lvl3pPr marL="1143000" indent="-228600">
              <a:spcBef>
                <a:spcPct val="20000"/>
              </a:spcBef>
              <a:buChar char="•"/>
              <a:defRPr sz="1600">
                <a:latin typeface="Arial" charset="0"/>
                <a:ea typeface="黑体" charset="-122"/>
              </a:defRPr>
            </a:lvl3pPr>
            <a:lvl4pPr marL="1600200" indent="-228600">
              <a:spcBef>
                <a:spcPct val="20000"/>
              </a:spcBef>
              <a:buChar char="–"/>
              <a:defRPr sz="1600">
                <a:latin typeface="Arial" charset="0"/>
                <a:ea typeface="黑体" charset="-122"/>
              </a:defRPr>
            </a:lvl4pPr>
            <a:lvl5pPr marL="2057400" indent="-228600">
              <a:spcBef>
                <a:spcPct val="20000"/>
              </a:spcBef>
              <a:buChar char="»"/>
              <a:defRPr sz="1600">
                <a:latin typeface="Arial" charset="0"/>
                <a:ea typeface="黑体" charset="-122"/>
              </a:defRPr>
            </a:lvl5pPr>
            <a:lvl6pPr marL="2514600" indent="-228600" eaLnBrk="0" fontAlgn="base" hangingPunct="0">
              <a:spcBef>
                <a:spcPct val="20000"/>
              </a:spcBef>
              <a:spcAft>
                <a:spcPct val="0"/>
              </a:spcAft>
              <a:buChar char="»"/>
              <a:defRPr sz="1600">
                <a:latin typeface="Arial" charset="0"/>
                <a:ea typeface="黑体" charset="-122"/>
              </a:defRPr>
            </a:lvl6pPr>
            <a:lvl7pPr marL="2971800" indent="-228600" eaLnBrk="0" fontAlgn="base" hangingPunct="0">
              <a:spcBef>
                <a:spcPct val="20000"/>
              </a:spcBef>
              <a:spcAft>
                <a:spcPct val="0"/>
              </a:spcAft>
              <a:buChar char="»"/>
              <a:defRPr sz="1600">
                <a:latin typeface="Arial" charset="0"/>
                <a:ea typeface="黑体" charset="-122"/>
              </a:defRPr>
            </a:lvl7pPr>
            <a:lvl8pPr marL="3429000" indent="-228600" eaLnBrk="0" fontAlgn="base" hangingPunct="0">
              <a:spcBef>
                <a:spcPct val="20000"/>
              </a:spcBef>
              <a:spcAft>
                <a:spcPct val="0"/>
              </a:spcAft>
              <a:buChar char="»"/>
              <a:defRPr sz="1600">
                <a:latin typeface="Arial" charset="0"/>
                <a:ea typeface="黑体" charset="-122"/>
              </a:defRPr>
            </a:lvl8pPr>
            <a:lvl9pPr marL="3886200" indent="-228600" eaLnBrk="0" fontAlgn="base" hangingPunct="0">
              <a:spcBef>
                <a:spcPct val="20000"/>
              </a:spcBef>
              <a:spcAft>
                <a:spcPct val="0"/>
              </a:spcAft>
              <a:buChar char="»"/>
              <a:defRPr sz="1600">
                <a:latin typeface="Arial" charset="0"/>
                <a:ea typeface="黑体" charset="-122"/>
              </a:defRPr>
            </a:lvl9pPr>
          </a:lstStyle>
          <a:p>
            <a:r>
              <a:rPr lang="zh-CN" altLang="en-US" dirty="0"/>
              <a:t>检验数据</a:t>
            </a:r>
          </a:p>
        </p:txBody>
      </p:sp>
      <p:sp>
        <p:nvSpPr>
          <p:cNvPr id="155" name="文本框 32">
            <a:extLst>
              <a:ext uri="{FF2B5EF4-FFF2-40B4-BE49-F238E27FC236}">
                <a16:creationId xmlns:a16="http://schemas.microsoft.com/office/drawing/2014/main" id="{66F76E66-2A5E-404E-B309-3D8CCF33FEBB}"/>
              </a:ext>
            </a:extLst>
          </p:cNvPr>
          <p:cNvSpPr txBox="1">
            <a:spLocks noChangeArrowheads="1"/>
          </p:cNvSpPr>
          <p:nvPr/>
        </p:nvSpPr>
        <p:spPr bwMode="auto">
          <a:xfrm>
            <a:off x="3949823" y="2286055"/>
            <a:ext cx="100540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zh-CN"/>
            </a:defPPr>
            <a:lvl1pPr>
              <a:spcBef>
                <a:spcPct val="0"/>
              </a:spcBef>
              <a:buFontTx/>
              <a:buNone/>
              <a:defRPr sz="1600">
                <a:latin typeface="STXingkai" charset="-122"/>
                <a:ea typeface="STXingkai" charset="-122"/>
                <a:cs typeface="STXingkai" charset="-122"/>
              </a:defRPr>
            </a:lvl1pPr>
            <a:lvl2pPr marL="742950" indent="-285750">
              <a:spcBef>
                <a:spcPct val="20000"/>
              </a:spcBef>
              <a:buChar char="–"/>
              <a:defRPr sz="1600">
                <a:latin typeface="Arial" charset="0"/>
                <a:ea typeface="黑体" charset="-122"/>
              </a:defRPr>
            </a:lvl2pPr>
            <a:lvl3pPr marL="1143000" indent="-228600">
              <a:spcBef>
                <a:spcPct val="20000"/>
              </a:spcBef>
              <a:buChar char="•"/>
              <a:defRPr sz="1600">
                <a:latin typeface="Arial" charset="0"/>
                <a:ea typeface="黑体" charset="-122"/>
              </a:defRPr>
            </a:lvl3pPr>
            <a:lvl4pPr marL="1600200" indent="-228600">
              <a:spcBef>
                <a:spcPct val="20000"/>
              </a:spcBef>
              <a:buChar char="–"/>
              <a:defRPr sz="1600">
                <a:latin typeface="Arial" charset="0"/>
                <a:ea typeface="黑体" charset="-122"/>
              </a:defRPr>
            </a:lvl4pPr>
            <a:lvl5pPr marL="2057400" indent="-228600">
              <a:spcBef>
                <a:spcPct val="20000"/>
              </a:spcBef>
              <a:buChar char="»"/>
              <a:defRPr sz="1600">
                <a:latin typeface="Arial" charset="0"/>
                <a:ea typeface="黑体" charset="-122"/>
              </a:defRPr>
            </a:lvl5pPr>
            <a:lvl6pPr marL="2514600" indent="-228600" eaLnBrk="0" fontAlgn="base" hangingPunct="0">
              <a:spcBef>
                <a:spcPct val="20000"/>
              </a:spcBef>
              <a:spcAft>
                <a:spcPct val="0"/>
              </a:spcAft>
              <a:buChar char="»"/>
              <a:defRPr sz="1600">
                <a:latin typeface="Arial" charset="0"/>
                <a:ea typeface="黑体" charset="-122"/>
              </a:defRPr>
            </a:lvl6pPr>
            <a:lvl7pPr marL="2971800" indent="-228600" eaLnBrk="0" fontAlgn="base" hangingPunct="0">
              <a:spcBef>
                <a:spcPct val="20000"/>
              </a:spcBef>
              <a:spcAft>
                <a:spcPct val="0"/>
              </a:spcAft>
              <a:buChar char="»"/>
              <a:defRPr sz="1600">
                <a:latin typeface="Arial" charset="0"/>
                <a:ea typeface="黑体" charset="-122"/>
              </a:defRPr>
            </a:lvl7pPr>
            <a:lvl8pPr marL="3429000" indent="-228600" eaLnBrk="0" fontAlgn="base" hangingPunct="0">
              <a:spcBef>
                <a:spcPct val="20000"/>
              </a:spcBef>
              <a:spcAft>
                <a:spcPct val="0"/>
              </a:spcAft>
              <a:buChar char="»"/>
              <a:defRPr sz="1600">
                <a:latin typeface="Arial" charset="0"/>
                <a:ea typeface="黑体" charset="-122"/>
              </a:defRPr>
            </a:lvl8pPr>
            <a:lvl9pPr marL="3886200" indent="-228600" eaLnBrk="0" fontAlgn="base" hangingPunct="0">
              <a:spcBef>
                <a:spcPct val="20000"/>
              </a:spcBef>
              <a:spcAft>
                <a:spcPct val="0"/>
              </a:spcAft>
              <a:buChar char="»"/>
              <a:defRPr sz="1600">
                <a:latin typeface="Arial" charset="0"/>
                <a:ea typeface="黑体" charset="-122"/>
              </a:defRPr>
            </a:lvl9pPr>
          </a:lstStyle>
          <a:p>
            <a:r>
              <a:rPr lang="zh-CN" altLang="en-US" dirty="0"/>
              <a:t>批次信息</a:t>
            </a:r>
          </a:p>
        </p:txBody>
      </p:sp>
    </p:spTree>
    <p:extLst>
      <p:ext uri="{BB962C8B-B14F-4D97-AF65-F5344CB8AC3E}">
        <p14:creationId xmlns:p14="http://schemas.microsoft.com/office/powerpoint/2010/main" val="2966006303"/>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8" y="114300"/>
            <a:ext cx="3644472"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3600" b="1" dirty="0">
                <a:solidFill>
                  <a:srgbClr val="0070C0"/>
                </a:solidFill>
                <a:latin typeface="+mj-ea"/>
                <a:ea typeface="+mj-ea"/>
              </a:rPr>
              <a:t>LIMS</a:t>
            </a:r>
            <a:endParaRPr lang="zh-CN" altLang="en-US" sz="3600" b="1" dirty="0">
              <a:solidFill>
                <a:srgbClr val="0070C0"/>
              </a:solidFill>
              <a:latin typeface="+mj-ea"/>
              <a:ea typeface="+mj-ea"/>
            </a:endParaRPr>
          </a:p>
        </p:txBody>
      </p:sp>
      <p:sp>
        <p:nvSpPr>
          <p:cNvPr id="134" name="Text Box 20">
            <a:extLst>
              <a:ext uri="{FF2B5EF4-FFF2-40B4-BE49-F238E27FC236}">
                <a16:creationId xmlns:a16="http://schemas.microsoft.com/office/drawing/2014/main" id="{66D9EAE2-6F21-46C4-A9CB-7BAF7F5E7258}"/>
              </a:ext>
            </a:extLst>
          </p:cNvPr>
          <p:cNvSpPr txBox="1">
            <a:spLocks noChangeArrowheads="1"/>
          </p:cNvSpPr>
          <p:nvPr/>
        </p:nvSpPr>
        <p:spPr bwMode="auto">
          <a:xfrm>
            <a:off x="5844833" y="6136347"/>
            <a:ext cx="11430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r>
              <a:rPr lang="zh-CN" altLang="en-US" sz="1200" b="1"/>
              <a:t>中国驰名商标</a:t>
            </a:r>
            <a:endParaRPr lang="zh-CN" altLang="en-US" sz="1800"/>
          </a:p>
        </p:txBody>
      </p:sp>
      <p:sp>
        <p:nvSpPr>
          <p:cNvPr id="135" name="剪去单角的矩形 1">
            <a:extLst>
              <a:ext uri="{FF2B5EF4-FFF2-40B4-BE49-F238E27FC236}">
                <a16:creationId xmlns:a16="http://schemas.microsoft.com/office/drawing/2014/main" id="{962C623E-1C94-47B9-8BB7-A0B4C78D7105}"/>
              </a:ext>
            </a:extLst>
          </p:cNvPr>
          <p:cNvSpPr/>
          <p:nvPr/>
        </p:nvSpPr>
        <p:spPr>
          <a:xfrm>
            <a:off x="1318871" y="1100797"/>
            <a:ext cx="1858962" cy="631825"/>
          </a:xfrm>
          <a:prstGeom prst="snip1Rect">
            <a:avLst/>
          </a:prstGeom>
          <a:solidFill>
            <a:schemeClr val="bg1">
              <a:lumMod val="75000"/>
            </a:schemeClr>
          </a:solidFill>
          <a:ln w="9525">
            <a:solidFill>
              <a:schemeClr val="accent1">
                <a:shade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36" name="矩形 1">
            <a:extLst>
              <a:ext uri="{FF2B5EF4-FFF2-40B4-BE49-F238E27FC236}">
                <a16:creationId xmlns:a16="http://schemas.microsoft.com/office/drawing/2014/main" id="{BF1BCDDC-DE8D-4C4C-B84E-69B30CC09FAF}"/>
              </a:ext>
            </a:extLst>
          </p:cNvPr>
          <p:cNvSpPr>
            <a:spLocks noChangeArrowheads="1"/>
          </p:cNvSpPr>
          <p:nvPr/>
        </p:nvSpPr>
        <p:spPr bwMode="auto">
          <a:xfrm>
            <a:off x="1345858" y="1299235"/>
            <a:ext cx="183197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ct val="80000"/>
              </a:lnSpc>
              <a:spcBef>
                <a:spcPct val="0"/>
              </a:spcBef>
              <a:buFontTx/>
              <a:buNone/>
            </a:pPr>
            <a:r>
              <a:rPr lang="zh-CN" altLang="en-US" sz="1700" b="1">
                <a:solidFill>
                  <a:srgbClr val="333399"/>
                </a:solidFill>
                <a:latin typeface="黑体" panose="02010609060101010101" pitchFamily="49" charset="-122"/>
                <a:ea typeface="黑体" panose="02010609060101010101" pitchFamily="49" charset="-122"/>
                <a:cs typeface="楷体_GB2312" pitchFamily="49" charset="-122"/>
              </a:rPr>
              <a:t>原辅料</a:t>
            </a:r>
            <a:r>
              <a:rPr lang="en-US" altLang="zh-CN" sz="1700" b="1">
                <a:solidFill>
                  <a:srgbClr val="333399"/>
                </a:solidFill>
                <a:latin typeface="黑体" panose="02010609060101010101" pitchFamily="49" charset="-122"/>
                <a:ea typeface="黑体" panose="02010609060101010101" pitchFamily="49" charset="-122"/>
                <a:cs typeface="楷体_GB2312" pitchFamily="49" charset="-122"/>
              </a:rPr>
              <a:t>/</a:t>
            </a:r>
            <a:r>
              <a:rPr lang="zh-CN" altLang="en-US" sz="1700" b="1">
                <a:solidFill>
                  <a:srgbClr val="333399"/>
                </a:solidFill>
                <a:latin typeface="黑体" panose="02010609060101010101" pitchFamily="49" charset="-122"/>
                <a:ea typeface="黑体" panose="02010609060101010101" pitchFamily="49" charset="-122"/>
                <a:cs typeface="楷体_GB2312" pitchFamily="49" charset="-122"/>
              </a:rPr>
              <a:t>包材检验</a:t>
            </a:r>
          </a:p>
        </p:txBody>
      </p:sp>
      <p:sp>
        <p:nvSpPr>
          <p:cNvPr id="137" name="剪去单角的矩形 5">
            <a:extLst>
              <a:ext uri="{FF2B5EF4-FFF2-40B4-BE49-F238E27FC236}">
                <a16:creationId xmlns:a16="http://schemas.microsoft.com/office/drawing/2014/main" id="{F43E6F99-1B54-483C-8225-0CE0C64D2A4C}"/>
              </a:ext>
            </a:extLst>
          </p:cNvPr>
          <p:cNvSpPr/>
          <p:nvPr/>
        </p:nvSpPr>
        <p:spPr>
          <a:xfrm>
            <a:off x="3260383" y="1107147"/>
            <a:ext cx="1831975" cy="631825"/>
          </a:xfrm>
          <a:prstGeom prst="snip1Rect">
            <a:avLst/>
          </a:prstGeom>
          <a:solidFill>
            <a:schemeClr val="accent6">
              <a:lumMod val="40000"/>
              <a:lumOff val="60000"/>
            </a:schemeClr>
          </a:solidFill>
          <a:ln w="9525">
            <a:solidFill>
              <a:schemeClr val="accent1">
                <a:shade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38" name="矩形 11">
            <a:extLst>
              <a:ext uri="{FF2B5EF4-FFF2-40B4-BE49-F238E27FC236}">
                <a16:creationId xmlns:a16="http://schemas.microsoft.com/office/drawing/2014/main" id="{A4715052-91AE-4E1E-9383-2A48B66983C4}"/>
              </a:ext>
            </a:extLst>
          </p:cNvPr>
          <p:cNvSpPr>
            <a:spLocks noChangeArrowheads="1"/>
          </p:cNvSpPr>
          <p:nvPr/>
        </p:nvSpPr>
        <p:spPr bwMode="auto">
          <a:xfrm>
            <a:off x="3260383" y="1305585"/>
            <a:ext cx="183197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ct val="80000"/>
              </a:lnSpc>
              <a:spcBef>
                <a:spcPct val="0"/>
              </a:spcBef>
              <a:buFontTx/>
              <a:buNone/>
            </a:pPr>
            <a:r>
              <a:rPr lang="zh-CN" altLang="en-US" sz="1700" b="1">
                <a:solidFill>
                  <a:srgbClr val="333399"/>
                </a:solidFill>
                <a:latin typeface="黑体" panose="02010609060101010101" pitchFamily="49" charset="-122"/>
                <a:ea typeface="黑体" panose="02010609060101010101" pitchFamily="49" charset="-122"/>
                <a:cs typeface="楷体_GB2312" pitchFamily="49" charset="-122"/>
              </a:rPr>
              <a:t>成品</a:t>
            </a:r>
            <a:r>
              <a:rPr lang="en-US" altLang="zh-CN" sz="1700" b="1">
                <a:solidFill>
                  <a:srgbClr val="333399"/>
                </a:solidFill>
                <a:latin typeface="黑体" panose="02010609060101010101" pitchFamily="49" charset="-122"/>
                <a:ea typeface="黑体" panose="02010609060101010101" pitchFamily="49" charset="-122"/>
                <a:cs typeface="楷体_GB2312" pitchFamily="49" charset="-122"/>
              </a:rPr>
              <a:t>/</a:t>
            </a:r>
            <a:r>
              <a:rPr lang="zh-CN" altLang="en-US" sz="1700" b="1">
                <a:solidFill>
                  <a:srgbClr val="333399"/>
                </a:solidFill>
                <a:latin typeface="黑体" panose="02010609060101010101" pitchFamily="49" charset="-122"/>
                <a:ea typeface="黑体" panose="02010609060101010101" pitchFamily="49" charset="-122"/>
                <a:cs typeface="楷体_GB2312" pitchFamily="49" charset="-122"/>
              </a:rPr>
              <a:t>半成品检验</a:t>
            </a:r>
          </a:p>
        </p:txBody>
      </p:sp>
      <p:sp>
        <p:nvSpPr>
          <p:cNvPr id="139" name="剪去单角的矩形 7">
            <a:extLst>
              <a:ext uri="{FF2B5EF4-FFF2-40B4-BE49-F238E27FC236}">
                <a16:creationId xmlns:a16="http://schemas.microsoft.com/office/drawing/2014/main" id="{9EDBDCAA-1C19-487F-AF3B-71DA3DADF9D3}"/>
              </a:ext>
            </a:extLst>
          </p:cNvPr>
          <p:cNvSpPr/>
          <p:nvPr/>
        </p:nvSpPr>
        <p:spPr>
          <a:xfrm>
            <a:off x="5151096" y="1116672"/>
            <a:ext cx="2349500" cy="631825"/>
          </a:xfrm>
          <a:prstGeom prst="snip1Rect">
            <a:avLst/>
          </a:prstGeom>
          <a:solidFill>
            <a:schemeClr val="accent2">
              <a:lumMod val="40000"/>
              <a:lumOff val="60000"/>
            </a:schemeClr>
          </a:solidFill>
          <a:ln w="9525">
            <a:solidFill>
              <a:schemeClr val="accent1">
                <a:shade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40" name="矩形 13">
            <a:extLst>
              <a:ext uri="{FF2B5EF4-FFF2-40B4-BE49-F238E27FC236}">
                <a16:creationId xmlns:a16="http://schemas.microsoft.com/office/drawing/2014/main" id="{EBCCF8FA-6729-4AD9-BC4D-25388FD7740E}"/>
              </a:ext>
            </a:extLst>
          </p:cNvPr>
          <p:cNvSpPr>
            <a:spLocks noChangeArrowheads="1"/>
          </p:cNvSpPr>
          <p:nvPr/>
        </p:nvSpPr>
        <p:spPr bwMode="auto">
          <a:xfrm>
            <a:off x="5274921" y="1315110"/>
            <a:ext cx="2162175"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ct val="80000"/>
              </a:lnSpc>
              <a:spcBef>
                <a:spcPct val="0"/>
              </a:spcBef>
              <a:buFontTx/>
              <a:buNone/>
            </a:pPr>
            <a:r>
              <a:rPr lang="zh-CN" altLang="en-US" sz="1700" b="1">
                <a:solidFill>
                  <a:srgbClr val="333399"/>
                </a:solidFill>
                <a:latin typeface="黑体" panose="02010609060101010101" pitchFamily="49" charset="-122"/>
                <a:ea typeface="黑体" panose="02010609060101010101" pitchFamily="49" charset="-122"/>
                <a:cs typeface="楷体_GB2312" pitchFamily="49" charset="-122"/>
              </a:rPr>
              <a:t>水系统的检验和监控</a:t>
            </a:r>
          </a:p>
        </p:txBody>
      </p:sp>
      <p:sp>
        <p:nvSpPr>
          <p:cNvPr id="141" name="剪去单角的矩形 9">
            <a:extLst>
              <a:ext uri="{FF2B5EF4-FFF2-40B4-BE49-F238E27FC236}">
                <a16:creationId xmlns:a16="http://schemas.microsoft.com/office/drawing/2014/main" id="{A28E71A9-09CC-429F-8390-DCA3DCCD4B1A}"/>
              </a:ext>
            </a:extLst>
          </p:cNvPr>
          <p:cNvSpPr/>
          <p:nvPr/>
        </p:nvSpPr>
        <p:spPr>
          <a:xfrm>
            <a:off x="7572033" y="1118260"/>
            <a:ext cx="2349500" cy="630237"/>
          </a:xfrm>
          <a:prstGeom prst="snip1Rect">
            <a:avLst/>
          </a:prstGeom>
          <a:solidFill>
            <a:schemeClr val="accent1">
              <a:lumMod val="40000"/>
              <a:lumOff val="60000"/>
            </a:schemeClr>
          </a:solidFill>
          <a:ln w="9525">
            <a:solidFill>
              <a:schemeClr val="accent1">
                <a:shade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42" name="矩形 15">
            <a:extLst>
              <a:ext uri="{FF2B5EF4-FFF2-40B4-BE49-F238E27FC236}">
                <a16:creationId xmlns:a16="http://schemas.microsoft.com/office/drawing/2014/main" id="{55849992-85B7-4F09-97FE-2F021EFB78A3}"/>
              </a:ext>
            </a:extLst>
          </p:cNvPr>
          <p:cNvSpPr>
            <a:spLocks noChangeArrowheads="1"/>
          </p:cNvSpPr>
          <p:nvPr/>
        </p:nvSpPr>
        <p:spPr bwMode="auto">
          <a:xfrm>
            <a:off x="7652996" y="1299235"/>
            <a:ext cx="2160587"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ct val="80000"/>
              </a:lnSpc>
              <a:spcBef>
                <a:spcPct val="0"/>
              </a:spcBef>
              <a:buFontTx/>
              <a:buNone/>
            </a:pPr>
            <a:r>
              <a:rPr lang="zh-CN" altLang="en-US" sz="1700" b="1">
                <a:solidFill>
                  <a:srgbClr val="333399"/>
                </a:solidFill>
                <a:latin typeface="黑体" panose="02010609060101010101" pitchFamily="49" charset="-122"/>
                <a:ea typeface="黑体" panose="02010609060101010101" pitchFamily="49" charset="-122"/>
                <a:cs typeface="楷体_GB2312" pitchFamily="49" charset="-122"/>
              </a:rPr>
              <a:t>洁净区的检验和监控</a:t>
            </a:r>
          </a:p>
        </p:txBody>
      </p:sp>
      <p:grpSp>
        <p:nvGrpSpPr>
          <p:cNvPr id="143" name="组合 17">
            <a:extLst>
              <a:ext uri="{FF2B5EF4-FFF2-40B4-BE49-F238E27FC236}">
                <a16:creationId xmlns:a16="http://schemas.microsoft.com/office/drawing/2014/main" id="{7CD6A0C4-F54A-468B-B11E-47AF1F51540E}"/>
              </a:ext>
            </a:extLst>
          </p:cNvPr>
          <p:cNvGrpSpPr>
            <a:grpSpLocks/>
          </p:cNvGrpSpPr>
          <p:nvPr/>
        </p:nvGrpSpPr>
        <p:grpSpPr bwMode="auto">
          <a:xfrm>
            <a:off x="1318871" y="1892960"/>
            <a:ext cx="8845550" cy="4392612"/>
            <a:chOff x="209532" y="1290589"/>
            <a:chExt cx="3597294" cy="4392488"/>
          </a:xfrm>
        </p:grpSpPr>
        <p:sp>
          <p:nvSpPr>
            <p:cNvPr id="144" name="矩形 143">
              <a:extLst>
                <a:ext uri="{FF2B5EF4-FFF2-40B4-BE49-F238E27FC236}">
                  <a16:creationId xmlns:a16="http://schemas.microsoft.com/office/drawing/2014/main" id="{79D5C70B-BC19-49AD-8348-B2075217B804}"/>
                </a:ext>
              </a:extLst>
            </p:cNvPr>
            <p:cNvSpPr/>
            <p:nvPr/>
          </p:nvSpPr>
          <p:spPr>
            <a:xfrm>
              <a:off x="209532" y="4733779"/>
              <a:ext cx="3597294" cy="949298"/>
            </a:xfrm>
            <a:prstGeom prst="rect">
              <a:avLst/>
            </a:prstGeom>
            <a:solidFill>
              <a:schemeClr val="bg1">
                <a:lumMod val="85000"/>
              </a:schemeClr>
            </a:solidFill>
          </p:spPr>
          <p:txBody>
            <a:bodyPr>
              <a:spAutoFit/>
            </a:bodyPr>
            <a:lstStyle/>
            <a:p>
              <a:pPr defTabSz="685800">
                <a:spcBef>
                  <a:spcPts val="750"/>
                </a:spcBef>
                <a:defRPr/>
              </a:pPr>
              <a:r>
                <a:rPr lang="en-US" altLang="zh-CN" sz="2100" b="1" dirty="0">
                  <a:solidFill>
                    <a:srgbClr val="1C098D"/>
                  </a:solidFill>
                  <a:latin typeface="黑体" pitchFamily="49" charset="-122"/>
                  <a:ea typeface="黑体" pitchFamily="49" charset="-122"/>
                </a:rPr>
                <a:t>  </a:t>
              </a:r>
              <a:r>
                <a:rPr lang="en-US" altLang="zh-CN" sz="1700" b="1" dirty="0">
                  <a:solidFill>
                    <a:srgbClr val="333399"/>
                  </a:solidFill>
                  <a:latin typeface="黑体" pitchFamily="49" charset="-122"/>
                  <a:ea typeface="黑体" pitchFamily="49" charset="-122"/>
                </a:rPr>
                <a:t>ERP</a:t>
              </a:r>
              <a:r>
                <a:rPr lang="zh-CN" altLang="en-US" sz="1700" b="1" dirty="0">
                  <a:solidFill>
                    <a:srgbClr val="333399"/>
                  </a:solidFill>
                  <a:latin typeface="黑体" pitchFamily="49" charset="-122"/>
                  <a:ea typeface="黑体" pitchFamily="49" charset="-122"/>
                </a:rPr>
                <a:t>接口</a:t>
              </a:r>
            </a:p>
            <a:p>
              <a:pPr marL="514350" lvl="1" indent="-171450" defTabSz="685800">
                <a:spcBef>
                  <a:spcPts val="375"/>
                </a:spcBef>
                <a:buFont typeface="Arial" pitchFamily="34" charset="0"/>
                <a:buChar char="•"/>
                <a:defRPr/>
              </a:pPr>
              <a:r>
                <a:rPr lang="zh-CN" altLang="en-US" sz="1400" dirty="0">
                  <a:latin typeface="微软雅黑" pitchFamily="34" charset="-122"/>
                  <a:ea typeface="微软雅黑" pitchFamily="34" charset="-122"/>
                </a:rPr>
                <a:t>物料清单（</a:t>
              </a:r>
              <a:r>
                <a:rPr lang="en-US" altLang="zh-CN" sz="1400" dirty="0">
                  <a:latin typeface="微软雅黑" pitchFamily="34" charset="-122"/>
                  <a:ea typeface="微软雅黑" pitchFamily="34" charset="-122"/>
                </a:rPr>
                <a:t>BOM</a:t>
              </a:r>
              <a:r>
                <a:rPr lang="zh-CN" altLang="en-US" sz="1400" dirty="0">
                  <a:latin typeface="微软雅黑" pitchFamily="34" charset="-122"/>
                  <a:ea typeface="微软雅黑" pitchFamily="34" charset="-122"/>
                </a:rPr>
                <a:t>）；</a:t>
              </a:r>
            </a:p>
            <a:p>
              <a:pPr marL="514350" lvl="1" indent="-171450" defTabSz="685800">
                <a:spcBef>
                  <a:spcPts val="375"/>
                </a:spcBef>
                <a:buFont typeface="Arial" pitchFamily="34" charset="0"/>
                <a:buChar char="•"/>
                <a:defRPr/>
              </a:pPr>
              <a:r>
                <a:rPr lang="zh-CN" altLang="en-US" sz="1400" dirty="0">
                  <a:latin typeface="微软雅黑" pitchFamily="34" charset="-122"/>
                  <a:ea typeface="微软雅黑" pitchFamily="34" charset="-122"/>
                </a:rPr>
                <a:t>生产计划 </a:t>
              </a:r>
              <a:r>
                <a:rPr lang="en-US" altLang="zh-CN" sz="1400" dirty="0">
                  <a:latin typeface="微软雅黑" pitchFamily="34" charset="-122"/>
                  <a:ea typeface="微软雅黑" pitchFamily="34" charset="-122"/>
                </a:rPr>
                <a:t>– </a:t>
              </a:r>
              <a:r>
                <a:rPr lang="zh-CN" altLang="en-US" sz="1400" dirty="0">
                  <a:latin typeface="微软雅黑" pitchFamily="34" charset="-122"/>
                  <a:ea typeface="微软雅黑" pitchFamily="34" charset="-122"/>
                </a:rPr>
                <a:t>稳定性试验取样</a:t>
              </a:r>
            </a:p>
          </p:txBody>
        </p:sp>
        <p:sp>
          <p:nvSpPr>
            <p:cNvPr id="145" name="矩形 144">
              <a:extLst>
                <a:ext uri="{FF2B5EF4-FFF2-40B4-BE49-F238E27FC236}">
                  <a16:creationId xmlns:a16="http://schemas.microsoft.com/office/drawing/2014/main" id="{8836B2DE-27AF-40DE-8B79-14DB7408677D}"/>
                </a:ext>
              </a:extLst>
            </p:cNvPr>
            <p:cNvSpPr/>
            <p:nvPr/>
          </p:nvSpPr>
          <p:spPr>
            <a:xfrm>
              <a:off x="209532" y="3798768"/>
              <a:ext cx="3597294" cy="947710"/>
            </a:xfrm>
            <a:prstGeom prst="rect">
              <a:avLst/>
            </a:prstGeom>
            <a:solidFill>
              <a:schemeClr val="bg1">
                <a:lumMod val="85000"/>
              </a:schemeClr>
            </a:solidFill>
          </p:spPr>
          <p:txBody>
            <a:bodyPr>
              <a:spAutoFit/>
            </a:bodyPr>
            <a:lstStyle/>
            <a:p>
              <a:pPr defTabSz="685800">
                <a:spcBef>
                  <a:spcPts val="750"/>
                </a:spcBef>
                <a:defRPr/>
              </a:pPr>
              <a:r>
                <a:rPr lang="zh-CN" altLang="en-US" sz="2100" b="1" dirty="0">
                  <a:solidFill>
                    <a:srgbClr val="1C098D"/>
                  </a:solidFill>
                  <a:latin typeface="黑体" pitchFamily="49" charset="-122"/>
                  <a:ea typeface="黑体" pitchFamily="49" charset="-122"/>
                </a:rPr>
                <a:t> </a:t>
              </a:r>
              <a:r>
                <a:rPr lang="zh-CN" altLang="en-US" sz="1700" b="1" dirty="0">
                  <a:solidFill>
                    <a:srgbClr val="27B050"/>
                  </a:solidFill>
                  <a:latin typeface="黑体" pitchFamily="49" charset="-122"/>
                  <a:ea typeface="黑体" pitchFamily="49" charset="-122"/>
                </a:rPr>
                <a:t> </a:t>
              </a:r>
              <a:r>
                <a:rPr lang="zh-CN" altLang="en-US" sz="1700" b="1" dirty="0">
                  <a:solidFill>
                    <a:srgbClr val="333399"/>
                  </a:solidFill>
                  <a:latin typeface="黑体" pitchFamily="49" charset="-122"/>
                  <a:ea typeface="黑体" pitchFamily="49" charset="-122"/>
                </a:rPr>
                <a:t>试剂</a:t>
              </a:r>
              <a:r>
                <a:rPr lang="en-US" altLang="zh-CN" sz="1700" b="1" dirty="0">
                  <a:solidFill>
                    <a:srgbClr val="333399"/>
                  </a:solidFill>
                  <a:latin typeface="黑体" pitchFamily="49" charset="-122"/>
                  <a:ea typeface="黑体" pitchFamily="49" charset="-122"/>
                </a:rPr>
                <a:t>/</a:t>
              </a:r>
              <a:r>
                <a:rPr lang="zh-CN" altLang="en-US" sz="1700" b="1" dirty="0">
                  <a:solidFill>
                    <a:srgbClr val="333399"/>
                  </a:solidFill>
                  <a:latin typeface="黑体" pitchFamily="49" charset="-122"/>
                  <a:ea typeface="黑体" pitchFamily="49" charset="-122"/>
                </a:rPr>
                <a:t>标准品</a:t>
              </a:r>
              <a:r>
                <a:rPr lang="en-US" altLang="zh-CN" sz="1700" b="1" dirty="0">
                  <a:solidFill>
                    <a:srgbClr val="333399"/>
                  </a:solidFill>
                  <a:latin typeface="黑体" pitchFamily="49" charset="-122"/>
                  <a:ea typeface="黑体" pitchFamily="49" charset="-122"/>
                </a:rPr>
                <a:t>/</a:t>
              </a:r>
              <a:r>
                <a:rPr lang="zh-CN" altLang="en-US" sz="1700" b="1" dirty="0">
                  <a:solidFill>
                    <a:srgbClr val="333399"/>
                  </a:solidFill>
                  <a:latin typeface="黑体" pitchFamily="49" charset="-122"/>
                  <a:ea typeface="黑体" pitchFamily="49" charset="-122"/>
                </a:rPr>
                <a:t>对照品管理</a:t>
              </a:r>
            </a:p>
            <a:p>
              <a:pPr marL="514350" lvl="1" indent="-171450" defTabSz="685800">
                <a:spcBef>
                  <a:spcPts val="375"/>
                </a:spcBef>
                <a:buFont typeface="Arial" pitchFamily="34" charset="0"/>
                <a:buChar char="•"/>
                <a:defRPr/>
              </a:pPr>
              <a:r>
                <a:rPr lang="zh-CN" altLang="en-US" sz="1400" dirty="0">
                  <a:latin typeface="微软雅黑" pitchFamily="34" charset="-122"/>
                  <a:ea typeface="微软雅黑" pitchFamily="34" charset="-122"/>
                </a:rPr>
                <a:t>支持多种库存策略</a:t>
              </a:r>
              <a:endParaRPr lang="en-US" altLang="zh-CN" sz="1400" dirty="0">
                <a:latin typeface="微软雅黑" pitchFamily="34" charset="-122"/>
                <a:ea typeface="微软雅黑" pitchFamily="34" charset="-122"/>
              </a:endParaRPr>
            </a:p>
            <a:p>
              <a:pPr marL="514350" lvl="1" indent="-171450" defTabSz="685800">
                <a:spcBef>
                  <a:spcPts val="375"/>
                </a:spcBef>
                <a:buFont typeface="Arial" pitchFamily="34" charset="0"/>
                <a:buChar char="•"/>
                <a:defRPr/>
              </a:pPr>
              <a:r>
                <a:rPr lang="zh-CN" altLang="en-US" sz="1400" dirty="0">
                  <a:latin typeface="微软雅黑" pitchFamily="34" charset="-122"/>
                  <a:ea typeface="微软雅黑" pitchFamily="34" charset="-122"/>
                </a:rPr>
                <a:t>全生命周期追踪</a:t>
              </a:r>
            </a:p>
          </p:txBody>
        </p:sp>
        <p:grpSp>
          <p:nvGrpSpPr>
            <p:cNvPr id="146" name="组合 20">
              <a:extLst>
                <a:ext uri="{FF2B5EF4-FFF2-40B4-BE49-F238E27FC236}">
                  <a16:creationId xmlns:a16="http://schemas.microsoft.com/office/drawing/2014/main" id="{992E634A-ACA4-4A0B-A1C7-F604204CB563}"/>
                </a:ext>
              </a:extLst>
            </p:cNvPr>
            <p:cNvGrpSpPr>
              <a:grpSpLocks/>
            </p:cNvGrpSpPr>
            <p:nvPr/>
          </p:nvGrpSpPr>
          <p:grpSpPr bwMode="auto">
            <a:xfrm>
              <a:off x="209532" y="1290589"/>
              <a:ext cx="3597293" cy="2520627"/>
              <a:chOff x="209532" y="1290589"/>
              <a:chExt cx="3597293" cy="2520627"/>
            </a:xfrm>
          </p:grpSpPr>
          <p:sp>
            <p:nvSpPr>
              <p:cNvPr id="147" name="Rectangle 3">
                <a:extLst>
                  <a:ext uri="{FF2B5EF4-FFF2-40B4-BE49-F238E27FC236}">
                    <a16:creationId xmlns:a16="http://schemas.microsoft.com/office/drawing/2014/main" id="{DCA48999-6FDA-4858-B679-2BD089563FFB}"/>
                  </a:ext>
                </a:extLst>
              </p:cNvPr>
              <p:cNvSpPr txBox="1">
                <a:spLocks noChangeArrowheads="1"/>
              </p:cNvSpPr>
              <p:nvPr/>
            </p:nvSpPr>
            <p:spPr>
              <a:xfrm>
                <a:off x="209532" y="1290589"/>
                <a:ext cx="3597294" cy="1593805"/>
              </a:xfrm>
              <a:prstGeom prst="rect">
                <a:avLst/>
              </a:prstGeom>
              <a:solidFill>
                <a:schemeClr val="bg1">
                  <a:lumMod val="85000"/>
                </a:schemeClr>
              </a:solidFill>
            </p:spPr>
            <p:txBody>
              <a:bodyPr>
                <a:normAutofit/>
              </a:bodyPr>
              <a:lstStyle>
                <a:lvl1pPr defTabSz="685800">
                  <a:spcBef>
                    <a:spcPct val="20000"/>
                  </a:spcBef>
                  <a:buChar char="•"/>
                  <a:defRPr sz="3200">
                    <a:solidFill>
                      <a:schemeClr val="tx1"/>
                    </a:solidFill>
                    <a:latin typeface="Arial" panose="020B0604020202020204" pitchFamily="34" charset="0"/>
                    <a:ea typeface="宋体" panose="02010600030101010101" pitchFamily="2" charset="-122"/>
                  </a:defRPr>
                </a:lvl1pPr>
                <a:lvl2pPr marL="514350" indent="-171450" defTabSz="685800">
                  <a:spcBef>
                    <a:spcPct val="20000"/>
                  </a:spcBef>
                  <a:buChar char="–"/>
                  <a:defRPr sz="2800">
                    <a:solidFill>
                      <a:schemeClr val="tx1"/>
                    </a:solidFill>
                    <a:latin typeface="Arial" panose="020B0604020202020204" pitchFamily="34" charset="0"/>
                    <a:ea typeface="宋体" panose="02010600030101010101" pitchFamily="2" charset="-122"/>
                  </a:defRPr>
                </a:lvl2pPr>
                <a:lvl3pPr marL="857250" indent="-171450" defTabSz="685800">
                  <a:spcBef>
                    <a:spcPct val="20000"/>
                  </a:spcBef>
                  <a:buChar char="•"/>
                  <a:defRPr sz="2400">
                    <a:solidFill>
                      <a:schemeClr val="tx1"/>
                    </a:solidFill>
                    <a:latin typeface="Arial" panose="020B0604020202020204" pitchFamily="34" charset="0"/>
                    <a:ea typeface="宋体" panose="02010600030101010101" pitchFamily="2" charset="-122"/>
                  </a:defRPr>
                </a:lvl3pPr>
                <a:lvl4pPr marL="1200150" indent="-171450" defTabSz="685800">
                  <a:spcBef>
                    <a:spcPct val="20000"/>
                  </a:spcBef>
                  <a:buChar char="–"/>
                  <a:defRPr sz="2000">
                    <a:solidFill>
                      <a:schemeClr val="tx1"/>
                    </a:solidFill>
                    <a:latin typeface="Arial" panose="020B0604020202020204" pitchFamily="34" charset="0"/>
                    <a:ea typeface="宋体" panose="02010600030101010101" pitchFamily="2" charset="-122"/>
                  </a:defRPr>
                </a:lvl4pPr>
                <a:lvl5pPr marL="1543050" indent="-171450" defTabSz="685800">
                  <a:spcBef>
                    <a:spcPct val="20000"/>
                  </a:spcBef>
                  <a:buChar char="»"/>
                  <a:defRPr sz="2000">
                    <a:solidFill>
                      <a:schemeClr val="tx1"/>
                    </a:solidFill>
                    <a:latin typeface="Arial" panose="020B0604020202020204" pitchFamily="34" charset="0"/>
                    <a:ea typeface="宋体" panose="02010600030101010101" pitchFamily="2" charset="-122"/>
                  </a:defRPr>
                </a:lvl5pPr>
                <a:lvl6pPr marL="2000250" indent="-171450" defTabSz="6858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457450" indent="-171450" defTabSz="6858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2914650" indent="-171450" defTabSz="6858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371850" indent="-171450" defTabSz="6858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ts val="750"/>
                  </a:spcBef>
                  <a:buFontTx/>
                  <a:buNone/>
                  <a:defRPr/>
                </a:pPr>
                <a:r>
                  <a:rPr lang="zh-CN" altLang="en-US" sz="2100" b="1">
                    <a:solidFill>
                      <a:srgbClr val="1C098D"/>
                    </a:solidFill>
                    <a:latin typeface="楷体_GB2312"/>
                    <a:ea typeface="楷体_GB2312"/>
                    <a:cs typeface="楷体_GB2312"/>
                  </a:rPr>
                  <a:t> </a:t>
                </a:r>
                <a:r>
                  <a:rPr lang="zh-CN" altLang="en-US" sz="2100" b="1">
                    <a:solidFill>
                      <a:srgbClr val="27B050"/>
                    </a:solidFill>
                    <a:latin typeface="楷体_GB2312"/>
                    <a:ea typeface="楷体_GB2312"/>
                    <a:cs typeface="楷体_GB2312"/>
                  </a:rPr>
                  <a:t> </a:t>
                </a:r>
                <a:r>
                  <a:rPr lang="zh-CN" altLang="en-US" sz="1800" b="1">
                    <a:solidFill>
                      <a:srgbClr val="333399"/>
                    </a:solidFill>
                    <a:latin typeface="黑体" panose="02010609060101010101" pitchFamily="49" charset="-122"/>
                    <a:ea typeface="黑体" panose="02010609060101010101" pitchFamily="49" charset="-122"/>
                  </a:rPr>
                  <a:t>成品稳定性检验</a:t>
                </a:r>
              </a:p>
              <a:p>
                <a:pPr lvl="1">
                  <a:spcBef>
                    <a:spcPts val="375"/>
                  </a:spcBef>
                  <a:buFont typeface="Arial" panose="020B0604020202020204" pitchFamily="34" charset="0"/>
                  <a:buChar char="•"/>
                  <a:defRPr/>
                </a:pPr>
                <a:r>
                  <a:rPr lang="zh-CN" altLang="en-US" sz="1500">
                    <a:latin typeface="微软雅黑" panose="020B0503020204020204" pitchFamily="34" charset="-122"/>
                    <a:ea typeface="微软雅黑" panose="020B0503020204020204" pitchFamily="34" charset="-122"/>
                  </a:rPr>
                  <a:t>追踪完成情况，自动提醒；</a:t>
                </a:r>
                <a:endParaRPr lang="en-US" altLang="zh-CN" sz="1500">
                  <a:latin typeface="微软雅黑" panose="020B0503020204020204" pitchFamily="34" charset="-122"/>
                  <a:ea typeface="微软雅黑" panose="020B0503020204020204" pitchFamily="34" charset="-122"/>
                </a:endParaRPr>
              </a:p>
              <a:p>
                <a:pPr lvl="1">
                  <a:spcBef>
                    <a:spcPts val="375"/>
                  </a:spcBef>
                  <a:buFont typeface="Arial" panose="020B0604020202020204" pitchFamily="34" charset="0"/>
                  <a:buChar char="•"/>
                  <a:defRPr/>
                </a:pPr>
                <a:r>
                  <a:rPr lang="zh-CN" altLang="en-US" sz="1500">
                    <a:latin typeface="微软雅黑" panose="020B0503020204020204" pitchFamily="34" charset="-122"/>
                    <a:ea typeface="微软雅黑" panose="020B0503020204020204" pitchFamily="34" charset="-122"/>
                  </a:rPr>
                  <a:t>提供多种稳定性趋势分析；</a:t>
                </a:r>
              </a:p>
              <a:p>
                <a:pPr lvl="1">
                  <a:spcBef>
                    <a:spcPts val="375"/>
                  </a:spcBef>
                  <a:buFont typeface="Arial" panose="020B0604020202020204" pitchFamily="34" charset="0"/>
                  <a:buChar char="•"/>
                  <a:defRPr/>
                </a:pPr>
                <a:r>
                  <a:rPr lang="zh-CN" altLang="en-US" sz="1500">
                    <a:latin typeface="微软雅黑" panose="020B0503020204020204" pitchFamily="34" charset="-122"/>
                    <a:ea typeface="微软雅黑" panose="020B0503020204020204" pitchFamily="34" charset="-122"/>
                  </a:rPr>
                  <a:t>自动产生取样任务；</a:t>
                </a:r>
                <a:endParaRPr lang="en-US" altLang="zh-CN" sz="1500">
                  <a:latin typeface="微软雅黑" panose="020B0503020204020204" pitchFamily="34" charset="-122"/>
                  <a:ea typeface="微软雅黑" panose="020B0503020204020204" pitchFamily="34" charset="-122"/>
                </a:endParaRPr>
              </a:p>
              <a:p>
                <a:pPr lvl="1">
                  <a:spcBef>
                    <a:spcPts val="375"/>
                  </a:spcBef>
                  <a:buFont typeface="Arial" panose="020B0604020202020204" pitchFamily="34" charset="0"/>
                  <a:buChar char="•"/>
                  <a:defRPr/>
                </a:pPr>
                <a:r>
                  <a:rPr lang="zh-CN" altLang="en-US" sz="1500">
                    <a:latin typeface="微软雅黑" panose="020B0503020204020204" pitchFamily="34" charset="-122"/>
                    <a:ea typeface="微软雅黑" panose="020B0503020204020204" pitchFamily="34" charset="-122"/>
                  </a:rPr>
                  <a:t>追踪样本使用情况，自动生成台帐</a:t>
                </a:r>
              </a:p>
              <a:p>
                <a:pPr lvl="1">
                  <a:lnSpc>
                    <a:spcPct val="70000"/>
                  </a:lnSpc>
                  <a:spcBef>
                    <a:spcPts val="375"/>
                  </a:spcBef>
                  <a:buFont typeface="Arial" panose="020B0604020202020204" pitchFamily="34" charset="0"/>
                  <a:buNone/>
                  <a:defRPr/>
                </a:pPr>
                <a:endParaRPr lang="en-US" altLang="zh-CN" sz="1500">
                  <a:solidFill>
                    <a:srgbClr val="990000"/>
                  </a:solidFill>
                  <a:latin typeface="楷体_GB2312"/>
                  <a:ea typeface="楷体_GB2312"/>
                  <a:cs typeface="楷体_GB2312"/>
                </a:endParaRPr>
              </a:p>
            </p:txBody>
          </p:sp>
          <p:sp>
            <p:nvSpPr>
              <p:cNvPr id="148" name="矩形 147">
                <a:extLst>
                  <a:ext uri="{FF2B5EF4-FFF2-40B4-BE49-F238E27FC236}">
                    <a16:creationId xmlns:a16="http://schemas.microsoft.com/office/drawing/2014/main" id="{10D9E948-209C-46EA-A39C-AB07806AED45}"/>
                  </a:ext>
                </a:extLst>
              </p:cNvPr>
              <p:cNvSpPr/>
              <p:nvPr/>
            </p:nvSpPr>
            <p:spPr>
              <a:xfrm>
                <a:off x="209532" y="2862170"/>
                <a:ext cx="3597294" cy="949298"/>
              </a:xfrm>
              <a:prstGeom prst="rect">
                <a:avLst/>
              </a:prstGeom>
              <a:solidFill>
                <a:schemeClr val="bg1">
                  <a:lumMod val="85000"/>
                </a:schemeClr>
              </a:solidFill>
            </p:spPr>
            <p:txBody>
              <a:bodyPr>
                <a:spAutoFit/>
              </a:bodyPr>
              <a:lstStyle/>
              <a:p>
                <a:pPr defTabSz="685800">
                  <a:spcBef>
                    <a:spcPts val="750"/>
                  </a:spcBef>
                  <a:defRPr/>
                </a:pPr>
                <a:r>
                  <a:rPr lang="zh-CN" altLang="en-US" sz="2100" b="1" dirty="0">
                    <a:solidFill>
                      <a:srgbClr val="27B050"/>
                    </a:solidFill>
                    <a:latin typeface="黑体" pitchFamily="49" charset="-122"/>
                    <a:ea typeface="黑体" pitchFamily="49" charset="-122"/>
                  </a:rPr>
                  <a:t> </a:t>
                </a:r>
                <a:r>
                  <a:rPr lang="zh-CN" altLang="en-US" sz="1700" b="1" dirty="0">
                    <a:solidFill>
                      <a:srgbClr val="27B050"/>
                    </a:solidFill>
                    <a:latin typeface="黑体" pitchFamily="49" charset="-122"/>
                    <a:ea typeface="黑体" pitchFamily="49" charset="-122"/>
                  </a:rPr>
                  <a:t> </a:t>
                </a:r>
                <a:r>
                  <a:rPr lang="zh-CN" altLang="en-US" sz="1700" b="1" dirty="0">
                    <a:solidFill>
                      <a:srgbClr val="333399"/>
                    </a:solidFill>
                    <a:latin typeface="黑体" pitchFamily="49" charset="-122"/>
                    <a:ea typeface="黑体" pitchFamily="49" charset="-122"/>
                  </a:rPr>
                  <a:t>留样管理</a:t>
                </a:r>
              </a:p>
              <a:p>
                <a:pPr marL="514350" lvl="1" indent="-171450" defTabSz="685800">
                  <a:spcBef>
                    <a:spcPts val="375"/>
                  </a:spcBef>
                  <a:buFont typeface="Arial" pitchFamily="34" charset="0"/>
                  <a:buChar char="•"/>
                  <a:defRPr/>
                </a:pPr>
                <a:r>
                  <a:rPr lang="zh-CN" altLang="en-US" sz="1400" dirty="0">
                    <a:latin typeface="微软雅黑" pitchFamily="34" charset="-122"/>
                    <a:ea typeface="微软雅黑" pitchFamily="34" charset="-122"/>
                  </a:rPr>
                  <a:t>自动产生检验任务；</a:t>
                </a:r>
              </a:p>
              <a:p>
                <a:pPr marL="514350" lvl="1" indent="-171450" defTabSz="685800">
                  <a:spcBef>
                    <a:spcPts val="375"/>
                  </a:spcBef>
                  <a:buFont typeface="Arial" pitchFamily="34" charset="0"/>
                  <a:buChar char="•"/>
                  <a:defRPr/>
                </a:pPr>
                <a:r>
                  <a:rPr lang="zh-CN" altLang="en-US" sz="1400" dirty="0">
                    <a:latin typeface="微软雅黑" pitchFamily="34" charset="-122"/>
                    <a:ea typeface="微软雅黑" pitchFamily="34" charset="-122"/>
                  </a:rPr>
                  <a:t>追踪执行情况</a:t>
                </a:r>
              </a:p>
            </p:txBody>
          </p:sp>
        </p:grpSp>
      </p:grpSp>
      <p:pic>
        <p:nvPicPr>
          <p:cNvPr id="149" name="Picture 2">
            <a:extLst>
              <a:ext uri="{FF2B5EF4-FFF2-40B4-BE49-F238E27FC236}">
                <a16:creationId xmlns:a16="http://schemas.microsoft.com/office/drawing/2014/main" id="{AE4E8BE8-4572-43DA-B533-23261ADC07B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92358" y="1892960"/>
            <a:ext cx="5080000" cy="3097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0" name="Picture 3">
            <a:extLst>
              <a:ext uri="{FF2B5EF4-FFF2-40B4-BE49-F238E27FC236}">
                <a16:creationId xmlns:a16="http://schemas.microsoft.com/office/drawing/2014/main" id="{632F6984-DBE9-4079-BD6F-561440F5ECA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79971" y="4269447"/>
            <a:ext cx="2584450" cy="2052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8" y="114300"/>
            <a:ext cx="3644472"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3600" b="1" dirty="0">
                <a:solidFill>
                  <a:srgbClr val="0070C0"/>
                </a:solidFill>
                <a:latin typeface="+mj-ea"/>
                <a:ea typeface="+mj-ea"/>
              </a:rPr>
              <a:t>WMS</a:t>
            </a:r>
            <a:endParaRPr lang="zh-CN" altLang="en-US" sz="3600" b="1" dirty="0">
              <a:solidFill>
                <a:srgbClr val="0070C0"/>
              </a:solidFill>
              <a:latin typeface="+mj-ea"/>
              <a:ea typeface="+mj-ea"/>
            </a:endParaRPr>
          </a:p>
        </p:txBody>
      </p:sp>
      <p:pic>
        <p:nvPicPr>
          <p:cNvPr id="20" name="Picture 1">
            <a:extLst>
              <a:ext uri="{FF2B5EF4-FFF2-40B4-BE49-F238E27FC236}">
                <a16:creationId xmlns:a16="http://schemas.microsoft.com/office/drawing/2014/main" id="{6DE5FD71-08B2-4E8F-AF5B-D1AC58311953}"/>
              </a:ext>
            </a:extLst>
          </p:cNvPr>
          <p:cNvPicPr>
            <a:picLocks noChangeAspect="1" noChangeArrowheads="1"/>
          </p:cNvPicPr>
          <p:nvPr/>
        </p:nvPicPr>
        <p:blipFill>
          <a:blip r:embed="rId3" cstate="print"/>
          <a:srcRect/>
          <a:stretch>
            <a:fillRect/>
          </a:stretch>
        </p:blipFill>
        <p:spPr bwMode="auto">
          <a:xfrm>
            <a:off x="4441301" y="1215780"/>
            <a:ext cx="6715140" cy="4867271"/>
          </a:xfrm>
          <a:prstGeom prst="rect">
            <a:avLst/>
          </a:prstGeom>
          <a:noFill/>
          <a:ln w="9525">
            <a:noFill/>
            <a:miter lim="800000"/>
            <a:headEnd/>
            <a:tailEnd/>
          </a:ln>
          <a:effectLst/>
        </p:spPr>
      </p:pic>
      <p:sp>
        <p:nvSpPr>
          <p:cNvPr id="21" name="TextBox 12">
            <a:extLst>
              <a:ext uri="{FF2B5EF4-FFF2-40B4-BE49-F238E27FC236}">
                <a16:creationId xmlns:a16="http://schemas.microsoft.com/office/drawing/2014/main" id="{3B608C5C-4AC1-4502-9CEA-E57545E3F55E}"/>
              </a:ext>
            </a:extLst>
          </p:cNvPr>
          <p:cNvSpPr txBox="1">
            <a:spLocks noChangeArrowheads="1"/>
          </p:cNvSpPr>
          <p:nvPr/>
        </p:nvSpPr>
        <p:spPr bwMode="auto">
          <a:xfrm>
            <a:off x="635428" y="1487366"/>
            <a:ext cx="2071688" cy="369332"/>
          </a:xfrm>
          <a:prstGeom prst="rect">
            <a:avLst/>
          </a:prstGeom>
          <a:noFill/>
          <a:ln w="9525">
            <a:noFill/>
            <a:miter lim="800000"/>
            <a:headEnd/>
            <a:tailEnd/>
          </a:ln>
        </p:spPr>
        <p:txBody>
          <a:bodyPr>
            <a:spAutoFit/>
          </a:bodyPr>
          <a:lstStyle/>
          <a:p>
            <a:pPr eaLnBrk="1" hangingPunct="1">
              <a:buFont typeface="Wingdings" pitchFamily="2" charset="2"/>
              <a:buChar char="Ø"/>
            </a:pPr>
            <a:r>
              <a:rPr lang="zh-CN" altLang="en-US" sz="1800" dirty="0">
                <a:solidFill>
                  <a:srgbClr val="0070C0"/>
                </a:solidFill>
              </a:rPr>
              <a:t>  </a:t>
            </a:r>
            <a:r>
              <a:rPr lang="zh-CN" altLang="en-US" sz="1800" b="1" dirty="0">
                <a:solidFill>
                  <a:srgbClr val="0070C0"/>
                </a:solidFill>
                <a:latin typeface="+mn-ea"/>
                <a:ea typeface="+mn-ea"/>
              </a:rPr>
              <a:t>货位状态</a:t>
            </a:r>
          </a:p>
        </p:txBody>
      </p:sp>
      <p:sp>
        <p:nvSpPr>
          <p:cNvPr id="22" name="TextBox 12">
            <a:extLst>
              <a:ext uri="{FF2B5EF4-FFF2-40B4-BE49-F238E27FC236}">
                <a16:creationId xmlns:a16="http://schemas.microsoft.com/office/drawing/2014/main" id="{1939F486-9BA8-4CEE-89C2-F6BBE4348426}"/>
              </a:ext>
            </a:extLst>
          </p:cNvPr>
          <p:cNvSpPr txBox="1">
            <a:spLocks noChangeArrowheads="1"/>
          </p:cNvSpPr>
          <p:nvPr/>
        </p:nvSpPr>
        <p:spPr bwMode="auto">
          <a:xfrm>
            <a:off x="635428" y="2056388"/>
            <a:ext cx="2071688" cy="369332"/>
          </a:xfrm>
          <a:prstGeom prst="rect">
            <a:avLst/>
          </a:prstGeom>
          <a:noFill/>
          <a:ln w="9525">
            <a:noFill/>
            <a:miter lim="800000"/>
            <a:headEnd/>
            <a:tailEnd/>
          </a:ln>
        </p:spPr>
        <p:txBody>
          <a:bodyPr>
            <a:spAutoFit/>
          </a:bodyPr>
          <a:lstStyle/>
          <a:p>
            <a:pPr marL="285750" indent="-285750">
              <a:buFont typeface="Wingdings" pitchFamily="2" charset="2"/>
              <a:buChar char="Ø"/>
            </a:pPr>
            <a:r>
              <a:rPr lang="zh-CN" altLang="en-US" b="1" dirty="0">
                <a:solidFill>
                  <a:srgbClr val="0070C0"/>
                </a:solidFill>
                <a:latin typeface="+mn-ea"/>
                <a:ea typeface="+mn-ea"/>
              </a:rPr>
              <a:t> 库存信息</a:t>
            </a:r>
            <a:r>
              <a:rPr lang="en-US" altLang="zh-CN" b="1" dirty="0">
                <a:solidFill>
                  <a:srgbClr val="0070C0"/>
                </a:solidFill>
                <a:latin typeface="+mn-ea"/>
                <a:ea typeface="+mn-ea"/>
              </a:rPr>
              <a:t> </a:t>
            </a:r>
            <a:endParaRPr lang="zh-CN" altLang="en-US" b="1" dirty="0">
              <a:solidFill>
                <a:srgbClr val="0070C0"/>
              </a:solidFill>
              <a:latin typeface="+mn-ea"/>
              <a:ea typeface="+mn-ea"/>
            </a:endParaRPr>
          </a:p>
        </p:txBody>
      </p:sp>
      <p:sp>
        <p:nvSpPr>
          <p:cNvPr id="23" name="TextBox 12">
            <a:extLst>
              <a:ext uri="{FF2B5EF4-FFF2-40B4-BE49-F238E27FC236}">
                <a16:creationId xmlns:a16="http://schemas.microsoft.com/office/drawing/2014/main" id="{539340AB-279B-47E8-8F3A-B7ACF8DED6C7}"/>
              </a:ext>
            </a:extLst>
          </p:cNvPr>
          <p:cNvSpPr txBox="1">
            <a:spLocks noChangeArrowheads="1"/>
          </p:cNvSpPr>
          <p:nvPr/>
        </p:nvSpPr>
        <p:spPr bwMode="auto">
          <a:xfrm>
            <a:off x="635428" y="2692179"/>
            <a:ext cx="2071688" cy="369332"/>
          </a:xfrm>
          <a:prstGeom prst="rect">
            <a:avLst/>
          </a:prstGeom>
          <a:noFill/>
          <a:ln w="9525">
            <a:noFill/>
            <a:miter lim="800000"/>
            <a:headEnd/>
            <a:tailEnd/>
          </a:ln>
        </p:spPr>
        <p:txBody>
          <a:bodyPr>
            <a:spAutoFit/>
          </a:bodyPr>
          <a:lstStyle/>
          <a:p>
            <a:pPr eaLnBrk="1" hangingPunct="1">
              <a:buFont typeface="Wingdings" pitchFamily="2" charset="2"/>
              <a:buChar char="Ø"/>
            </a:pPr>
            <a:r>
              <a:rPr lang="zh-CN" altLang="en-US" sz="1800" b="1" dirty="0">
                <a:solidFill>
                  <a:srgbClr val="0070C0"/>
                </a:solidFill>
                <a:latin typeface="+mn-ea"/>
                <a:ea typeface="+mn-ea"/>
              </a:rPr>
              <a:t>  出入库记录</a:t>
            </a:r>
          </a:p>
        </p:txBody>
      </p:sp>
      <p:sp>
        <p:nvSpPr>
          <p:cNvPr id="24" name="TextBox 12">
            <a:extLst>
              <a:ext uri="{FF2B5EF4-FFF2-40B4-BE49-F238E27FC236}">
                <a16:creationId xmlns:a16="http://schemas.microsoft.com/office/drawing/2014/main" id="{AABEFBBE-24D6-4123-B8E3-1D72AD866791}"/>
              </a:ext>
            </a:extLst>
          </p:cNvPr>
          <p:cNvSpPr txBox="1">
            <a:spLocks noChangeArrowheads="1"/>
          </p:cNvSpPr>
          <p:nvPr/>
        </p:nvSpPr>
        <p:spPr bwMode="auto">
          <a:xfrm>
            <a:off x="631301" y="3403318"/>
            <a:ext cx="3810000" cy="369332"/>
          </a:xfrm>
          <a:prstGeom prst="rect">
            <a:avLst/>
          </a:prstGeom>
          <a:noFill/>
          <a:ln w="9525">
            <a:noFill/>
            <a:miter lim="800000"/>
            <a:headEnd/>
            <a:tailEnd/>
          </a:ln>
        </p:spPr>
        <p:txBody>
          <a:bodyPr wrap="square">
            <a:spAutoFit/>
          </a:bodyPr>
          <a:lstStyle/>
          <a:p>
            <a:pPr eaLnBrk="1" hangingPunct="1">
              <a:buFont typeface="Wingdings" pitchFamily="2" charset="2"/>
              <a:buChar char="Ø"/>
            </a:pPr>
            <a:r>
              <a:rPr lang="zh-CN" altLang="en-US" sz="1800" dirty="0">
                <a:solidFill>
                  <a:srgbClr val="0070C0"/>
                </a:solidFill>
                <a:latin typeface="+mn-ea"/>
                <a:ea typeface="+mn-ea"/>
              </a:rPr>
              <a:t>  </a:t>
            </a:r>
            <a:r>
              <a:rPr lang="zh-CN" altLang="en-US" sz="1800" b="1" dirty="0">
                <a:solidFill>
                  <a:srgbClr val="0070C0"/>
                </a:solidFill>
                <a:latin typeface="+mn-ea"/>
                <a:ea typeface="+mn-ea"/>
              </a:rPr>
              <a:t>订单的</a:t>
            </a:r>
            <a:r>
              <a:rPr lang="zh-CN" altLang="en-US" b="1" dirty="0">
                <a:solidFill>
                  <a:srgbClr val="0070C0"/>
                </a:solidFill>
                <a:latin typeface="+mn-ea"/>
                <a:ea typeface="+mn-ea"/>
              </a:rPr>
              <a:t>查询、</a:t>
            </a:r>
            <a:r>
              <a:rPr lang="zh-CN" altLang="en-US" sz="1800" b="1" dirty="0">
                <a:solidFill>
                  <a:srgbClr val="0070C0"/>
                </a:solidFill>
                <a:latin typeface="+mn-ea"/>
                <a:ea typeface="+mn-ea"/>
              </a:rPr>
              <a:t>拆解、执行</a:t>
            </a:r>
          </a:p>
        </p:txBody>
      </p:sp>
      <p:sp>
        <p:nvSpPr>
          <p:cNvPr id="26" name="TextBox 12">
            <a:extLst>
              <a:ext uri="{FF2B5EF4-FFF2-40B4-BE49-F238E27FC236}">
                <a16:creationId xmlns:a16="http://schemas.microsoft.com/office/drawing/2014/main" id="{DEFB32BA-8FF2-4B47-A6EC-15BF7D2FB593}"/>
              </a:ext>
            </a:extLst>
          </p:cNvPr>
          <p:cNvSpPr txBox="1">
            <a:spLocks noChangeArrowheads="1"/>
          </p:cNvSpPr>
          <p:nvPr/>
        </p:nvSpPr>
        <p:spPr bwMode="auto">
          <a:xfrm>
            <a:off x="631301" y="4112778"/>
            <a:ext cx="3810000" cy="369332"/>
          </a:xfrm>
          <a:prstGeom prst="rect">
            <a:avLst/>
          </a:prstGeom>
          <a:noFill/>
          <a:ln w="9525">
            <a:noFill/>
            <a:miter lim="800000"/>
            <a:headEnd/>
            <a:tailEnd/>
          </a:ln>
        </p:spPr>
        <p:txBody>
          <a:bodyPr wrap="square">
            <a:spAutoFit/>
          </a:bodyPr>
          <a:lstStyle/>
          <a:p>
            <a:pPr eaLnBrk="1" hangingPunct="1">
              <a:buFont typeface="Wingdings" pitchFamily="2" charset="2"/>
              <a:buChar char="Ø"/>
            </a:pPr>
            <a:r>
              <a:rPr lang="zh-CN" altLang="en-US" sz="1800" dirty="0">
                <a:solidFill>
                  <a:srgbClr val="0070C0"/>
                </a:solidFill>
              </a:rPr>
              <a:t>  </a:t>
            </a:r>
            <a:r>
              <a:rPr lang="zh-CN" altLang="en-US" b="1" dirty="0">
                <a:solidFill>
                  <a:srgbClr val="0070C0"/>
                </a:solidFill>
                <a:latin typeface="+mn-ea"/>
                <a:ea typeface="+mn-ea"/>
              </a:rPr>
              <a:t>动态库位显示</a:t>
            </a:r>
          </a:p>
        </p:txBody>
      </p:sp>
    </p:spTree>
    <p:extLst>
      <p:ext uri="{BB962C8B-B14F-4D97-AF65-F5344CB8AC3E}">
        <p14:creationId xmlns:p14="http://schemas.microsoft.com/office/powerpoint/2010/main" val="298411765"/>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8" y="114300"/>
            <a:ext cx="3644472"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3600" b="1" dirty="0">
                <a:solidFill>
                  <a:srgbClr val="0070C0"/>
                </a:solidFill>
                <a:latin typeface="+mj-ea"/>
                <a:ea typeface="+mj-ea"/>
              </a:rPr>
              <a:t>MES-</a:t>
            </a:r>
            <a:r>
              <a:rPr lang="zh-CN" altLang="en-US" sz="3600" b="1" dirty="0">
                <a:solidFill>
                  <a:srgbClr val="0070C0"/>
                </a:solidFill>
                <a:latin typeface="+mj-ea"/>
                <a:ea typeface="+mj-ea"/>
              </a:rPr>
              <a:t>物料管控</a:t>
            </a:r>
          </a:p>
        </p:txBody>
      </p:sp>
      <p:pic>
        <p:nvPicPr>
          <p:cNvPr id="6" name="Picture 3">
            <a:extLst>
              <a:ext uri="{FF2B5EF4-FFF2-40B4-BE49-F238E27FC236}">
                <a16:creationId xmlns:a16="http://schemas.microsoft.com/office/drawing/2014/main" id="{18E77AB9-C9C9-42D5-9B29-DF2BA3C3D4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503" y="2500361"/>
            <a:ext cx="6521744" cy="38951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a:extLst>
              <a:ext uri="{FF2B5EF4-FFF2-40B4-BE49-F238E27FC236}">
                <a16:creationId xmlns:a16="http://schemas.microsoft.com/office/drawing/2014/main" id="{1CBA3053-2702-464A-B885-78183B5F81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6536" y="1358131"/>
            <a:ext cx="4446898" cy="2284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3">
            <a:extLst>
              <a:ext uri="{FF2B5EF4-FFF2-40B4-BE49-F238E27FC236}">
                <a16:creationId xmlns:a16="http://schemas.microsoft.com/office/drawing/2014/main" id="{01F74082-3A7E-4C4E-838A-B84C7285D1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49958" y="3642592"/>
            <a:ext cx="3940053" cy="28654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矩形 1">
            <a:extLst>
              <a:ext uri="{FF2B5EF4-FFF2-40B4-BE49-F238E27FC236}">
                <a16:creationId xmlns:a16="http://schemas.microsoft.com/office/drawing/2014/main" id="{90130A1B-E953-40CE-ACE2-B1C8BF1860D8}"/>
              </a:ext>
            </a:extLst>
          </p:cNvPr>
          <p:cNvSpPr>
            <a:spLocks noChangeArrowheads="1"/>
          </p:cNvSpPr>
          <p:nvPr/>
        </p:nvSpPr>
        <p:spPr bwMode="auto">
          <a:xfrm>
            <a:off x="268386" y="1093837"/>
            <a:ext cx="795655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r>
              <a:rPr lang="zh-CN" altLang="en-US" sz="1800" b="1" dirty="0">
                <a:latin typeface="+mn-ea"/>
                <a:ea typeface="+mn-ea"/>
              </a:rPr>
              <a:t>物料流是生产管理的重要环节，</a:t>
            </a:r>
            <a:r>
              <a:rPr lang="en-US" altLang="zh-CN" sz="1800" b="1" dirty="0">
                <a:latin typeface="+mn-ea"/>
                <a:ea typeface="+mn-ea"/>
              </a:rPr>
              <a:t>MES</a:t>
            </a:r>
            <a:r>
              <a:rPr lang="zh-CN" altLang="en-US" sz="1800" b="1" dirty="0">
                <a:latin typeface="+mn-ea"/>
                <a:ea typeface="+mn-ea"/>
              </a:rPr>
              <a:t>系统可构建全生命周期物料管理系统，物料管理数字化是实现电子批记录的基础</a:t>
            </a:r>
            <a:endParaRPr lang="zh-CN" altLang="zh-CN" sz="1800" b="1" dirty="0"/>
          </a:p>
        </p:txBody>
      </p:sp>
    </p:spTree>
    <p:extLst>
      <p:ext uri="{BB962C8B-B14F-4D97-AF65-F5344CB8AC3E}">
        <p14:creationId xmlns:p14="http://schemas.microsoft.com/office/powerpoint/2010/main" val="413580712"/>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8" y="114300"/>
            <a:ext cx="3644472"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3600" b="1" dirty="0">
                <a:solidFill>
                  <a:srgbClr val="0070C0"/>
                </a:solidFill>
                <a:latin typeface="+mj-ea"/>
                <a:ea typeface="+mj-ea"/>
              </a:rPr>
              <a:t>MES-</a:t>
            </a:r>
            <a:r>
              <a:rPr lang="zh-CN" altLang="en-US" sz="3600" b="1" dirty="0">
                <a:solidFill>
                  <a:srgbClr val="0070C0"/>
                </a:solidFill>
                <a:latin typeface="+mj-ea"/>
                <a:ea typeface="+mj-ea"/>
              </a:rPr>
              <a:t>称重</a:t>
            </a:r>
          </a:p>
        </p:txBody>
      </p:sp>
      <p:sp>
        <p:nvSpPr>
          <p:cNvPr id="9" name="Text Box 20">
            <a:extLst>
              <a:ext uri="{FF2B5EF4-FFF2-40B4-BE49-F238E27FC236}">
                <a16:creationId xmlns:a16="http://schemas.microsoft.com/office/drawing/2014/main" id="{78C0DF5D-E2C8-467C-B871-0E030837C37E}"/>
              </a:ext>
            </a:extLst>
          </p:cNvPr>
          <p:cNvSpPr txBox="1">
            <a:spLocks noChangeArrowheads="1"/>
          </p:cNvSpPr>
          <p:nvPr/>
        </p:nvSpPr>
        <p:spPr bwMode="auto">
          <a:xfrm>
            <a:off x="9892397" y="6307675"/>
            <a:ext cx="11430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r>
              <a:rPr lang="zh-CN" altLang="en-US" sz="1200" b="1"/>
              <a:t>中国驰名商标</a:t>
            </a:r>
            <a:endParaRPr lang="zh-CN" altLang="en-US" sz="1800"/>
          </a:p>
        </p:txBody>
      </p:sp>
      <p:pic>
        <p:nvPicPr>
          <p:cNvPr id="10" name="Picture 2">
            <a:extLst>
              <a:ext uri="{FF2B5EF4-FFF2-40B4-BE49-F238E27FC236}">
                <a16:creationId xmlns:a16="http://schemas.microsoft.com/office/drawing/2014/main" id="{343731F4-4548-4603-BC67-9C332A47F52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8291" y="1078311"/>
            <a:ext cx="9424328" cy="5504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矩形 2">
            <a:extLst>
              <a:ext uri="{FF2B5EF4-FFF2-40B4-BE49-F238E27FC236}">
                <a16:creationId xmlns:a16="http://schemas.microsoft.com/office/drawing/2014/main" id="{02CD10EF-AAA3-44E1-8ADD-6E96C6090670}"/>
              </a:ext>
            </a:extLst>
          </p:cNvPr>
          <p:cNvSpPr>
            <a:spLocks noChangeArrowheads="1"/>
          </p:cNvSpPr>
          <p:nvPr/>
        </p:nvSpPr>
        <p:spPr bwMode="auto">
          <a:xfrm>
            <a:off x="479474" y="934952"/>
            <a:ext cx="11080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r>
              <a:rPr lang="zh-CN" altLang="en-US" sz="1800" dirty="0">
                <a:latin typeface="+mn-ea"/>
                <a:ea typeface="+mn-ea"/>
              </a:rPr>
              <a:t>称重管理</a:t>
            </a:r>
          </a:p>
        </p:txBody>
      </p:sp>
    </p:spTree>
    <p:extLst>
      <p:ext uri="{BB962C8B-B14F-4D97-AF65-F5344CB8AC3E}">
        <p14:creationId xmlns:p14="http://schemas.microsoft.com/office/powerpoint/2010/main" val="2512386108"/>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文本框 14"/>
          <p:cNvSpPr txBox="1">
            <a:spLocks noChangeArrowheads="1"/>
          </p:cNvSpPr>
          <p:nvPr/>
        </p:nvSpPr>
        <p:spPr bwMode="auto">
          <a:xfrm>
            <a:off x="1073150" y="-63500"/>
            <a:ext cx="908050" cy="830263"/>
          </a:xfrm>
          <a:prstGeom prst="rect">
            <a:avLst/>
          </a:prstGeom>
          <a:noFill/>
          <a:ln w="9525">
            <a:noFill/>
            <a:miter lim="800000"/>
            <a:headEnd/>
            <a:tailEnd/>
          </a:ln>
        </p:spPr>
        <p:txBody>
          <a:bodyPr>
            <a:spAutoFit/>
          </a:bodyPr>
          <a:lstStyle/>
          <a:p>
            <a:r>
              <a:rPr lang="en-US" altLang="zh-CN" sz="4800" b="1">
                <a:solidFill>
                  <a:schemeClr val="bg1"/>
                </a:solidFill>
                <a:latin typeface="微软雅黑" pitchFamily="34" charset="-122"/>
                <a:ea typeface="微软雅黑" pitchFamily="34" charset="-122"/>
              </a:rPr>
              <a:t>1</a:t>
            </a:r>
            <a:endParaRPr lang="zh-CN" altLang="en-US" sz="4800" b="1">
              <a:solidFill>
                <a:schemeClr val="bg1"/>
              </a:solidFill>
              <a:latin typeface="微软雅黑" pitchFamily="34" charset="-122"/>
              <a:ea typeface="微软雅黑" pitchFamily="34" charset="-122"/>
            </a:endParaRPr>
          </a:p>
        </p:txBody>
      </p:sp>
      <p:sp>
        <p:nvSpPr>
          <p:cNvPr id="45" name="TextBox 13">
            <a:extLst>
              <a:ext uri="{FF2B5EF4-FFF2-40B4-BE49-F238E27FC236}">
                <a16:creationId xmlns:a16="http://schemas.microsoft.com/office/drawing/2014/main" id="{9A54A939-5F2E-4726-BBC0-5E648E5AF170}"/>
              </a:ext>
            </a:extLst>
          </p:cNvPr>
          <p:cNvSpPr txBox="1">
            <a:spLocks noChangeArrowheads="1"/>
          </p:cNvSpPr>
          <p:nvPr/>
        </p:nvSpPr>
        <p:spPr bwMode="auto">
          <a:xfrm>
            <a:off x="572085" y="136187"/>
            <a:ext cx="645266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algn="ctr">
              <a:defRPr/>
            </a:pPr>
            <a:r>
              <a:rPr lang="zh-CN" altLang="en-US" sz="3600" dirty="0">
                <a:solidFill>
                  <a:srgbClr val="0070C0"/>
                </a:solidFill>
                <a:latin typeface="+mj-ea"/>
                <a:ea typeface="+mj-ea"/>
              </a:rPr>
              <a:t>中国制造业面临大变局时代</a:t>
            </a:r>
          </a:p>
        </p:txBody>
      </p:sp>
      <p:sp>
        <p:nvSpPr>
          <p:cNvPr id="3" name="矩形 2">
            <a:extLst>
              <a:ext uri="{FF2B5EF4-FFF2-40B4-BE49-F238E27FC236}">
                <a16:creationId xmlns:a16="http://schemas.microsoft.com/office/drawing/2014/main" id="{0ACED2B7-BB85-406D-9965-18433F02E625}"/>
              </a:ext>
            </a:extLst>
          </p:cNvPr>
          <p:cNvSpPr/>
          <p:nvPr/>
        </p:nvSpPr>
        <p:spPr>
          <a:xfrm>
            <a:off x="572085" y="1313880"/>
            <a:ext cx="6785318" cy="2031325"/>
          </a:xfrm>
          <a:prstGeom prst="rect">
            <a:avLst/>
          </a:prstGeom>
        </p:spPr>
        <p:txBody>
          <a:bodyPr wrap="square">
            <a:spAutoFit/>
          </a:bodyPr>
          <a:lstStyle/>
          <a:p>
            <a:r>
              <a:rPr lang="zh-CN" altLang="en-US" b="1" dirty="0"/>
              <a:t>第一步：</a:t>
            </a:r>
            <a:r>
              <a:rPr lang="zh-CN" altLang="en-US" dirty="0"/>
              <a:t>力争用十年时间，迈入制造强国行列。</a:t>
            </a:r>
          </a:p>
          <a:p>
            <a:r>
              <a:rPr lang="zh-CN" altLang="en-US" b="1" dirty="0">
                <a:solidFill>
                  <a:srgbClr val="FF0000"/>
                </a:solidFill>
              </a:rPr>
              <a:t>到</a:t>
            </a:r>
            <a:r>
              <a:rPr lang="en-US" altLang="zh-CN" b="1" dirty="0">
                <a:solidFill>
                  <a:srgbClr val="FF0000"/>
                </a:solidFill>
              </a:rPr>
              <a:t>2020</a:t>
            </a:r>
            <a:r>
              <a:rPr lang="zh-CN" altLang="en-US" b="1" dirty="0">
                <a:solidFill>
                  <a:srgbClr val="FF0000"/>
                </a:solidFill>
              </a:rPr>
              <a:t>年，基本实现工业化</a:t>
            </a:r>
            <a:r>
              <a:rPr lang="zh-CN" altLang="en-US" dirty="0"/>
              <a:t>，制造业大国地位进一</a:t>
            </a:r>
            <a:endParaRPr lang="en-US" altLang="zh-CN" dirty="0"/>
          </a:p>
          <a:p>
            <a:r>
              <a:rPr lang="zh-CN" altLang="en-US" dirty="0"/>
              <a:t>步巩固，制造业信息化水平大幅提升。产品质量有</a:t>
            </a:r>
            <a:endParaRPr lang="en-US" altLang="zh-CN" dirty="0"/>
          </a:p>
          <a:p>
            <a:r>
              <a:rPr lang="zh-CN" altLang="en-US" dirty="0"/>
              <a:t>较大提高。</a:t>
            </a:r>
            <a:r>
              <a:rPr lang="zh-CN" altLang="en-US" b="1" dirty="0">
                <a:solidFill>
                  <a:srgbClr val="FF0000"/>
                </a:solidFill>
              </a:rPr>
              <a:t>制造业数字化、网络化、智能化取得明</a:t>
            </a:r>
            <a:endParaRPr lang="en-US" altLang="zh-CN" b="1" dirty="0">
              <a:solidFill>
                <a:srgbClr val="FF0000"/>
              </a:solidFill>
            </a:endParaRPr>
          </a:p>
          <a:p>
            <a:r>
              <a:rPr lang="zh-CN" altLang="en-US" b="1" dirty="0">
                <a:solidFill>
                  <a:srgbClr val="FF0000"/>
                </a:solidFill>
              </a:rPr>
              <a:t>显进展</a:t>
            </a:r>
            <a:r>
              <a:rPr lang="zh-CN" altLang="en-US" dirty="0"/>
              <a:t>。</a:t>
            </a:r>
            <a:r>
              <a:rPr lang="en-US" altLang="zh-CN" dirty="0"/>
              <a:t>2025</a:t>
            </a:r>
            <a:r>
              <a:rPr lang="zh-CN" altLang="en-US" dirty="0"/>
              <a:t>年，制造业整体素质大幅提升，创新</a:t>
            </a:r>
            <a:endParaRPr lang="en-US" altLang="zh-CN" dirty="0"/>
          </a:p>
          <a:p>
            <a:r>
              <a:rPr lang="zh-CN" altLang="en-US" dirty="0"/>
              <a:t>能力显著增强，全员劳动生产率明显提高，两化融</a:t>
            </a:r>
            <a:endParaRPr lang="en-US" altLang="zh-CN" dirty="0"/>
          </a:p>
          <a:p>
            <a:r>
              <a:rPr lang="zh-CN" altLang="en-US" dirty="0"/>
              <a:t>合迈上新台阶。</a:t>
            </a:r>
          </a:p>
        </p:txBody>
      </p:sp>
      <p:sp>
        <p:nvSpPr>
          <p:cNvPr id="6" name="矩形 5">
            <a:extLst>
              <a:ext uri="{FF2B5EF4-FFF2-40B4-BE49-F238E27FC236}">
                <a16:creationId xmlns:a16="http://schemas.microsoft.com/office/drawing/2014/main" id="{6846E05E-186C-4F5E-94D6-49532C014F4C}"/>
              </a:ext>
            </a:extLst>
          </p:cNvPr>
          <p:cNvSpPr/>
          <p:nvPr/>
        </p:nvSpPr>
        <p:spPr>
          <a:xfrm>
            <a:off x="572085" y="3338818"/>
            <a:ext cx="6096000" cy="1200329"/>
          </a:xfrm>
          <a:prstGeom prst="rect">
            <a:avLst/>
          </a:prstGeom>
        </p:spPr>
        <p:txBody>
          <a:bodyPr>
            <a:spAutoFit/>
          </a:bodyPr>
          <a:lstStyle/>
          <a:p>
            <a:r>
              <a:rPr lang="zh-CN" altLang="en-US" b="1" dirty="0"/>
              <a:t>第二步：</a:t>
            </a:r>
            <a:r>
              <a:rPr lang="zh-CN" altLang="en-US" dirty="0"/>
              <a:t>到</a:t>
            </a:r>
            <a:r>
              <a:rPr lang="en-US" altLang="zh-CN" dirty="0"/>
              <a:t>2035</a:t>
            </a:r>
            <a:r>
              <a:rPr lang="zh-CN" altLang="en-US" dirty="0"/>
              <a:t>年，我国制造业</a:t>
            </a:r>
            <a:r>
              <a:rPr lang="zh-CN" altLang="en-US" b="1" dirty="0">
                <a:solidFill>
                  <a:srgbClr val="FF0000"/>
                </a:solidFill>
              </a:rPr>
              <a:t>整体达到世界制造</a:t>
            </a:r>
            <a:endParaRPr lang="en-US" altLang="zh-CN" b="1" dirty="0">
              <a:solidFill>
                <a:srgbClr val="FF0000"/>
              </a:solidFill>
            </a:endParaRPr>
          </a:p>
          <a:p>
            <a:r>
              <a:rPr lang="zh-CN" altLang="en-US" b="1" dirty="0">
                <a:solidFill>
                  <a:srgbClr val="FF0000"/>
                </a:solidFill>
              </a:rPr>
              <a:t>强国阵营中等水平</a:t>
            </a:r>
            <a:r>
              <a:rPr lang="zh-CN" altLang="en-US" dirty="0"/>
              <a:t>。创新能力大幅提升，重点领域</a:t>
            </a:r>
            <a:endParaRPr lang="en-US" altLang="zh-CN" dirty="0"/>
          </a:p>
          <a:p>
            <a:r>
              <a:rPr lang="zh-CN" altLang="en-US" dirty="0"/>
              <a:t>发展取得重大突破，整体竞争力明显增强，优势行</a:t>
            </a:r>
            <a:endParaRPr lang="en-US" altLang="zh-CN" dirty="0"/>
          </a:p>
          <a:p>
            <a:r>
              <a:rPr lang="zh-CN" altLang="en-US" dirty="0"/>
              <a:t>业形成全球创新引领能力，全面实现工业化。</a:t>
            </a:r>
          </a:p>
        </p:txBody>
      </p:sp>
      <p:sp>
        <p:nvSpPr>
          <p:cNvPr id="7" name="矩形 6">
            <a:extLst>
              <a:ext uri="{FF2B5EF4-FFF2-40B4-BE49-F238E27FC236}">
                <a16:creationId xmlns:a16="http://schemas.microsoft.com/office/drawing/2014/main" id="{20B81064-9906-4B9A-92DF-E279D9F30D00}"/>
              </a:ext>
            </a:extLst>
          </p:cNvPr>
          <p:cNvSpPr/>
          <p:nvPr/>
        </p:nvSpPr>
        <p:spPr>
          <a:xfrm>
            <a:off x="572085" y="4643105"/>
            <a:ext cx="6096000" cy="1200329"/>
          </a:xfrm>
          <a:prstGeom prst="rect">
            <a:avLst/>
          </a:prstGeom>
        </p:spPr>
        <p:txBody>
          <a:bodyPr>
            <a:spAutoFit/>
          </a:bodyPr>
          <a:lstStyle/>
          <a:p>
            <a:r>
              <a:rPr lang="zh-CN" altLang="en-US" b="1" dirty="0"/>
              <a:t>第三步</a:t>
            </a:r>
            <a:r>
              <a:rPr lang="zh-CN" altLang="en-US" dirty="0"/>
              <a:t>：新中国成立一百年时，</a:t>
            </a:r>
            <a:r>
              <a:rPr lang="zh-CN" altLang="en-US" b="1" dirty="0">
                <a:solidFill>
                  <a:srgbClr val="FF0000"/>
                </a:solidFill>
              </a:rPr>
              <a:t>制造业大国地位更</a:t>
            </a:r>
            <a:endParaRPr lang="en-US" altLang="zh-CN" b="1" dirty="0">
              <a:solidFill>
                <a:srgbClr val="FF0000"/>
              </a:solidFill>
            </a:endParaRPr>
          </a:p>
          <a:p>
            <a:r>
              <a:rPr lang="zh-CN" altLang="en-US" b="1" dirty="0">
                <a:solidFill>
                  <a:srgbClr val="FF0000"/>
                </a:solidFill>
              </a:rPr>
              <a:t>加巩固，综合实力进入世界制造强国前列</a:t>
            </a:r>
            <a:r>
              <a:rPr lang="zh-CN" altLang="en-US" dirty="0"/>
              <a:t>。制造业</a:t>
            </a:r>
            <a:endParaRPr lang="en-US" altLang="zh-CN" dirty="0"/>
          </a:p>
          <a:p>
            <a:r>
              <a:rPr lang="zh-CN" altLang="en-US" dirty="0"/>
              <a:t>主要领域具有创新引领能力和明显竞争优势，建成</a:t>
            </a:r>
            <a:endParaRPr lang="en-US" altLang="zh-CN" dirty="0"/>
          </a:p>
          <a:p>
            <a:r>
              <a:rPr lang="zh-CN" altLang="en-US" dirty="0"/>
              <a:t>全球领先的技术体系和产业体系。</a:t>
            </a:r>
          </a:p>
        </p:txBody>
      </p:sp>
      <p:grpSp>
        <p:nvGrpSpPr>
          <p:cNvPr id="4" name="组合 3">
            <a:extLst>
              <a:ext uri="{FF2B5EF4-FFF2-40B4-BE49-F238E27FC236}">
                <a16:creationId xmlns:a16="http://schemas.microsoft.com/office/drawing/2014/main" id="{BA5897F4-4412-4367-B124-EC171286021B}"/>
              </a:ext>
            </a:extLst>
          </p:cNvPr>
          <p:cNvGrpSpPr/>
          <p:nvPr/>
        </p:nvGrpSpPr>
        <p:grpSpPr>
          <a:xfrm>
            <a:off x="6117794" y="1383037"/>
            <a:ext cx="6043528" cy="4259518"/>
            <a:chOff x="5951693" y="1458152"/>
            <a:chExt cx="6043528" cy="4259518"/>
          </a:xfrm>
        </p:grpSpPr>
        <p:pic>
          <p:nvPicPr>
            <p:cNvPr id="8" name="图片 10" descr="现状1.png">
              <a:extLst>
                <a:ext uri="{FF2B5EF4-FFF2-40B4-BE49-F238E27FC236}">
                  <a16:creationId xmlns:a16="http://schemas.microsoft.com/office/drawing/2014/main" id="{09298A0B-E184-440F-A8DE-70B39552727E}"/>
                </a:ext>
              </a:extLst>
            </p:cNvPr>
            <p:cNvPicPr>
              <a:picLocks noChangeAspect="1"/>
            </p:cNvPicPr>
            <p:nvPr/>
          </p:nvPicPr>
          <p:blipFill rotWithShape="1">
            <a:blip r:embed="rId2">
              <a:extLst>
                <a:ext uri="{28A0092B-C50C-407E-A947-70E740481C1C}">
                  <a14:useLocalDpi xmlns:a14="http://schemas.microsoft.com/office/drawing/2010/main" val="0"/>
                </a:ext>
              </a:extLst>
            </a:blip>
            <a:srcRect r="38004"/>
            <a:stretch/>
          </p:blipFill>
          <p:spPr bwMode="auto">
            <a:xfrm>
              <a:off x="5951693" y="1458152"/>
              <a:ext cx="5154961" cy="4259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文本框 1">
              <a:extLst>
                <a:ext uri="{FF2B5EF4-FFF2-40B4-BE49-F238E27FC236}">
                  <a16:creationId xmlns:a16="http://schemas.microsoft.com/office/drawing/2014/main" id="{7D00EC6D-9364-4C05-93F6-2B1C5DB8474B}"/>
                </a:ext>
              </a:extLst>
            </p:cNvPr>
            <p:cNvSpPr txBox="1"/>
            <p:nvPr/>
          </p:nvSpPr>
          <p:spPr>
            <a:xfrm>
              <a:off x="9657355" y="2468205"/>
              <a:ext cx="1259174" cy="369332"/>
            </a:xfrm>
            <a:prstGeom prst="rect">
              <a:avLst/>
            </a:prstGeom>
            <a:noFill/>
          </p:spPr>
          <p:txBody>
            <a:bodyPr wrap="square" rtlCol="0">
              <a:spAutoFit/>
            </a:bodyPr>
            <a:lstStyle/>
            <a:p>
              <a:r>
                <a:rPr lang="zh-CN" altLang="en-US" dirty="0">
                  <a:latin typeface="微软雅黑" panose="020B0503020204020204" pitchFamily="34" charset="-122"/>
                  <a:ea typeface="微软雅黑" panose="020B0503020204020204" pitchFamily="34" charset="-122"/>
                </a:rPr>
                <a:t>美、德等</a:t>
              </a:r>
            </a:p>
          </p:txBody>
        </p:sp>
        <p:sp>
          <p:nvSpPr>
            <p:cNvPr id="9" name="文本框 8">
              <a:extLst>
                <a:ext uri="{FF2B5EF4-FFF2-40B4-BE49-F238E27FC236}">
                  <a16:creationId xmlns:a16="http://schemas.microsoft.com/office/drawing/2014/main" id="{61CBC708-4A16-43CC-8013-9FCE3465BC31}"/>
                </a:ext>
              </a:extLst>
            </p:cNvPr>
            <p:cNvSpPr txBox="1"/>
            <p:nvPr/>
          </p:nvSpPr>
          <p:spPr>
            <a:xfrm>
              <a:off x="9847480" y="3246240"/>
              <a:ext cx="1259174" cy="369332"/>
            </a:xfrm>
            <a:prstGeom prst="rect">
              <a:avLst/>
            </a:prstGeom>
            <a:noFill/>
          </p:spPr>
          <p:txBody>
            <a:bodyPr wrap="square" rtlCol="0">
              <a:spAutoFit/>
            </a:bodyPr>
            <a:lstStyle/>
            <a:p>
              <a:r>
                <a:rPr lang="zh-CN" altLang="en-US" dirty="0">
                  <a:latin typeface="微软雅黑" panose="020B0503020204020204" pitchFamily="34" charset="-122"/>
                  <a:ea typeface="微软雅黑" panose="020B0503020204020204" pitchFamily="34" charset="-122"/>
                </a:rPr>
                <a:t>日、法等</a:t>
              </a:r>
            </a:p>
          </p:txBody>
        </p:sp>
        <p:sp>
          <p:nvSpPr>
            <p:cNvPr id="10" name="文本框 9">
              <a:extLst>
                <a:ext uri="{FF2B5EF4-FFF2-40B4-BE49-F238E27FC236}">
                  <a16:creationId xmlns:a16="http://schemas.microsoft.com/office/drawing/2014/main" id="{99038EF5-144C-40D1-84A4-BD0E2BD6EDCA}"/>
                </a:ext>
              </a:extLst>
            </p:cNvPr>
            <p:cNvSpPr txBox="1"/>
            <p:nvPr/>
          </p:nvSpPr>
          <p:spPr>
            <a:xfrm>
              <a:off x="10171289" y="4155952"/>
              <a:ext cx="1368751" cy="369332"/>
            </a:xfrm>
            <a:prstGeom prst="rect">
              <a:avLst/>
            </a:prstGeom>
            <a:noFill/>
          </p:spPr>
          <p:txBody>
            <a:bodyPr wrap="square" rtlCol="0">
              <a:spAutoFit/>
            </a:bodyPr>
            <a:lstStyle/>
            <a:p>
              <a:r>
                <a:rPr lang="zh-CN" altLang="en-US" dirty="0">
                  <a:latin typeface="微软雅黑" panose="020B0503020204020204" pitchFamily="34" charset="-122"/>
                  <a:ea typeface="微软雅黑" panose="020B0503020204020204" pitchFamily="34" charset="-122"/>
                </a:rPr>
                <a:t>中国、韩等</a:t>
              </a:r>
            </a:p>
          </p:txBody>
        </p:sp>
        <p:sp>
          <p:nvSpPr>
            <p:cNvPr id="11" name="文本框 10">
              <a:extLst>
                <a:ext uri="{FF2B5EF4-FFF2-40B4-BE49-F238E27FC236}">
                  <a16:creationId xmlns:a16="http://schemas.microsoft.com/office/drawing/2014/main" id="{D5D1E920-3F21-41F2-A4F3-BAA6E1F10497}"/>
                </a:ext>
              </a:extLst>
            </p:cNvPr>
            <p:cNvSpPr txBox="1"/>
            <p:nvPr/>
          </p:nvSpPr>
          <p:spPr>
            <a:xfrm>
              <a:off x="10626470" y="4949053"/>
              <a:ext cx="1368751" cy="369332"/>
            </a:xfrm>
            <a:prstGeom prst="rect">
              <a:avLst/>
            </a:prstGeom>
            <a:noFill/>
          </p:spPr>
          <p:txBody>
            <a:bodyPr wrap="square" rtlCol="0">
              <a:spAutoFit/>
            </a:bodyPr>
            <a:lstStyle/>
            <a:p>
              <a:r>
                <a:rPr lang="zh-CN" altLang="en-US" dirty="0">
                  <a:latin typeface="微软雅黑" panose="020B0503020204020204" pitchFamily="34" charset="-122"/>
                  <a:ea typeface="微软雅黑" panose="020B0503020204020204" pitchFamily="34" charset="-122"/>
                </a:rPr>
                <a:t>越、印度等</a:t>
              </a:r>
            </a:p>
          </p:txBody>
        </p:sp>
      </p:grpSp>
      <p:sp>
        <p:nvSpPr>
          <p:cNvPr id="13" name="TextBox 11">
            <a:extLst>
              <a:ext uri="{FF2B5EF4-FFF2-40B4-BE49-F238E27FC236}">
                <a16:creationId xmlns:a16="http://schemas.microsoft.com/office/drawing/2014/main" id="{F4F885FF-464B-4F69-8902-ACB4CD0DF7AF}"/>
              </a:ext>
            </a:extLst>
          </p:cNvPr>
          <p:cNvSpPr txBox="1"/>
          <p:nvPr/>
        </p:nvSpPr>
        <p:spPr>
          <a:xfrm>
            <a:off x="572085" y="5947392"/>
            <a:ext cx="9148690" cy="646331"/>
          </a:xfrm>
          <a:prstGeom prst="rect">
            <a:avLst/>
          </a:prstGeom>
          <a:noFill/>
        </p:spPr>
        <p:txBody>
          <a:bodyPr wrap="square">
            <a:spAutoFit/>
          </a:bodyPr>
          <a:lstStyle/>
          <a:p>
            <a:pPr>
              <a:defRPr/>
            </a:pPr>
            <a:r>
              <a:rPr lang="zh-CN" altLang="en-US" b="1" i="1" dirty="0">
                <a:solidFill>
                  <a:srgbClr val="FF0000"/>
                </a:solidFill>
                <a:latin typeface="+mn-ea"/>
                <a:ea typeface="+mn-ea"/>
              </a:rPr>
              <a:t>总体上，我国在世界制造业产业链中处于中低端水平，即是压力也是产业升级的巨大动力</a:t>
            </a:r>
            <a:r>
              <a:rPr lang="en-US" altLang="zh-CN" i="1" dirty="0">
                <a:solidFill>
                  <a:srgbClr val="FF0000"/>
                </a:solidFill>
                <a:latin typeface="+mn-ea"/>
                <a:ea typeface="+mn-ea"/>
              </a:rPr>
              <a:t>	</a:t>
            </a:r>
            <a:endParaRPr lang="zh-CN" altLang="en-US" i="1" dirty="0">
              <a:solidFill>
                <a:srgbClr val="FF0000"/>
              </a:solidFill>
              <a:latin typeface="+mn-ea"/>
              <a:ea typeface="+mn-ea"/>
            </a:endParaRPr>
          </a:p>
        </p:txBody>
      </p:sp>
    </p:spTree>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8" y="114300"/>
            <a:ext cx="3644472"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3600" b="1" dirty="0">
                <a:solidFill>
                  <a:srgbClr val="0070C0"/>
                </a:solidFill>
                <a:latin typeface="+mj-ea"/>
                <a:ea typeface="+mj-ea"/>
              </a:rPr>
              <a:t>MES-</a:t>
            </a:r>
            <a:r>
              <a:rPr lang="zh-CN" altLang="en-US" sz="3600" b="1" dirty="0">
                <a:solidFill>
                  <a:srgbClr val="0070C0"/>
                </a:solidFill>
                <a:latin typeface="+mj-ea"/>
                <a:ea typeface="+mj-ea"/>
              </a:rPr>
              <a:t>自动排产</a:t>
            </a:r>
          </a:p>
        </p:txBody>
      </p:sp>
      <p:sp>
        <p:nvSpPr>
          <p:cNvPr id="6" name="矩形 2">
            <a:extLst>
              <a:ext uri="{FF2B5EF4-FFF2-40B4-BE49-F238E27FC236}">
                <a16:creationId xmlns:a16="http://schemas.microsoft.com/office/drawing/2014/main" id="{7D4E36A7-B632-4BBA-9676-574CE707169C}"/>
              </a:ext>
            </a:extLst>
          </p:cNvPr>
          <p:cNvSpPr>
            <a:spLocks noChangeArrowheads="1"/>
          </p:cNvSpPr>
          <p:nvPr/>
        </p:nvSpPr>
        <p:spPr bwMode="auto">
          <a:xfrm>
            <a:off x="447016" y="1000613"/>
            <a:ext cx="272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r>
              <a:rPr lang="zh-CN" altLang="en-US" sz="1800" b="1" dirty="0">
                <a:latin typeface="+mn-ea"/>
                <a:ea typeface="+mn-ea"/>
              </a:rPr>
              <a:t>生产指令与排产（</a:t>
            </a:r>
            <a:r>
              <a:rPr lang="en-US" altLang="zh-CN" sz="1800" b="1" dirty="0">
                <a:latin typeface="+mn-ea"/>
                <a:ea typeface="+mn-ea"/>
              </a:rPr>
              <a:t>APS</a:t>
            </a:r>
            <a:r>
              <a:rPr lang="zh-CN" altLang="en-US" sz="1800" b="1" dirty="0">
                <a:latin typeface="+mn-ea"/>
                <a:ea typeface="+mn-ea"/>
              </a:rPr>
              <a:t>）</a:t>
            </a:r>
          </a:p>
        </p:txBody>
      </p:sp>
      <p:pic>
        <p:nvPicPr>
          <p:cNvPr id="7" name="Picture 2">
            <a:extLst>
              <a:ext uri="{FF2B5EF4-FFF2-40B4-BE49-F238E27FC236}">
                <a16:creationId xmlns:a16="http://schemas.microsoft.com/office/drawing/2014/main" id="{B3BD1ED2-E863-44DA-B3D5-82F7C2F26A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22695" y="1370501"/>
            <a:ext cx="9259497" cy="5341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50564877"/>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7" y="114300"/>
            <a:ext cx="4466659"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3600" b="1" dirty="0">
                <a:solidFill>
                  <a:srgbClr val="0070C0"/>
                </a:solidFill>
                <a:latin typeface="+mj-ea"/>
                <a:ea typeface="+mj-ea"/>
              </a:rPr>
              <a:t>MES-</a:t>
            </a:r>
            <a:r>
              <a:rPr lang="zh-CN" altLang="en-US" sz="3600" b="1" dirty="0">
                <a:solidFill>
                  <a:srgbClr val="0070C0"/>
                </a:solidFill>
                <a:latin typeface="+mj-ea"/>
                <a:ea typeface="+mj-ea"/>
              </a:rPr>
              <a:t>电子批次记录</a:t>
            </a:r>
          </a:p>
        </p:txBody>
      </p:sp>
      <p:sp>
        <p:nvSpPr>
          <p:cNvPr id="9" name="Text Box 20">
            <a:extLst>
              <a:ext uri="{FF2B5EF4-FFF2-40B4-BE49-F238E27FC236}">
                <a16:creationId xmlns:a16="http://schemas.microsoft.com/office/drawing/2014/main" id="{AD7BC3DA-C83F-4A7A-8C10-91A9B7A280E5}"/>
              </a:ext>
            </a:extLst>
          </p:cNvPr>
          <p:cNvSpPr txBox="1">
            <a:spLocks noChangeArrowheads="1"/>
          </p:cNvSpPr>
          <p:nvPr/>
        </p:nvSpPr>
        <p:spPr bwMode="auto">
          <a:xfrm>
            <a:off x="9723584" y="6198700"/>
            <a:ext cx="11430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r>
              <a:rPr lang="zh-CN" altLang="en-US" sz="1200" b="1"/>
              <a:t>中国驰名商标</a:t>
            </a:r>
            <a:endParaRPr lang="zh-CN" altLang="en-US" sz="1800"/>
          </a:p>
        </p:txBody>
      </p:sp>
      <p:pic>
        <p:nvPicPr>
          <p:cNvPr id="10" name="Picture 5">
            <a:extLst>
              <a:ext uri="{FF2B5EF4-FFF2-40B4-BE49-F238E27FC236}">
                <a16:creationId xmlns:a16="http://schemas.microsoft.com/office/drawing/2014/main" id="{7C4599AA-41B5-4DEB-B0BB-B9D58119CA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22696" y="1444137"/>
            <a:ext cx="9677497" cy="502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矩形 1">
            <a:extLst>
              <a:ext uri="{FF2B5EF4-FFF2-40B4-BE49-F238E27FC236}">
                <a16:creationId xmlns:a16="http://schemas.microsoft.com/office/drawing/2014/main" id="{4B6317EA-6DD9-49F9-83DF-D0FA20F17DDC}"/>
              </a:ext>
            </a:extLst>
          </p:cNvPr>
          <p:cNvSpPr/>
          <p:nvPr/>
        </p:nvSpPr>
        <p:spPr>
          <a:xfrm>
            <a:off x="142881" y="956502"/>
            <a:ext cx="2031325" cy="369332"/>
          </a:xfrm>
          <a:prstGeom prst="rect">
            <a:avLst/>
          </a:prstGeom>
        </p:spPr>
        <p:txBody>
          <a:bodyPr wrap="none">
            <a:spAutoFit/>
          </a:bodyPr>
          <a:lstStyle/>
          <a:p>
            <a:pPr>
              <a:defRPr/>
            </a:pPr>
            <a:r>
              <a:rPr lang="zh-CN" altLang="en-US" b="1" kern="0" dirty="0">
                <a:latin typeface="+mn-ea"/>
                <a:ea typeface="+mn-ea"/>
              </a:rPr>
              <a:t>电子批记录的实现</a:t>
            </a:r>
            <a:endParaRPr lang="en-US" altLang="zh-CN" b="1" kern="0" dirty="0">
              <a:latin typeface="+mn-ea"/>
              <a:ea typeface="+mn-ea"/>
            </a:endParaRPr>
          </a:p>
        </p:txBody>
      </p:sp>
    </p:spTree>
    <p:extLst>
      <p:ext uri="{BB962C8B-B14F-4D97-AF65-F5344CB8AC3E}">
        <p14:creationId xmlns:p14="http://schemas.microsoft.com/office/powerpoint/2010/main" val="3916462287"/>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8" y="114300"/>
            <a:ext cx="3644472"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3600" b="1" dirty="0">
                <a:solidFill>
                  <a:srgbClr val="0070C0"/>
                </a:solidFill>
                <a:latin typeface="+mj-ea"/>
                <a:ea typeface="+mj-ea"/>
              </a:rPr>
              <a:t>MES-</a:t>
            </a:r>
            <a:r>
              <a:rPr lang="zh-CN" altLang="en-US" sz="3600" b="1" dirty="0">
                <a:solidFill>
                  <a:srgbClr val="0070C0"/>
                </a:solidFill>
                <a:latin typeface="+mj-ea"/>
                <a:ea typeface="+mj-ea"/>
              </a:rPr>
              <a:t>能源管理</a:t>
            </a:r>
          </a:p>
        </p:txBody>
      </p:sp>
      <p:sp>
        <p:nvSpPr>
          <p:cNvPr id="6" name="AutoShape 1027">
            <a:hlinkClick r:id="rId3" action="ppaction://hlinksldjump" highlightClick="1"/>
            <a:extLst>
              <a:ext uri="{FF2B5EF4-FFF2-40B4-BE49-F238E27FC236}">
                <a16:creationId xmlns:a16="http://schemas.microsoft.com/office/drawing/2014/main" id="{E114ECA3-25E7-4501-8C2B-AE353F4D2688}"/>
              </a:ext>
            </a:extLst>
          </p:cNvPr>
          <p:cNvSpPr>
            <a:spLocks noChangeArrowheads="1"/>
          </p:cNvSpPr>
          <p:nvPr/>
        </p:nvSpPr>
        <p:spPr bwMode="auto">
          <a:xfrm>
            <a:off x="3527791" y="890954"/>
            <a:ext cx="1588"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b="1"/>
          </a:p>
        </p:txBody>
      </p:sp>
      <p:sp>
        <p:nvSpPr>
          <p:cNvPr id="7" name="AutoShape 1036">
            <a:hlinkClick r:id="rId3" action="ppaction://hlinksldjump" highlightClick="1"/>
            <a:extLst>
              <a:ext uri="{FF2B5EF4-FFF2-40B4-BE49-F238E27FC236}">
                <a16:creationId xmlns:a16="http://schemas.microsoft.com/office/drawing/2014/main" id="{585FC2C2-DA49-4708-B4C3-129E3FE5CFC9}"/>
              </a:ext>
            </a:extLst>
          </p:cNvPr>
          <p:cNvSpPr>
            <a:spLocks noChangeArrowheads="1"/>
          </p:cNvSpPr>
          <p:nvPr/>
        </p:nvSpPr>
        <p:spPr bwMode="auto">
          <a:xfrm>
            <a:off x="7337791" y="890954"/>
            <a:ext cx="1588"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b="1"/>
          </a:p>
        </p:txBody>
      </p:sp>
      <p:sp>
        <p:nvSpPr>
          <p:cNvPr id="8" name="AutoShape 1027">
            <a:hlinkClick r:id="rId3" action="ppaction://hlinksldjump" highlightClick="1"/>
            <a:extLst>
              <a:ext uri="{FF2B5EF4-FFF2-40B4-BE49-F238E27FC236}">
                <a16:creationId xmlns:a16="http://schemas.microsoft.com/office/drawing/2014/main" id="{8A27D43D-AF3F-442F-81F4-5EA500915B9B}"/>
              </a:ext>
            </a:extLst>
          </p:cNvPr>
          <p:cNvSpPr>
            <a:spLocks noChangeArrowheads="1"/>
          </p:cNvSpPr>
          <p:nvPr/>
        </p:nvSpPr>
        <p:spPr bwMode="auto">
          <a:xfrm>
            <a:off x="3945304" y="890954"/>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b="1"/>
          </a:p>
        </p:txBody>
      </p:sp>
      <p:sp>
        <p:nvSpPr>
          <p:cNvPr id="11" name="AutoShape 1036">
            <a:hlinkClick r:id="rId3" action="ppaction://hlinksldjump" highlightClick="1"/>
            <a:extLst>
              <a:ext uri="{FF2B5EF4-FFF2-40B4-BE49-F238E27FC236}">
                <a16:creationId xmlns:a16="http://schemas.microsoft.com/office/drawing/2014/main" id="{181CB0E4-D7B2-4689-A77B-8413EB158F1A}"/>
              </a:ext>
            </a:extLst>
          </p:cNvPr>
          <p:cNvSpPr>
            <a:spLocks noChangeArrowheads="1"/>
          </p:cNvSpPr>
          <p:nvPr/>
        </p:nvSpPr>
        <p:spPr bwMode="auto">
          <a:xfrm>
            <a:off x="7755304" y="890954"/>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b="1"/>
          </a:p>
        </p:txBody>
      </p:sp>
      <p:pic>
        <p:nvPicPr>
          <p:cNvPr id="12" name="Picture 3">
            <a:extLst>
              <a:ext uri="{FF2B5EF4-FFF2-40B4-BE49-F238E27FC236}">
                <a16:creationId xmlns:a16="http://schemas.microsoft.com/office/drawing/2014/main" id="{0A94D11E-0749-48AE-AE31-19D85ED2A401}"/>
              </a:ext>
            </a:extLst>
          </p:cNvPr>
          <p:cNvPicPr>
            <a:picLocks noChangeAspect="1" noChangeArrowheads="1"/>
          </p:cNvPicPr>
          <p:nvPr/>
        </p:nvPicPr>
        <p:blipFill>
          <a:blip r:embed="rId4"/>
          <a:srcRect/>
          <a:stretch>
            <a:fillRect/>
          </a:stretch>
        </p:blipFill>
        <p:spPr bwMode="auto">
          <a:xfrm>
            <a:off x="1574732" y="1452640"/>
            <a:ext cx="10049742" cy="5003060"/>
          </a:xfrm>
          <a:prstGeom prst="rect">
            <a:avLst/>
          </a:prstGeom>
          <a:noFill/>
          <a:ln w="9525">
            <a:noFill/>
            <a:miter lim="800000"/>
            <a:headEnd/>
            <a:tailEnd/>
          </a:ln>
          <a:effectLst>
            <a:prstShdw prst="shdw17" dist="17961" dir="2700000">
              <a:schemeClr val="accent1">
                <a:gamma/>
                <a:shade val="60000"/>
                <a:invGamma/>
              </a:schemeClr>
            </a:prstShdw>
          </a:effectLst>
        </p:spPr>
      </p:pic>
      <p:sp>
        <p:nvSpPr>
          <p:cNvPr id="13" name="矩形 12">
            <a:extLst>
              <a:ext uri="{FF2B5EF4-FFF2-40B4-BE49-F238E27FC236}">
                <a16:creationId xmlns:a16="http://schemas.microsoft.com/office/drawing/2014/main" id="{C6B121DC-4951-4C98-B734-A8AEF87DE5F3}"/>
              </a:ext>
            </a:extLst>
          </p:cNvPr>
          <p:cNvSpPr/>
          <p:nvPr/>
        </p:nvSpPr>
        <p:spPr>
          <a:xfrm>
            <a:off x="455978" y="918224"/>
            <a:ext cx="6143625" cy="400050"/>
          </a:xfrm>
          <a:prstGeom prst="rect">
            <a:avLst/>
          </a:prstGeom>
        </p:spPr>
        <p:txBody>
          <a:bodyPr>
            <a:spAutoFit/>
          </a:bodyPr>
          <a:lstStyle/>
          <a:p>
            <a:pPr>
              <a:defRPr/>
            </a:pPr>
            <a:r>
              <a:rPr lang="zh-CN" altLang="en-US" sz="2000" b="1" kern="0" dirty="0">
                <a:latin typeface="+mn-ea"/>
                <a:ea typeface="+mn-ea"/>
              </a:rPr>
              <a:t>能耗成本及重点能耗分析</a:t>
            </a:r>
            <a:endParaRPr lang="en-US" altLang="zh-CN" sz="2000" b="1" kern="0" dirty="0">
              <a:latin typeface="+mn-ea"/>
              <a:ea typeface="+mn-ea"/>
            </a:endParaRPr>
          </a:p>
        </p:txBody>
      </p:sp>
    </p:spTree>
    <p:extLst>
      <p:ext uri="{BB962C8B-B14F-4D97-AF65-F5344CB8AC3E}">
        <p14:creationId xmlns:p14="http://schemas.microsoft.com/office/powerpoint/2010/main" val="3034200076"/>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8" y="114300"/>
            <a:ext cx="3644472"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3600" b="1" dirty="0">
                <a:solidFill>
                  <a:srgbClr val="0070C0"/>
                </a:solidFill>
                <a:latin typeface="+mj-ea"/>
                <a:ea typeface="+mj-ea"/>
              </a:rPr>
              <a:t>MES-</a:t>
            </a:r>
            <a:r>
              <a:rPr lang="zh-CN" altLang="en-US" sz="3600" b="1" dirty="0">
                <a:solidFill>
                  <a:srgbClr val="0070C0"/>
                </a:solidFill>
                <a:latin typeface="+mj-ea"/>
                <a:ea typeface="+mj-ea"/>
              </a:rPr>
              <a:t>设备管理</a:t>
            </a:r>
          </a:p>
        </p:txBody>
      </p:sp>
      <p:sp>
        <p:nvSpPr>
          <p:cNvPr id="6" name="AutoShape 1027">
            <a:hlinkClick r:id="rId3" action="ppaction://hlinksldjump" highlightClick="1"/>
            <a:extLst>
              <a:ext uri="{FF2B5EF4-FFF2-40B4-BE49-F238E27FC236}">
                <a16:creationId xmlns:a16="http://schemas.microsoft.com/office/drawing/2014/main" id="{E114ECA3-25E7-4501-8C2B-AE353F4D2688}"/>
              </a:ext>
            </a:extLst>
          </p:cNvPr>
          <p:cNvSpPr>
            <a:spLocks noChangeArrowheads="1"/>
          </p:cNvSpPr>
          <p:nvPr/>
        </p:nvSpPr>
        <p:spPr bwMode="auto">
          <a:xfrm>
            <a:off x="3527791" y="890954"/>
            <a:ext cx="1588"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b="1"/>
          </a:p>
        </p:txBody>
      </p:sp>
      <p:sp>
        <p:nvSpPr>
          <p:cNvPr id="7" name="AutoShape 1036">
            <a:hlinkClick r:id="rId3" action="ppaction://hlinksldjump" highlightClick="1"/>
            <a:extLst>
              <a:ext uri="{FF2B5EF4-FFF2-40B4-BE49-F238E27FC236}">
                <a16:creationId xmlns:a16="http://schemas.microsoft.com/office/drawing/2014/main" id="{585FC2C2-DA49-4708-B4C3-129E3FE5CFC9}"/>
              </a:ext>
            </a:extLst>
          </p:cNvPr>
          <p:cNvSpPr>
            <a:spLocks noChangeArrowheads="1"/>
          </p:cNvSpPr>
          <p:nvPr/>
        </p:nvSpPr>
        <p:spPr bwMode="auto">
          <a:xfrm>
            <a:off x="7337791" y="890954"/>
            <a:ext cx="1588"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b="1"/>
          </a:p>
        </p:txBody>
      </p:sp>
      <p:sp>
        <p:nvSpPr>
          <p:cNvPr id="8" name="AutoShape 1027">
            <a:hlinkClick r:id="rId3" action="ppaction://hlinksldjump" highlightClick="1"/>
            <a:extLst>
              <a:ext uri="{FF2B5EF4-FFF2-40B4-BE49-F238E27FC236}">
                <a16:creationId xmlns:a16="http://schemas.microsoft.com/office/drawing/2014/main" id="{8A27D43D-AF3F-442F-81F4-5EA500915B9B}"/>
              </a:ext>
            </a:extLst>
          </p:cNvPr>
          <p:cNvSpPr>
            <a:spLocks noChangeArrowheads="1"/>
          </p:cNvSpPr>
          <p:nvPr/>
        </p:nvSpPr>
        <p:spPr bwMode="auto">
          <a:xfrm>
            <a:off x="3945304" y="890954"/>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b="1"/>
          </a:p>
        </p:txBody>
      </p:sp>
      <p:sp>
        <p:nvSpPr>
          <p:cNvPr id="11" name="AutoShape 1036">
            <a:hlinkClick r:id="rId3" action="ppaction://hlinksldjump" highlightClick="1"/>
            <a:extLst>
              <a:ext uri="{FF2B5EF4-FFF2-40B4-BE49-F238E27FC236}">
                <a16:creationId xmlns:a16="http://schemas.microsoft.com/office/drawing/2014/main" id="{181CB0E4-D7B2-4689-A77B-8413EB158F1A}"/>
              </a:ext>
            </a:extLst>
          </p:cNvPr>
          <p:cNvSpPr>
            <a:spLocks noChangeArrowheads="1"/>
          </p:cNvSpPr>
          <p:nvPr/>
        </p:nvSpPr>
        <p:spPr bwMode="auto">
          <a:xfrm>
            <a:off x="7755304" y="890954"/>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b="1"/>
          </a:p>
        </p:txBody>
      </p:sp>
      <p:sp>
        <p:nvSpPr>
          <p:cNvPr id="9" name="TextBox 8">
            <a:extLst>
              <a:ext uri="{FF2B5EF4-FFF2-40B4-BE49-F238E27FC236}">
                <a16:creationId xmlns:a16="http://schemas.microsoft.com/office/drawing/2014/main" id="{AD01F0EF-33C5-4DA9-A0BF-A694D07E1572}"/>
              </a:ext>
            </a:extLst>
          </p:cNvPr>
          <p:cNvSpPr txBox="1"/>
          <p:nvPr/>
        </p:nvSpPr>
        <p:spPr>
          <a:xfrm>
            <a:off x="186177" y="994138"/>
            <a:ext cx="4692137" cy="1631950"/>
          </a:xfrm>
          <a:prstGeom prst="rect">
            <a:avLst/>
          </a:prstGeom>
          <a:noFill/>
        </p:spPr>
        <p:txBody>
          <a:bodyPr wrap="square">
            <a:spAutoFit/>
          </a:bodyPr>
          <a:lstStyle/>
          <a:p>
            <a:pPr>
              <a:buFont typeface="Wingdings" pitchFamily="2" charset="2"/>
              <a:buChar char="ü"/>
              <a:defRPr/>
            </a:pPr>
            <a:r>
              <a:rPr lang="zh-CN" altLang="en-US" sz="2000" b="1" dirty="0">
                <a:latin typeface="+mn-ea"/>
                <a:ea typeface="+mn-ea"/>
              </a:rPr>
              <a:t>设备维修计划与维护动作的管理</a:t>
            </a:r>
            <a:endParaRPr lang="en-US" altLang="zh-CN" sz="2000" b="1" dirty="0">
              <a:latin typeface="+mn-ea"/>
              <a:ea typeface="+mn-ea"/>
            </a:endParaRPr>
          </a:p>
          <a:p>
            <a:pPr>
              <a:buFont typeface="Wingdings" pitchFamily="2" charset="2"/>
              <a:buChar char="ü"/>
              <a:defRPr/>
            </a:pPr>
            <a:r>
              <a:rPr lang="zh-CN" altLang="en-US" sz="2000" b="1" dirty="0">
                <a:latin typeface="+mn-ea"/>
                <a:ea typeface="+mn-ea"/>
              </a:rPr>
              <a:t>设备停机分析与故障诊断模型</a:t>
            </a:r>
            <a:endParaRPr lang="en-US" altLang="zh-CN" sz="2000" b="1" dirty="0">
              <a:latin typeface="+mn-ea"/>
              <a:ea typeface="+mn-ea"/>
            </a:endParaRPr>
          </a:p>
          <a:p>
            <a:pPr>
              <a:buFont typeface="Wingdings" pitchFamily="2" charset="2"/>
              <a:buChar char="ü"/>
              <a:defRPr/>
            </a:pPr>
            <a:r>
              <a:rPr lang="zh-CN" altLang="en-US" sz="2000" b="1" dirty="0">
                <a:latin typeface="+mn-ea"/>
                <a:ea typeface="+mn-ea"/>
              </a:rPr>
              <a:t>支持维修的文档集成</a:t>
            </a:r>
            <a:endParaRPr lang="en-US" altLang="zh-CN" sz="2000" b="1" dirty="0">
              <a:latin typeface="+mn-ea"/>
              <a:ea typeface="+mn-ea"/>
            </a:endParaRPr>
          </a:p>
          <a:p>
            <a:pPr>
              <a:buFont typeface="Wingdings" pitchFamily="2" charset="2"/>
              <a:buChar char="ü"/>
              <a:defRPr/>
            </a:pPr>
            <a:r>
              <a:rPr lang="zh-CN" altLang="en-US" sz="2000" b="1" dirty="0">
                <a:latin typeface="+mn-ea"/>
                <a:ea typeface="+mn-ea"/>
              </a:rPr>
              <a:t>基于设备的</a:t>
            </a:r>
            <a:r>
              <a:rPr lang="en-US" altLang="zh-CN" sz="2000" b="1" dirty="0">
                <a:latin typeface="+mn-ea"/>
                <a:ea typeface="+mn-ea"/>
              </a:rPr>
              <a:t>KPI</a:t>
            </a:r>
            <a:r>
              <a:rPr lang="zh-CN" altLang="en-US" sz="2000" b="1" dirty="0">
                <a:latin typeface="+mn-ea"/>
                <a:ea typeface="+mn-ea"/>
              </a:rPr>
              <a:t>计算与管理</a:t>
            </a:r>
            <a:endParaRPr lang="en-US" altLang="zh-CN" sz="2000" b="1" dirty="0">
              <a:latin typeface="+mn-ea"/>
              <a:ea typeface="+mn-ea"/>
            </a:endParaRPr>
          </a:p>
          <a:p>
            <a:pPr>
              <a:buFont typeface="Wingdings" pitchFamily="2" charset="2"/>
              <a:buChar char="ü"/>
              <a:defRPr/>
            </a:pPr>
            <a:r>
              <a:rPr lang="en-US" altLang="zh-CN" sz="2000" b="1" dirty="0">
                <a:latin typeface="+mn-ea"/>
                <a:ea typeface="+mn-ea"/>
              </a:rPr>
              <a:t>OEE</a:t>
            </a:r>
            <a:r>
              <a:rPr lang="zh-CN" altLang="en-US" sz="2000" b="1" dirty="0">
                <a:latin typeface="+mn-ea"/>
                <a:ea typeface="+mn-ea"/>
              </a:rPr>
              <a:t>：整体装备的效率分析</a:t>
            </a:r>
          </a:p>
        </p:txBody>
      </p:sp>
      <p:pic>
        <p:nvPicPr>
          <p:cNvPr id="10" name="Picture 2">
            <a:extLst>
              <a:ext uri="{FF2B5EF4-FFF2-40B4-BE49-F238E27FC236}">
                <a16:creationId xmlns:a16="http://schemas.microsoft.com/office/drawing/2014/main" id="{4CC37510-EAA1-4241-92D3-C9825FC325A7}"/>
              </a:ext>
            </a:extLst>
          </p:cNvPr>
          <p:cNvPicPr>
            <a:picLocks noChangeAspect="1" noChangeArrowheads="1"/>
          </p:cNvPicPr>
          <p:nvPr/>
        </p:nvPicPr>
        <p:blipFill>
          <a:blip r:embed="rId4"/>
          <a:srcRect/>
          <a:stretch>
            <a:fillRect/>
          </a:stretch>
        </p:blipFill>
        <p:spPr bwMode="auto">
          <a:xfrm>
            <a:off x="5520721" y="3396525"/>
            <a:ext cx="5479725" cy="2604226"/>
          </a:xfrm>
          <a:prstGeom prst="rect">
            <a:avLst/>
          </a:prstGeom>
          <a:noFill/>
          <a:ln w="9525">
            <a:noFill/>
            <a:miter lim="800000"/>
            <a:headEnd/>
            <a:tailEnd/>
          </a:ln>
          <a:effectLst>
            <a:prstShdw prst="shdw17" dist="17961" dir="2700000">
              <a:schemeClr val="accent1">
                <a:gamma/>
                <a:shade val="60000"/>
                <a:invGamma/>
              </a:schemeClr>
            </a:prstShdw>
          </a:effectLst>
        </p:spPr>
      </p:pic>
      <p:pic>
        <p:nvPicPr>
          <p:cNvPr id="12" name="图片 72">
            <a:extLst>
              <a:ext uri="{FF2B5EF4-FFF2-40B4-BE49-F238E27FC236}">
                <a16:creationId xmlns:a16="http://schemas.microsoft.com/office/drawing/2014/main" id="{DF22C52D-1266-43D6-B397-AB502BA98A33}"/>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520721" y="932376"/>
            <a:ext cx="5474961" cy="2362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3">
            <a:extLst>
              <a:ext uri="{FF2B5EF4-FFF2-40B4-BE49-F238E27FC236}">
                <a16:creationId xmlns:a16="http://schemas.microsoft.com/office/drawing/2014/main" id="{DFCE01E8-207F-433D-A7A8-4541F6BA1C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3219117"/>
            <a:ext cx="5317588" cy="2781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59630487"/>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7" y="114300"/>
            <a:ext cx="6397193"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fontScale="92500"/>
          </a:bodyPr>
          <a:lstStyle/>
          <a:p>
            <a:pPr marL="177800">
              <a:lnSpc>
                <a:spcPts val="2600"/>
              </a:lnSpc>
              <a:defRPr/>
            </a:pPr>
            <a:r>
              <a:rPr lang="zh-CN" altLang="en-US" sz="3600" b="1" dirty="0">
                <a:solidFill>
                  <a:srgbClr val="0070C0"/>
                </a:solidFill>
                <a:latin typeface="+mj-ea"/>
                <a:ea typeface="+mj-ea"/>
              </a:rPr>
              <a:t>数字化生产的价值</a:t>
            </a:r>
            <a:r>
              <a:rPr lang="en-US" altLang="zh-CN" sz="3600" b="1" dirty="0">
                <a:solidFill>
                  <a:srgbClr val="0070C0"/>
                </a:solidFill>
                <a:latin typeface="+mj-ea"/>
                <a:ea typeface="+mj-ea"/>
              </a:rPr>
              <a:t>-</a:t>
            </a:r>
            <a:r>
              <a:rPr lang="zh-CN" altLang="en-US" sz="3600" b="1" dirty="0">
                <a:solidFill>
                  <a:srgbClr val="0070C0"/>
                </a:solidFill>
                <a:latin typeface="+mj-ea"/>
                <a:ea typeface="+mj-ea"/>
              </a:rPr>
              <a:t>数据完整性</a:t>
            </a:r>
          </a:p>
        </p:txBody>
      </p:sp>
      <p:sp>
        <p:nvSpPr>
          <p:cNvPr id="6" name="AutoShape 1027">
            <a:hlinkClick r:id="rId3" action="ppaction://hlinksldjump" highlightClick="1"/>
            <a:extLst>
              <a:ext uri="{FF2B5EF4-FFF2-40B4-BE49-F238E27FC236}">
                <a16:creationId xmlns:a16="http://schemas.microsoft.com/office/drawing/2014/main" id="{E114ECA3-25E7-4501-8C2B-AE353F4D2688}"/>
              </a:ext>
            </a:extLst>
          </p:cNvPr>
          <p:cNvSpPr>
            <a:spLocks noChangeArrowheads="1"/>
          </p:cNvSpPr>
          <p:nvPr/>
        </p:nvSpPr>
        <p:spPr bwMode="auto">
          <a:xfrm>
            <a:off x="3527791" y="890954"/>
            <a:ext cx="1588"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b="1"/>
          </a:p>
        </p:txBody>
      </p:sp>
      <p:sp>
        <p:nvSpPr>
          <p:cNvPr id="7" name="AutoShape 1036">
            <a:hlinkClick r:id="rId3" action="ppaction://hlinksldjump" highlightClick="1"/>
            <a:extLst>
              <a:ext uri="{FF2B5EF4-FFF2-40B4-BE49-F238E27FC236}">
                <a16:creationId xmlns:a16="http://schemas.microsoft.com/office/drawing/2014/main" id="{585FC2C2-DA49-4708-B4C3-129E3FE5CFC9}"/>
              </a:ext>
            </a:extLst>
          </p:cNvPr>
          <p:cNvSpPr>
            <a:spLocks noChangeArrowheads="1"/>
          </p:cNvSpPr>
          <p:nvPr/>
        </p:nvSpPr>
        <p:spPr bwMode="auto">
          <a:xfrm>
            <a:off x="7337791" y="890954"/>
            <a:ext cx="1588"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b="1"/>
          </a:p>
        </p:txBody>
      </p:sp>
      <p:sp>
        <p:nvSpPr>
          <p:cNvPr id="8" name="AutoShape 1027">
            <a:hlinkClick r:id="rId3" action="ppaction://hlinksldjump" highlightClick="1"/>
            <a:extLst>
              <a:ext uri="{FF2B5EF4-FFF2-40B4-BE49-F238E27FC236}">
                <a16:creationId xmlns:a16="http://schemas.microsoft.com/office/drawing/2014/main" id="{8A27D43D-AF3F-442F-81F4-5EA500915B9B}"/>
              </a:ext>
            </a:extLst>
          </p:cNvPr>
          <p:cNvSpPr>
            <a:spLocks noChangeArrowheads="1"/>
          </p:cNvSpPr>
          <p:nvPr/>
        </p:nvSpPr>
        <p:spPr bwMode="auto">
          <a:xfrm>
            <a:off x="3945304" y="890954"/>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b="1"/>
          </a:p>
        </p:txBody>
      </p:sp>
      <p:sp>
        <p:nvSpPr>
          <p:cNvPr id="11" name="AutoShape 1036">
            <a:hlinkClick r:id="rId3" action="ppaction://hlinksldjump" highlightClick="1"/>
            <a:extLst>
              <a:ext uri="{FF2B5EF4-FFF2-40B4-BE49-F238E27FC236}">
                <a16:creationId xmlns:a16="http://schemas.microsoft.com/office/drawing/2014/main" id="{181CB0E4-D7B2-4689-A77B-8413EB158F1A}"/>
              </a:ext>
            </a:extLst>
          </p:cNvPr>
          <p:cNvSpPr>
            <a:spLocks noChangeArrowheads="1"/>
          </p:cNvSpPr>
          <p:nvPr/>
        </p:nvSpPr>
        <p:spPr bwMode="auto">
          <a:xfrm>
            <a:off x="7755304" y="890954"/>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b="1"/>
          </a:p>
        </p:txBody>
      </p:sp>
      <p:sp>
        <p:nvSpPr>
          <p:cNvPr id="9" name="椭圆 8">
            <a:extLst>
              <a:ext uri="{FF2B5EF4-FFF2-40B4-BE49-F238E27FC236}">
                <a16:creationId xmlns:a16="http://schemas.microsoft.com/office/drawing/2014/main" id="{AD6213AE-78BE-450B-8DBA-2BD58EDF777B}"/>
              </a:ext>
            </a:extLst>
          </p:cNvPr>
          <p:cNvSpPr/>
          <p:nvPr/>
        </p:nvSpPr>
        <p:spPr>
          <a:xfrm>
            <a:off x="2309812" y="1323121"/>
            <a:ext cx="8378825" cy="5165725"/>
          </a:xfrm>
          <a:prstGeom prst="ellips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 name="矩形 9">
            <a:extLst>
              <a:ext uri="{FF2B5EF4-FFF2-40B4-BE49-F238E27FC236}">
                <a16:creationId xmlns:a16="http://schemas.microsoft.com/office/drawing/2014/main" id="{8B5C87C5-869C-4390-B256-9C2E1DB5415A}"/>
              </a:ext>
            </a:extLst>
          </p:cNvPr>
          <p:cNvSpPr/>
          <p:nvPr/>
        </p:nvSpPr>
        <p:spPr>
          <a:xfrm>
            <a:off x="2970212" y="1416783"/>
            <a:ext cx="1143000" cy="4286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tx1"/>
                </a:solidFill>
              </a:rPr>
              <a:t>订单管理</a:t>
            </a:r>
          </a:p>
        </p:txBody>
      </p:sp>
      <p:sp>
        <p:nvSpPr>
          <p:cNvPr id="12" name="矩形 11">
            <a:extLst>
              <a:ext uri="{FF2B5EF4-FFF2-40B4-BE49-F238E27FC236}">
                <a16:creationId xmlns:a16="http://schemas.microsoft.com/office/drawing/2014/main" id="{E9D4F364-CCAE-4BB0-8078-45C1C34C452E}"/>
              </a:ext>
            </a:extLst>
          </p:cNvPr>
          <p:cNvSpPr/>
          <p:nvPr/>
        </p:nvSpPr>
        <p:spPr>
          <a:xfrm>
            <a:off x="2970212" y="2274033"/>
            <a:ext cx="1143000" cy="4286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tx1"/>
                </a:solidFill>
              </a:rPr>
              <a:t>需求管理</a:t>
            </a:r>
          </a:p>
        </p:txBody>
      </p:sp>
      <p:sp>
        <p:nvSpPr>
          <p:cNvPr id="13" name="矩形 12">
            <a:extLst>
              <a:ext uri="{FF2B5EF4-FFF2-40B4-BE49-F238E27FC236}">
                <a16:creationId xmlns:a16="http://schemas.microsoft.com/office/drawing/2014/main" id="{2635DC49-DDD2-4248-A479-1E23FA6C6480}"/>
              </a:ext>
            </a:extLst>
          </p:cNvPr>
          <p:cNvSpPr/>
          <p:nvPr/>
        </p:nvSpPr>
        <p:spPr>
          <a:xfrm>
            <a:off x="2970212" y="3988533"/>
            <a:ext cx="1143000" cy="4286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tx1"/>
                </a:solidFill>
              </a:rPr>
              <a:t>物料需求</a:t>
            </a:r>
          </a:p>
        </p:txBody>
      </p:sp>
      <p:sp>
        <p:nvSpPr>
          <p:cNvPr id="14" name="矩形 13">
            <a:extLst>
              <a:ext uri="{FF2B5EF4-FFF2-40B4-BE49-F238E27FC236}">
                <a16:creationId xmlns:a16="http://schemas.microsoft.com/office/drawing/2014/main" id="{C92B1CBD-819D-4C0A-B8F7-1CEB26F40CDC}"/>
              </a:ext>
            </a:extLst>
          </p:cNvPr>
          <p:cNvSpPr/>
          <p:nvPr/>
        </p:nvSpPr>
        <p:spPr>
          <a:xfrm>
            <a:off x="2970212" y="5703033"/>
            <a:ext cx="1143000" cy="4286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tx1"/>
                </a:solidFill>
              </a:rPr>
              <a:t>财务管理</a:t>
            </a:r>
          </a:p>
        </p:txBody>
      </p:sp>
      <p:cxnSp>
        <p:nvCxnSpPr>
          <p:cNvPr id="15" name="直接连接符 14">
            <a:extLst>
              <a:ext uri="{FF2B5EF4-FFF2-40B4-BE49-F238E27FC236}">
                <a16:creationId xmlns:a16="http://schemas.microsoft.com/office/drawing/2014/main" id="{CA2722E7-DE9C-4E34-8F22-48FFF4B853D9}"/>
              </a:ext>
            </a:extLst>
          </p:cNvPr>
          <p:cNvCxnSpPr>
            <a:stCxn id="10" idx="2"/>
            <a:endCxn id="12" idx="0"/>
          </p:cNvCxnSpPr>
          <p:nvPr/>
        </p:nvCxnSpPr>
        <p:spPr>
          <a:xfrm rot="5400000">
            <a:off x="3326606" y="2058927"/>
            <a:ext cx="428625" cy="1587"/>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20C01766-165C-4E68-899A-A505BA8E612A}"/>
              </a:ext>
            </a:extLst>
          </p:cNvPr>
          <p:cNvCxnSpPr/>
          <p:nvPr/>
        </p:nvCxnSpPr>
        <p:spPr>
          <a:xfrm rot="5400000">
            <a:off x="3328193" y="2916177"/>
            <a:ext cx="428625" cy="1588"/>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76CE0130-D380-49AD-BD7F-865F32B25258}"/>
              </a:ext>
            </a:extLst>
          </p:cNvPr>
          <p:cNvCxnSpPr/>
          <p:nvPr/>
        </p:nvCxnSpPr>
        <p:spPr>
          <a:xfrm rot="5400000">
            <a:off x="3328193" y="3773427"/>
            <a:ext cx="428625" cy="1588"/>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18" name="直接连接符 17">
            <a:extLst>
              <a:ext uri="{FF2B5EF4-FFF2-40B4-BE49-F238E27FC236}">
                <a16:creationId xmlns:a16="http://schemas.microsoft.com/office/drawing/2014/main" id="{8D339626-7AA6-4970-B51B-9C10B7736D11}"/>
              </a:ext>
            </a:extLst>
          </p:cNvPr>
          <p:cNvCxnSpPr/>
          <p:nvPr/>
        </p:nvCxnSpPr>
        <p:spPr>
          <a:xfrm rot="5400000">
            <a:off x="3328193" y="4630677"/>
            <a:ext cx="428625" cy="1588"/>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19" name="直接连接符 18">
            <a:extLst>
              <a:ext uri="{FF2B5EF4-FFF2-40B4-BE49-F238E27FC236}">
                <a16:creationId xmlns:a16="http://schemas.microsoft.com/office/drawing/2014/main" id="{35242704-6D2F-44A9-8E34-479A1E6096D0}"/>
              </a:ext>
            </a:extLst>
          </p:cNvPr>
          <p:cNvCxnSpPr/>
          <p:nvPr/>
        </p:nvCxnSpPr>
        <p:spPr>
          <a:xfrm rot="5400000">
            <a:off x="3328193" y="5487927"/>
            <a:ext cx="428625" cy="1588"/>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20" name="直接箭头连接符 19">
            <a:extLst>
              <a:ext uri="{FF2B5EF4-FFF2-40B4-BE49-F238E27FC236}">
                <a16:creationId xmlns:a16="http://schemas.microsoft.com/office/drawing/2014/main" id="{866E6DAE-407F-4130-853F-75E14D331DA9}"/>
              </a:ext>
            </a:extLst>
          </p:cNvPr>
          <p:cNvCxnSpPr>
            <a:stCxn id="14" idx="2"/>
          </p:cNvCxnSpPr>
          <p:nvPr/>
        </p:nvCxnSpPr>
        <p:spPr>
          <a:xfrm rot="5400000">
            <a:off x="3290888" y="6382483"/>
            <a:ext cx="500062" cy="1587"/>
          </a:xfrm>
          <a:prstGeom prst="straightConnector1">
            <a:avLst/>
          </a:prstGeom>
          <a:ln w="50800">
            <a:tailEnd type="arrow"/>
          </a:ln>
        </p:spPr>
        <p:style>
          <a:lnRef idx="1">
            <a:schemeClr val="accent1"/>
          </a:lnRef>
          <a:fillRef idx="0">
            <a:schemeClr val="accent1"/>
          </a:fillRef>
          <a:effectRef idx="0">
            <a:schemeClr val="accent1"/>
          </a:effectRef>
          <a:fontRef idx="minor">
            <a:schemeClr val="tx1"/>
          </a:fontRef>
        </p:style>
      </p:cxnSp>
      <p:cxnSp>
        <p:nvCxnSpPr>
          <p:cNvPr id="21" name="直接连接符 20">
            <a:extLst>
              <a:ext uri="{FF2B5EF4-FFF2-40B4-BE49-F238E27FC236}">
                <a16:creationId xmlns:a16="http://schemas.microsoft.com/office/drawing/2014/main" id="{7B91F81C-525A-4AD8-8786-64C6C3C87156}"/>
              </a:ext>
            </a:extLst>
          </p:cNvPr>
          <p:cNvCxnSpPr/>
          <p:nvPr/>
        </p:nvCxnSpPr>
        <p:spPr>
          <a:xfrm rot="5400000">
            <a:off x="3328193" y="1201677"/>
            <a:ext cx="428625" cy="1588"/>
          </a:xfrm>
          <a:prstGeom prst="line">
            <a:avLst/>
          </a:prstGeom>
          <a:ln w="50800"/>
        </p:spPr>
        <p:style>
          <a:lnRef idx="1">
            <a:schemeClr val="accent1"/>
          </a:lnRef>
          <a:fillRef idx="0">
            <a:schemeClr val="accent1"/>
          </a:fillRef>
          <a:effectRef idx="0">
            <a:schemeClr val="accent1"/>
          </a:effectRef>
          <a:fontRef idx="minor">
            <a:schemeClr val="tx1"/>
          </a:fontRef>
        </p:style>
      </p:cxnSp>
      <p:sp>
        <p:nvSpPr>
          <p:cNvPr id="22" name="椭圆 21">
            <a:extLst>
              <a:ext uri="{FF2B5EF4-FFF2-40B4-BE49-F238E27FC236}">
                <a16:creationId xmlns:a16="http://schemas.microsoft.com/office/drawing/2014/main" id="{84292068-0B53-467A-8C40-8B8C557016AD}"/>
              </a:ext>
            </a:extLst>
          </p:cNvPr>
          <p:cNvSpPr/>
          <p:nvPr/>
        </p:nvSpPr>
        <p:spPr>
          <a:xfrm>
            <a:off x="3381375" y="1016733"/>
            <a:ext cx="285750" cy="200025"/>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3" name="TextBox 16">
            <a:extLst>
              <a:ext uri="{FF2B5EF4-FFF2-40B4-BE49-F238E27FC236}">
                <a16:creationId xmlns:a16="http://schemas.microsoft.com/office/drawing/2014/main" id="{32F68D2C-F803-4A7B-A876-26D5BFFBCEC9}"/>
              </a:ext>
            </a:extLst>
          </p:cNvPr>
          <p:cNvSpPr txBox="1">
            <a:spLocks noChangeArrowheads="1"/>
          </p:cNvSpPr>
          <p:nvPr/>
        </p:nvSpPr>
        <p:spPr bwMode="auto">
          <a:xfrm>
            <a:off x="1881187" y="945296"/>
            <a:ext cx="12858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en-US" altLang="zh-CN"/>
              <a:t>ERP</a:t>
            </a:r>
            <a:r>
              <a:rPr lang="zh-CN" altLang="en-US"/>
              <a:t>领域</a:t>
            </a:r>
          </a:p>
        </p:txBody>
      </p:sp>
      <p:sp>
        <p:nvSpPr>
          <p:cNvPr id="24" name="矩形 23">
            <a:extLst>
              <a:ext uri="{FF2B5EF4-FFF2-40B4-BE49-F238E27FC236}">
                <a16:creationId xmlns:a16="http://schemas.microsoft.com/office/drawing/2014/main" id="{57E7BB40-8C8C-4E38-AE0B-7D8666CE7111}"/>
              </a:ext>
            </a:extLst>
          </p:cNvPr>
          <p:cNvSpPr/>
          <p:nvPr/>
        </p:nvSpPr>
        <p:spPr>
          <a:xfrm>
            <a:off x="4238625" y="3131283"/>
            <a:ext cx="1143000" cy="428625"/>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tx1"/>
                </a:solidFill>
              </a:rPr>
              <a:t>工单指令</a:t>
            </a:r>
          </a:p>
        </p:txBody>
      </p:sp>
      <p:sp>
        <p:nvSpPr>
          <p:cNvPr id="25" name="矩形 24">
            <a:extLst>
              <a:ext uri="{FF2B5EF4-FFF2-40B4-BE49-F238E27FC236}">
                <a16:creationId xmlns:a16="http://schemas.microsoft.com/office/drawing/2014/main" id="{B67EB235-3B54-424E-A2BE-5E0E55B4B6AC}"/>
              </a:ext>
            </a:extLst>
          </p:cNvPr>
          <p:cNvSpPr/>
          <p:nvPr/>
        </p:nvSpPr>
        <p:spPr>
          <a:xfrm>
            <a:off x="5524500" y="3131283"/>
            <a:ext cx="1143000" cy="428625"/>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tx1"/>
                </a:solidFill>
              </a:rPr>
              <a:t>领料计划</a:t>
            </a:r>
          </a:p>
        </p:txBody>
      </p:sp>
      <p:sp>
        <p:nvSpPr>
          <p:cNvPr id="26" name="矩形 25">
            <a:extLst>
              <a:ext uri="{FF2B5EF4-FFF2-40B4-BE49-F238E27FC236}">
                <a16:creationId xmlns:a16="http://schemas.microsoft.com/office/drawing/2014/main" id="{3A7C00B3-5124-4A28-9C5B-3048123E96D6}"/>
              </a:ext>
            </a:extLst>
          </p:cNvPr>
          <p:cNvSpPr/>
          <p:nvPr/>
        </p:nvSpPr>
        <p:spPr>
          <a:xfrm>
            <a:off x="6810375" y="2848708"/>
            <a:ext cx="1143000" cy="1071563"/>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solidFill>
                  <a:schemeClr val="tx1"/>
                </a:solidFill>
              </a:rPr>
              <a:t>SOP</a:t>
            </a:r>
            <a:r>
              <a:rPr lang="zh-CN" altLang="en-US" dirty="0">
                <a:solidFill>
                  <a:schemeClr val="tx1"/>
                </a:solidFill>
              </a:rPr>
              <a:t>执行（称量、配制、灌封等）</a:t>
            </a:r>
          </a:p>
        </p:txBody>
      </p:sp>
      <p:sp>
        <p:nvSpPr>
          <p:cNvPr id="27" name="矩形 26">
            <a:extLst>
              <a:ext uri="{FF2B5EF4-FFF2-40B4-BE49-F238E27FC236}">
                <a16:creationId xmlns:a16="http://schemas.microsoft.com/office/drawing/2014/main" id="{7059356D-71E8-4ED3-8B52-01AF4373B2E8}"/>
              </a:ext>
            </a:extLst>
          </p:cNvPr>
          <p:cNvSpPr/>
          <p:nvPr/>
        </p:nvSpPr>
        <p:spPr>
          <a:xfrm>
            <a:off x="8096250" y="3131283"/>
            <a:ext cx="1143000" cy="428625"/>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tx1"/>
                </a:solidFill>
              </a:rPr>
              <a:t>记录确认</a:t>
            </a:r>
          </a:p>
        </p:txBody>
      </p:sp>
      <p:sp>
        <p:nvSpPr>
          <p:cNvPr id="28" name="矩形 27">
            <a:extLst>
              <a:ext uri="{FF2B5EF4-FFF2-40B4-BE49-F238E27FC236}">
                <a16:creationId xmlns:a16="http://schemas.microsoft.com/office/drawing/2014/main" id="{06605DDA-CD8F-47FA-9EC0-E060FF30F57A}"/>
              </a:ext>
            </a:extLst>
          </p:cNvPr>
          <p:cNvSpPr/>
          <p:nvPr/>
        </p:nvSpPr>
        <p:spPr>
          <a:xfrm>
            <a:off x="9382125" y="3131283"/>
            <a:ext cx="1143000" cy="428625"/>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tx1"/>
                </a:solidFill>
              </a:rPr>
              <a:t>出货确认</a:t>
            </a:r>
          </a:p>
        </p:txBody>
      </p:sp>
      <p:cxnSp>
        <p:nvCxnSpPr>
          <p:cNvPr id="29" name="直接连接符 28">
            <a:extLst>
              <a:ext uri="{FF2B5EF4-FFF2-40B4-BE49-F238E27FC236}">
                <a16:creationId xmlns:a16="http://schemas.microsoft.com/office/drawing/2014/main" id="{1F649B6C-32EE-4ED5-AAD0-E4A996A8AD74}"/>
              </a:ext>
            </a:extLst>
          </p:cNvPr>
          <p:cNvCxnSpPr>
            <a:stCxn id="28" idx="3"/>
          </p:cNvCxnSpPr>
          <p:nvPr/>
        </p:nvCxnSpPr>
        <p:spPr>
          <a:xfrm>
            <a:off x="10525125" y="3345596"/>
            <a:ext cx="214312" cy="1587"/>
          </a:xfrm>
          <a:prstGeom prst="line">
            <a:avLst/>
          </a:prstGeom>
          <a:ln w="50800">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椭圆 29">
            <a:extLst>
              <a:ext uri="{FF2B5EF4-FFF2-40B4-BE49-F238E27FC236}">
                <a16:creationId xmlns:a16="http://schemas.microsoft.com/office/drawing/2014/main" id="{B0396140-C33F-40A6-9D0D-5677E0B5777B}"/>
              </a:ext>
            </a:extLst>
          </p:cNvPr>
          <p:cNvSpPr/>
          <p:nvPr/>
        </p:nvSpPr>
        <p:spPr>
          <a:xfrm>
            <a:off x="10742612" y="3274158"/>
            <a:ext cx="214313" cy="142875"/>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cxnSp>
        <p:nvCxnSpPr>
          <p:cNvPr id="31" name="直接连接符 30">
            <a:extLst>
              <a:ext uri="{FF2B5EF4-FFF2-40B4-BE49-F238E27FC236}">
                <a16:creationId xmlns:a16="http://schemas.microsoft.com/office/drawing/2014/main" id="{BE9EC84D-E604-4FCA-9E39-FF05157D95EB}"/>
              </a:ext>
            </a:extLst>
          </p:cNvPr>
          <p:cNvCxnSpPr>
            <a:endCxn id="24" idx="1"/>
          </p:cNvCxnSpPr>
          <p:nvPr/>
        </p:nvCxnSpPr>
        <p:spPr>
          <a:xfrm>
            <a:off x="4095750" y="3345596"/>
            <a:ext cx="142875" cy="1587"/>
          </a:xfrm>
          <a:prstGeom prst="line">
            <a:avLst/>
          </a:prstGeom>
          <a:ln w="508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直接连接符 31">
            <a:extLst>
              <a:ext uri="{FF2B5EF4-FFF2-40B4-BE49-F238E27FC236}">
                <a16:creationId xmlns:a16="http://schemas.microsoft.com/office/drawing/2014/main" id="{37898960-17D0-48EC-AA5E-9A6587682C33}"/>
              </a:ext>
            </a:extLst>
          </p:cNvPr>
          <p:cNvCxnSpPr/>
          <p:nvPr/>
        </p:nvCxnSpPr>
        <p:spPr>
          <a:xfrm>
            <a:off x="5381625" y="3345596"/>
            <a:ext cx="142875" cy="1587"/>
          </a:xfrm>
          <a:prstGeom prst="line">
            <a:avLst/>
          </a:prstGeom>
          <a:ln w="508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 name="直接连接符 32">
            <a:extLst>
              <a:ext uri="{FF2B5EF4-FFF2-40B4-BE49-F238E27FC236}">
                <a16:creationId xmlns:a16="http://schemas.microsoft.com/office/drawing/2014/main" id="{6C564B08-A2D8-4625-9E9E-D0D5A6D82C43}"/>
              </a:ext>
            </a:extLst>
          </p:cNvPr>
          <p:cNvCxnSpPr/>
          <p:nvPr/>
        </p:nvCxnSpPr>
        <p:spPr>
          <a:xfrm>
            <a:off x="6667500" y="3345596"/>
            <a:ext cx="142875" cy="1587"/>
          </a:xfrm>
          <a:prstGeom prst="line">
            <a:avLst/>
          </a:prstGeom>
          <a:ln w="508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4" name="直接连接符 33">
            <a:extLst>
              <a:ext uri="{FF2B5EF4-FFF2-40B4-BE49-F238E27FC236}">
                <a16:creationId xmlns:a16="http://schemas.microsoft.com/office/drawing/2014/main" id="{99FDBE31-7AA9-4574-B4AB-3983E9ED59D9}"/>
              </a:ext>
            </a:extLst>
          </p:cNvPr>
          <p:cNvCxnSpPr/>
          <p:nvPr/>
        </p:nvCxnSpPr>
        <p:spPr>
          <a:xfrm>
            <a:off x="7953375" y="3345596"/>
            <a:ext cx="142875" cy="1587"/>
          </a:xfrm>
          <a:prstGeom prst="line">
            <a:avLst/>
          </a:prstGeom>
          <a:ln w="508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5" name="直接连接符 34">
            <a:extLst>
              <a:ext uri="{FF2B5EF4-FFF2-40B4-BE49-F238E27FC236}">
                <a16:creationId xmlns:a16="http://schemas.microsoft.com/office/drawing/2014/main" id="{0B9FF5C8-2307-4212-B294-2AD6D81A5FC9}"/>
              </a:ext>
            </a:extLst>
          </p:cNvPr>
          <p:cNvCxnSpPr/>
          <p:nvPr/>
        </p:nvCxnSpPr>
        <p:spPr>
          <a:xfrm>
            <a:off x="9239250" y="3345596"/>
            <a:ext cx="142875" cy="1587"/>
          </a:xfrm>
          <a:prstGeom prst="line">
            <a:avLst/>
          </a:prstGeom>
          <a:ln w="50800">
            <a:solidFill>
              <a:srgbClr val="C00000"/>
            </a:solidFill>
          </a:ln>
        </p:spPr>
        <p:style>
          <a:lnRef idx="1">
            <a:schemeClr val="accent1"/>
          </a:lnRef>
          <a:fillRef idx="0">
            <a:schemeClr val="accent1"/>
          </a:fillRef>
          <a:effectRef idx="0">
            <a:schemeClr val="accent1"/>
          </a:effectRef>
          <a:fontRef idx="minor">
            <a:schemeClr val="tx1"/>
          </a:fontRef>
        </p:style>
      </p:cxnSp>
      <p:sp>
        <p:nvSpPr>
          <p:cNvPr id="36" name="矩形 35">
            <a:extLst>
              <a:ext uri="{FF2B5EF4-FFF2-40B4-BE49-F238E27FC236}">
                <a16:creationId xmlns:a16="http://schemas.microsoft.com/office/drawing/2014/main" id="{955F2182-197E-492B-A4FD-F9B87A8AF659}"/>
              </a:ext>
            </a:extLst>
          </p:cNvPr>
          <p:cNvSpPr/>
          <p:nvPr/>
        </p:nvSpPr>
        <p:spPr>
          <a:xfrm>
            <a:off x="4278312" y="4739421"/>
            <a:ext cx="642938" cy="642937"/>
          </a:xfrm>
          <a:prstGeom prst="rect">
            <a:avLst/>
          </a:prstGeom>
          <a:solidFill>
            <a:schemeClr val="bg1"/>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tx1"/>
                </a:solidFill>
              </a:rPr>
              <a:t>到货预定</a:t>
            </a:r>
          </a:p>
        </p:txBody>
      </p:sp>
      <p:sp>
        <p:nvSpPr>
          <p:cNvPr id="37" name="矩形 36">
            <a:extLst>
              <a:ext uri="{FF2B5EF4-FFF2-40B4-BE49-F238E27FC236}">
                <a16:creationId xmlns:a16="http://schemas.microsoft.com/office/drawing/2014/main" id="{939D6229-7940-489D-A574-9DD9FCC437F6}"/>
              </a:ext>
            </a:extLst>
          </p:cNvPr>
          <p:cNvSpPr/>
          <p:nvPr/>
        </p:nvSpPr>
        <p:spPr>
          <a:xfrm>
            <a:off x="5095875" y="4739421"/>
            <a:ext cx="642937" cy="642937"/>
          </a:xfrm>
          <a:prstGeom prst="rect">
            <a:avLst/>
          </a:prstGeom>
          <a:solidFill>
            <a:schemeClr val="bg1"/>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tx1"/>
                </a:solidFill>
              </a:rPr>
              <a:t>入库</a:t>
            </a:r>
          </a:p>
        </p:txBody>
      </p:sp>
      <p:sp>
        <p:nvSpPr>
          <p:cNvPr id="38" name="矩形 37">
            <a:extLst>
              <a:ext uri="{FF2B5EF4-FFF2-40B4-BE49-F238E27FC236}">
                <a16:creationId xmlns:a16="http://schemas.microsoft.com/office/drawing/2014/main" id="{3BF79214-362D-4875-BA1E-4A37565BE90D}"/>
              </a:ext>
            </a:extLst>
          </p:cNvPr>
          <p:cNvSpPr/>
          <p:nvPr/>
        </p:nvSpPr>
        <p:spPr>
          <a:xfrm>
            <a:off x="5895975" y="4739421"/>
            <a:ext cx="642937" cy="642937"/>
          </a:xfrm>
          <a:prstGeom prst="rect">
            <a:avLst/>
          </a:prstGeom>
          <a:solidFill>
            <a:schemeClr val="bg1"/>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tx1"/>
                </a:solidFill>
              </a:rPr>
              <a:t>拣货</a:t>
            </a:r>
          </a:p>
        </p:txBody>
      </p:sp>
      <p:sp>
        <p:nvSpPr>
          <p:cNvPr id="39" name="矩形 38">
            <a:extLst>
              <a:ext uri="{FF2B5EF4-FFF2-40B4-BE49-F238E27FC236}">
                <a16:creationId xmlns:a16="http://schemas.microsoft.com/office/drawing/2014/main" id="{765798BA-EEB6-4E75-BA79-1BC1B1366CB8}"/>
              </a:ext>
            </a:extLst>
          </p:cNvPr>
          <p:cNvSpPr/>
          <p:nvPr/>
        </p:nvSpPr>
        <p:spPr>
          <a:xfrm>
            <a:off x="6702425" y="4739421"/>
            <a:ext cx="928687" cy="642937"/>
          </a:xfrm>
          <a:prstGeom prst="rect">
            <a:avLst/>
          </a:prstGeom>
          <a:solidFill>
            <a:schemeClr val="bg1"/>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tx1"/>
                </a:solidFill>
              </a:rPr>
              <a:t>库位库存平衡</a:t>
            </a:r>
          </a:p>
        </p:txBody>
      </p:sp>
      <p:cxnSp>
        <p:nvCxnSpPr>
          <p:cNvPr id="40" name="直接连接符 39">
            <a:extLst>
              <a:ext uri="{FF2B5EF4-FFF2-40B4-BE49-F238E27FC236}">
                <a16:creationId xmlns:a16="http://schemas.microsoft.com/office/drawing/2014/main" id="{E9357F69-3F88-4512-B7AA-9235A8F937C5}"/>
              </a:ext>
            </a:extLst>
          </p:cNvPr>
          <p:cNvCxnSpPr/>
          <p:nvPr/>
        </p:nvCxnSpPr>
        <p:spPr>
          <a:xfrm>
            <a:off x="4116387" y="5079146"/>
            <a:ext cx="163513" cy="4762"/>
          </a:xfrm>
          <a:prstGeom prst="line">
            <a:avLst/>
          </a:prstGeom>
          <a:ln w="508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41" name="直接连接符 40">
            <a:extLst>
              <a:ext uri="{FF2B5EF4-FFF2-40B4-BE49-F238E27FC236}">
                <a16:creationId xmlns:a16="http://schemas.microsoft.com/office/drawing/2014/main" id="{231A1A8E-F7CA-4B7D-9D4D-0B0F3734FFA4}"/>
              </a:ext>
            </a:extLst>
          </p:cNvPr>
          <p:cNvCxnSpPr/>
          <p:nvPr/>
        </p:nvCxnSpPr>
        <p:spPr>
          <a:xfrm>
            <a:off x="4927600" y="5060096"/>
            <a:ext cx="161925" cy="4762"/>
          </a:xfrm>
          <a:prstGeom prst="line">
            <a:avLst/>
          </a:prstGeom>
          <a:ln w="508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 name="直接连接符 41">
            <a:extLst>
              <a:ext uri="{FF2B5EF4-FFF2-40B4-BE49-F238E27FC236}">
                <a16:creationId xmlns:a16="http://schemas.microsoft.com/office/drawing/2014/main" id="{37BF9E18-67F3-46EE-9B10-5F22FCDCF140}"/>
              </a:ext>
            </a:extLst>
          </p:cNvPr>
          <p:cNvCxnSpPr/>
          <p:nvPr/>
        </p:nvCxnSpPr>
        <p:spPr>
          <a:xfrm>
            <a:off x="5738812" y="5060096"/>
            <a:ext cx="163513" cy="4762"/>
          </a:xfrm>
          <a:prstGeom prst="line">
            <a:avLst/>
          </a:prstGeom>
          <a:ln w="508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 name="直接连接符 42">
            <a:extLst>
              <a:ext uri="{FF2B5EF4-FFF2-40B4-BE49-F238E27FC236}">
                <a16:creationId xmlns:a16="http://schemas.microsoft.com/office/drawing/2014/main" id="{57BB5E44-05A4-4B6C-8F6F-ED8722860B22}"/>
              </a:ext>
            </a:extLst>
          </p:cNvPr>
          <p:cNvCxnSpPr/>
          <p:nvPr/>
        </p:nvCxnSpPr>
        <p:spPr>
          <a:xfrm>
            <a:off x="6535737" y="5060096"/>
            <a:ext cx="163513" cy="4762"/>
          </a:xfrm>
          <a:prstGeom prst="line">
            <a:avLst/>
          </a:prstGeom>
          <a:ln w="508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直接连接符 43">
            <a:extLst>
              <a:ext uri="{FF2B5EF4-FFF2-40B4-BE49-F238E27FC236}">
                <a16:creationId xmlns:a16="http://schemas.microsoft.com/office/drawing/2014/main" id="{98F4CD11-302D-45EF-9E95-CF05F0120FF8}"/>
              </a:ext>
            </a:extLst>
          </p:cNvPr>
          <p:cNvCxnSpPr/>
          <p:nvPr/>
        </p:nvCxnSpPr>
        <p:spPr>
          <a:xfrm>
            <a:off x="7632700" y="5060096"/>
            <a:ext cx="392112" cy="1587"/>
          </a:xfrm>
          <a:prstGeom prst="line">
            <a:avLst/>
          </a:prstGeom>
          <a:ln w="508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45" name="椭圆 44">
            <a:extLst>
              <a:ext uri="{FF2B5EF4-FFF2-40B4-BE49-F238E27FC236}">
                <a16:creationId xmlns:a16="http://schemas.microsoft.com/office/drawing/2014/main" id="{62B47F83-5197-4A18-A272-C17DFF33CE1B}"/>
              </a:ext>
            </a:extLst>
          </p:cNvPr>
          <p:cNvSpPr/>
          <p:nvPr/>
        </p:nvSpPr>
        <p:spPr>
          <a:xfrm>
            <a:off x="8024812" y="4988658"/>
            <a:ext cx="214313" cy="142875"/>
          </a:xfrm>
          <a:prstGeom prst="ellipse">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46" name="TextBox 39">
            <a:extLst>
              <a:ext uri="{FF2B5EF4-FFF2-40B4-BE49-F238E27FC236}">
                <a16:creationId xmlns:a16="http://schemas.microsoft.com/office/drawing/2014/main" id="{E7A158AE-8DAD-40B4-A688-5BA3E4191DAC}"/>
              </a:ext>
            </a:extLst>
          </p:cNvPr>
          <p:cNvSpPr txBox="1">
            <a:spLocks noChangeArrowheads="1"/>
          </p:cNvSpPr>
          <p:nvPr/>
        </p:nvSpPr>
        <p:spPr bwMode="auto">
          <a:xfrm>
            <a:off x="4759325" y="3718658"/>
            <a:ext cx="13366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en-US" altLang="zh-CN"/>
              <a:t>LIMS</a:t>
            </a:r>
            <a:r>
              <a:rPr lang="zh-CN" altLang="en-US"/>
              <a:t>领域</a:t>
            </a:r>
          </a:p>
        </p:txBody>
      </p:sp>
      <p:sp>
        <p:nvSpPr>
          <p:cNvPr id="47" name="矩形 46">
            <a:extLst>
              <a:ext uri="{FF2B5EF4-FFF2-40B4-BE49-F238E27FC236}">
                <a16:creationId xmlns:a16="http://schemas.microsoft.com/office/drawing/2014/main" id="{B3E10FDB-2E08-415B-BAC1-25ED69743C04}"/>
              </a:ext>
            </a:extLst>
          </p:cNvPr>
          <p:cNvSpPr/>
          <p:nvPr/>
        </p:nvSpPr>
        <p:spPr>
          <a:xfrm>
            <a:off x="8096250" y="4029808"/>
            <a:ext cx="1143000" cy="474663"/>
          </a:xfrm>
          <a:prstGeom prst="rect">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tx1"/>
                </a:solidFill>
              </a:rPr>
              <a:t>中间品检验</a:t>
            </a:r>
          </a:p>
        </p:txBody>
      </p:sp>
      <p:sp>
        <p:nvSpPr>
          <p:cNvPr id="48" name="矩形 47">
            <a:extLst>
              <a:ext uri="{FF2B5EF4-FFF2-40B4-BE49-F238E27FC236}">
                <a16:creationId xmlns:a16="http://schemas.microsoft.com/office/drawing/2014/main" id="{EBC9DC0D-3C72-4FCF-9A45-5E2B18957961}"/>
              </a:ext>
            </a:extLst>
          </p:cNvPr>
          <p:cNvSpPr/>
          <p:nvPr/>
        </p:nvSpPr>
        <p:spPr>
          <a:xfrm>
            <a:off x="9388475" y="4029808"/>
            <a:ext cx="1143000" cy="474663"/>
          </a:xfrm>
          <a:prstGeom prst="rect">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tx1"/>
                </a:solidFill>
              </a:rPr>
              <a:t>成品检验</a:t>
            </a:r>
          </a:p>
        </p:txBody>
      </p:sp>
      <p:sp>
        <p:nvSpPr>
          <p:cNvPr id="49" name="矩形 48">
            <a:extLst>
              <a:ext uri="{FF2B5EF4-FFF2-40B4-BE49-F238E27FC236}">
                <a16:creationId xmlns:a16="http://schemas.microsoft.com/office/drawing/2014/main" id="{82639EF0-A7A9-4FC1-A64C-C1BBAC9FF3FF}"/>
              </a:ext>
            </a:extLst>
          </p:cNvPr>
          <p:cNvSpPr/>
          <p:nvPr/>
        </p:nvSpPr>
        <p:spPr>
          <a:xfrm>
            <a:off x="4737100" y="4029808"/>
            <a:ext cx="1143000" cy="474663"/>
          </a:xfrm>
          <a:prstGeom prst="rect">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tx1"/>
                </a:solidFill>
              </a:rPr>
              <a:t>到货验收</a:t>
            </a:r>
          </a:p>
        </p:txBody>
      </p:sp>
      <p:cxnSp>
        <p:nvCxnSpPr>
          <p:cNvPr id="50" name="直接连接符 49">
            <a:extLst>
              <a:ext uri="{FF2B5EF4-FFF2-40B4-BE49-F238E27FC236}">
                <a16:creationId xmlns:a16="http://schemas.microsoft.com/office/drawing/2014/main" id="{18B7C517-96CC-46B6-BED3-20A22E993EFB}"/>
              </a:ext>
            </a:extLst>
          </p:cNvPr>
          <p:cNvCxnSpPr>
            <a:stCxn id="49" idx="3"/>
            <a:endCxn id="47" idx="1"/>
          </p:cNvCxnSpPr>
          <p:nvPr/>
        </p:nvCxnSpPr>
        <p:spPr>
          <a:xfrm>
            <a:off x="5880100" y="4266346"/>
            <a:ext cx="2216150" cy="1587"/>
          </a:xfrm>
          <a:prstGeom prst="line">
            <a:avLst/>
          </a:prstGeom>
          <a:ln w="508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51" name="直接连接符 50">
            <a:extLst>
              <a:ext uri="{FF2B5EF4-FFF2-40B4-BE49-F238E27FC236}">
                <a16:creationId xmlns:a16="http://schemas.microsoft.com/office/drawing/2014/main" id="{8C9E35F2-A177-446C-B452-EF0E62C5317E}"/>
              </a:ext>
            </a:extLst>
          </p:cNvPr>
          <p:cNvCxnSpPr/>
          <p:nvPr/>
        </p:nvCxnSpPr>
        <p:spPr>
          <a:xfrm>
            <a:off x="9239250" y="4248883"/>
            <a:ext cx="163512" cy="4763"/>
          </a:xfrm>
          <a:prstGeom prst="line">
            <a:avLst/>
          </a:prstGeom>
          <a:ln w="508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52" name="直接连接符 51">
            <a:extLst>
              <a:ext uri="{FF2B5EF4-FFF2-40B4-BE49-F238E27FC236}">
                <a16:creationId xmlns:a16="http://schemas.microsoft.com/office/drawing/2014/main" id="{5DEF992E-2C42-4EBB-B98C-9E65672F7DA8}"/>
              </a:ext>
            </a:extLst>
          </p:cNvPr>
          <p:cNvCxnSpPr/>
          <p:nvPr/>
        </p:nvCxnSpPr>
        <p:spPr>
          <a:xfrm>
            <a:off x="10536237" y="4259996"/>
            <a:ext cx="214313" cy="1587"/>
          </a:xfrm>
          <a:prstGeom prst="line">
            <a:avLst/>
          </a:prstGeom>
          <a:ln w="50800">
            <a:solidFill>
              <a:srgbClr val="FFC000"/>
            </a:solidFill>
          </a:ln>
        </p:spPr>
        <p:style>
          <a:lnRef idx="1">
            <a:schemeClr val="accent1"/>
          </a:lnRef>
          <a:fillRef idx="0">
            <a:schemeClr val="accent1"/>
          </a:fillRef>
          <a:effectRef idx="0">
            <a:schemeClr val="accent1"/>
          </a:effectRef>
          <a:fontRef idx="minor">
            <a:schemeClr val="tx1"/>
          </a:fontRef>
        </p:style>
      </p:cxnSp>
      <p:sp>
        <p:nvSpPr>
          <p:cNvPr id="53" name="椭圆 52">
            <a:extLst>
              <a:ext uri="{FF2B5EF4-FFF2-40B4-BE49-F238E27FC236}">
                <a16:creationId xmlns:a16="http://schemas.microsoft.com/office/drawing/2014/main" id="{063EAC1C-5C4D-4A04-B290-39518F24EAA6}"/>
              </a:ext>
            </a:extLst>
          </p:cNvPr>
          <p:cNvSpPr/>
          <p:nvPr/>
        </p:nvSpPr>
        <p:spPr>
          <a:xfrm>
            <a:off x="10753725" y="4188558"/>
            <a:ext cx="214312" cy="142875"/>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cxnSp>
        <p:nvCxnSpPr>
          <p:cNvPr id="54" name="直接箭头连接符 53">
            <a:extLst>
              <a:ext uri="{FF2B5EF4-FFF2-40B4-BE49-F238E27FC236}">
                <a16:creationId xmlns:a16="http://schemas.microsoft.com/office/drawing/2014/main" id="{FD221A72-009B-46BC-9335-86E40FB3B38F}"/>
              </a:ext>
            </a:extLst>
          </p:cNvPr>
          <p:cNvCxnSpPr/>
          <p:nvPr/>
        </p:nvCxnSpPr>
        <p:spPr>
          <a:xfrm rot="5400000">
            <a:off x="8411368" y="3787715"/>
            <a:ext cx="465137" cy="0"/>
          </a:xfrm>
          <a:prstGeom prst="straightConnector1">
            <a:avLst/>
          </a:prstGeom>
          <a:ln w="50800">
            <a:solidFill>
              <a:srgbClr val="FFC000"/>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55" name="直接箭头连接符 54">
            <a:extLst>
              <a:ext uri="{FF2B5EF4-FFF2-40B4-BE49-F238E27FC236}">
                <a16:creationId xmlns:a16="http://schemas.microsoft.com/office/drawing/2014/main" id="{198C9CE8-B975-4B8A-8029-57E06AFAC5B9}"/>
              </a:ext>
            </a:extLst>
          </p:cNvPr>
          <p:cNvCxnSpPr/>
          <p:nvPr/>
        </p:nvCxnSpPr>
        <p:spPr>
          <a:xfrm rot="5400000">
            <a:off x="5687218" y="4133790"/>
            <a:ext cx="1095375" cy="1588"/>
          </a:xfrm>
          <a:prstGeom prst="straightConnector1">
            <a:avLst/>
          </a:prstGeom>
          <a:ln w="50800">
            <a:solidFill>
              <a:schemeClr val="accent6">
                <a:lumMod val="50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56" name="直接箭头连接符 55">
            <a:extLst>
              <a:ext uri="{FF2B5EF4-FFF2-40B4-BE49-F238E27FC236}">
                <a16:creationId xmlns:a16="http://schemas.microsoft.com/office/drawing/2014/main" id="{1C9D0A7A-793A-446D-8F21-7C5D4072E86D}"/>
              </a:ext>
            </a:extLst>
          </p:cNvPr>
          <p:cNvCxnSpPr/>
          <p:nvPr/>
        </p:nvCxnSpPr>
        <p:spPr>
          <a:xfrm rot="5400000">
            <a:off x="9726612" y="3782158"/>
            <a:ext cx="465138" cy="1588"/>
          </a:xfrm>
          <a:prstGeom prst="straightConnector1">
            <a:avLst/>
          </a:prstGeom>
          <a:ln w="50800">
            <a:solidFill>
              <a:srgbClr val="FFC000"/>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57" name="直接箭头连接符 56">
            <a:extLst>
              <a:ext uri="{FF2B5EF4-FFF2-40B4-BE49-F238E27FC236}">
                <a16:creationId xmlns:a16="http://schemas.microsoft.com/office/drawing/2014/main" id="{6A7C8B5F-D7EC-4690-8CC3-75053A629C82}"/>
              </a:ext>
            </a:extLst>
          </p:cNvPr>
          <p:cNvCxnSpPr/>
          <p:nvPr/>
        </p:nvCxnSpPr>
        <p:spPr>
          <a:xfrm rot="5400000" flipH="1" flipV="1">
            <a:off x="5263356" y="4608452"/>
            <a:ext cx="292100" cy="1588"/>
          </a:xfrm>
          <a:prstGeom prst="straightConnector1">
            <a:avLst/>
          </a:prstGeom>
          <a:ln w="50800">
            <a:solidFill>
              <a:srgbClr val="FFC000"/>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58" name="矩形 57">
            <a:extLst>
              <a:ext uri="{FF2B5EF4-FFF2-40B4-BE49-F238E27FC236}">
                <a16:creationId xmlns:a16="http://schemas.microsoft.com/office/drawing/2014/main" id="{36E852A6-A098-4866-A337-F9CC22513030}"/>
              </a:ext>
            </a:extLst>
          </p:cNvPr>
          <p:cNvSpPr/>
          <p:nvPr/>
        </p:nvSpPr>
        <p:spPr>
          <a:xfrm>
            <a:off x="2933700" y="3086833"/>
            <a:ext cx="1204912" cy="511175"/>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59" name="矩形 58">
            <a:extLst>
              <a:ext uri="{FF2B5EF4-FFF2-40B4-BE49-F238E27FC236}">
                <a16:creationId xmlns:a16="http://schemas.microsoft.com/office/drawing/2014/main" id="{90A82900-3556-4A39-9BB8-22DC53C70BF4}"/>
              </a:ext>
            </a:extLst>
          </p:cNvPr>
          <p:cNvSpPr/>
          <p:nvPr/>
        </p:nvSpPr>
        <p:spPr>
          <a:xfrm>
            <a:off x="2970212" y="3123346"/>
            <a:ext cx="1143000" cy="4286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tx1"/>
                </a:solidFill>
              </a:rPr>
              <a:t>生产计划</a:t>
            </a:r>
          </a:p>
        </p:txBody>
      </p:sp>
      <p:sp>
        <p:nvSpPr>
          <p:cNvPr id="60" name="矩形 59">
            <a:extLst>
              <a:ext uri="{FF2B5EF4-FFF2-40B4-BE49-F238E27FC236}">
                <a16:creationId xmlns:a16="http://schemas.microsoft.com/office/drawing/2014/main" id="{759C8DF6-F0B7-4AA0-9746-2AB26405BC10}"/>
              </a:ext>
            </a:extLst>
          </p:cNvPr>
          <p:cNvSpPr/>
          <p:nvPr/>
        </p:nvSpPr>
        <p:spPr>
          <a:xfrm>
            <a:off x="2936875" y="4791808"/>
            <a:ext cx="1204912" cy="511175"/>
          </a:xfrm>
          <a:prstGeom prst="rect">
            <a:avLst/>
          </a:prstGeom>
          <a:solidFill>
            <a:schemeClr val="bg1"/>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61" name="矩形 60">
            <a:extLst>
              <a:ext uri="{FF2B5EF4-FFF2-40B4-BE49-F238E27FC236}">
                <a16:creationId xmlns:a16="http://schemas.microsoft.com/office/drawing/2014/main" id="{BCAB58F6-EA6B-47A1-AECA-7E5DF5F9F790}"/>
              </a:ext>
            </a:extLst>
          </p:cNvPr>
          <p:cNvSpPr/>
          <p:nvPr/>
        </p:nvSpPr>
        <p:spPr>
          <a:xfrm>
            <a:off x="2962275" y="4828321"/>
            <a:ext cx="1143000" cy="4286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tx1"/>
                </a:solidFill>
              </a:rPr>
              <a:t>采购管理</a:t>
            </a:r>
          </a:p>
        </p:txBody>
      </p:sp>
      <p:sp>
        <p:nvSpPr>
          <p:cNvPr id="62" name="矩形 61">
            <a:extLst>
              <a:ext uri="{FF2B5EF4-FFF2-40B4-BE49-F238E27FC236}">
                <a16:creationId xmlns:a16="http://schemas.microsoft.com/office/drawing/2014/main" id="{F54039F9-2B03-4CC9-AC8E-3AF0610914A9}"/>
              </a:ext>
            </a:extLst>
          </p:cNvPr>
          <p:cNvSpPr/>
          <p:nvPr/>
        </p:nvSpPr>
        <p:spPr>
          <a:xfrm>
            <a:off x="6307137" y="1870808"/>
            <a:ext cx="730250" cy="584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tx1"/>
                </a:solidFill>
              </a:rPr>
              <a:t>数据采集</a:t>
            </a:r>
          </a:p>
        </p:txBody>
      </p:sp>
      <p:sp>
        <p:nvSpPr>
          <p:cNvPr id="63" name="矩形 62">
            <a:extLst>
              <a:ext uri="{FF2B5EF4-FFF2-40B4-BE49-F238E27FC236}">
                <a16:creationId xmlns:a16="http://schemas.microsoft.com/office/drawing/2014/main" id="{E168B71B-01BC-4E58-99FB-6EECA9FE308B}"/>
              </a:ext>
            </a:extLst>
          </p:cNvPr>
          <p:cNvSpPr/>
          <p:nvPr/>
        </p:nvSpPr>
        <p:spPr>
          <a:xfrm>
            <a:off x="7621587" y="1870808"/>
            <a:ext cx="730250" cy="5842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tx1"/>
                </a:solidFill>
              </a:rPr>
              <a:t>异常报警</a:t>
            </a:r>
          </a:p>
        </p:txBody>
      </p:sp>
      <p:cxnSp>
        <p:nvCxnSpPr>
          <p:cNvPr id="64" name="直接箭头连接符 63">
            <a:extLst>
              <a:ext uri="{FF2B5EF4-FFF2-40B4-BE49-F238E27FC236}">
                <a16:creationId xmlns:a16="http://schemas.microsoft.com/office/drawing/2014/main" id="{C4AE9432-097F-449A-BD43-4A432FADBB14}"/>
              </a:ext>
            </a:extLst>
          </p:cNvPr>
          <p:cNvCxnSpPr>
            <a:stCxn id="62" idx="2"/>
            <a:endCxn id="26" idx="0"/>
          </p:cNvCxnSpPr>
          <p:nvPr/>
        </p:nvCxnSpPr>
        <p:spPr>
          <a:xfrm rot="16200000" flipH="1">
            <a:off x="6830219" y="2297051"/>
            <a:ext cx="393700" cy="709613"/>
          </a:xfrm>
          <a:prstGeom prst="straightConnector1">
            <a:avLst/>
          </a:prstGeom>
          <a:ln w="5080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65" name="直接箭头连接符 64">
            <a:extLst>
              <a:ext uri="{FF2B5EF4-FFF2-40B4-BE49-F238E27FC236}">
                <a16:creationId xmlns:a16="http://schemas.microsoft.com/office/drawing/2014/main" id="{006BB851-2180-472E-AD0B-06C8BF9649F8}"/>
              </a:ext>
            </a:extLst>
          </p:cNvPr>
          <p:cNvCxnSpPr>
            <a:stCxn id="63" idx="2"/>
            <a:endCxn id="26" idx="0"/>
          </p:cNvCxnSpPr>
          <p:nvPr/>
        </p:nvCxnSpPr>
        <p:spPr>
          <a:xfrm rot="5400000">
            <a:off x="7487444" y="2349439"/>
            <a:ext cx="393700" cy="604837"/>
          </a:xfrm>
          <a:prstGeom prst="straightConnector1">
            <a:avLst/>
          </a:prstGeom>
          <a:ln w="5080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66" name="TextBox 59">
            <a:extLst>
              <a:ext uri="{FF2B5EF4-FFF2-40B4-BE49-F238E27FC236}">
                <a16:creationId xmlns:a16="http://schemas.microsoft.com/office/drawing/2014/main" id="{26AAB25A-3AEE-4CA1-9355-3D5140268D8F}"/>
              </a:ext>
            </a:extLst>
          </p:cNvPr>
          <p:cNvSpPr txBox="1">
            <a:spLocks noChangeArrowheads="1"/>
          </p:cNvSpPr>
          <p:nvPr/>
        </p:nvSpPr>
        <p:spPr bwMode="auto">
          <a:xfrm>
            <a:off x="5902325" y="1445358"/>
            <a:ext cx="21224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en-US" altLang="zh-CN" dirty="0"/>
              <a:t>SCADA/DCS</a:t>
            </a:r>
            <a:r>
              <a:rPr lang="zh-CN" altLang="en-US" dirty="0"/>
              <a:t>领域</a:t>
            </a:r>
          </a:p>
        </p:txBody>
      </p:sp>
      <p:sp>
        <p:nvSpPr>
          <p:cNvPr id="67" name="TextBox 60">
            <a:extLst>
              <a:ext uri="{FF2B5EF4-FFF2-40B4-BE49-F238E27FC236}">
                <a16:creationId xmlns:a16="http://schemas.microsoft.com/office/drawing/2014/main" id="{AF3AD86B-E91F-40FC-B36A-0BB1DCAA2D9B}"/>
              </a:ext>
            </a:extLst>
          </p:cNvPr>
          <p:cNvSpPr txBox="1">
            <a:spLocks noChangeArrowheads="1"/>
          </p:cNvSpPr>
          <p:nvPr/>
        </p:nvSpPr>
        <p:spPr bwMode="auto">
          <a:xfrm>
            <a:off x="5342489" y="865127"/>
            <a:ext cx="29940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sz="2400" dirty="0"/>
              <a:t>全程质量保障</a:t>
            </a:r>
          </a:p>
        </p:txBody>
      </p:sp>
      <p:sp>
        <p:nvSpPr>
          <p:cNvPr id="68" name="TextBox 61">
            <a:extLst>
              <a:ext uri="{FF2B5EF4-FFF2-40B4-BE49-F238E27FC236}">
                <a16:creationId xmlns:a16="http://schemas.microsoft.com/office/drawing/2014/main" id="{47ED4A4D-164B-4C5C-89D0-B606957A0031}"/>
              </a:ext>
            </a:extLst>
          </p:cNvPr>
          <p:cNvSpPr txBox="1">
            <a:spLocks noChangeArrowheads="1"/>
          </p:cNvSpPr>
          <p:nvPr/>
        </p:nvSpPr>
        <p:spPr bwMode="auto">
          <a:xfrm>
            <a:off x="5284787" y="5888771"/>
            <a:ext cx="25558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a:t>生产全过程数据完整性</a:t>
            </a:r>
          </a:p>
        </p:txBody>
      </p:sp>
      <p:sp>
        <p:nvSpPr>
          <p:cNvPr id="69" name="TextBox 62">
            <a:extLst>
              <a:ext uri="{FF2B5EF4-FFF2-40B4-BE49-F238E27FC236}">
                <a16:creationId xmlns:a16="http://schemas.microsoft.com/office/drawing/2014/main" id="{51022437-2190-4AA2-ACC3-E4FAEF6DBC50}"/>
              </a:ext>
            </a:extLst>
          </p:cNvPr>
          <p:cNvSpPr txBox="1">
            <a:spLocks noChangeArrowheads="1"/>
          </p:cNvSpPr>
          <p:nvPr/>
        </p:nvSpPr>
        <p:spPr bwMode="auto">
          <a:xfrm>
            <a:off x="1881187" y="2731233"/>
            <a:ext cx="12858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en-US" altLang="zh-CN"/>
              <a:t>MES</a:t>
            </a:r>
            <a:r>
              <a:rPr lang="zh-CN" altLang="en-US"/>
              <a:t>领域</a:t>
            </a:r>
          </a:p>
        </p:txBody>
      </p:sp>
      <p:sp>
        <p:nvSpPr>
          <p:cNvPr id="70" name="TextBox 63">
            <a:extLst>
              <a:ext uri="{FF2B5EF4-FFF2-40B4-BE49-F238E27FC236}">
                <a16:creationId xmlns:a16="http://schemas.microsoft.com/office/drawing/2014/main" id="{65E394F1-44D2-4839-A0A0-BEDC81027C7D}"/>
              </a:ext>
            </a:extLst>
          </p:cNvPr>
          <p:cNvSpPr txBox="1">
            <a:spLocks noChangeArrowheads="1"/>
          </p:cNvSpPr>
          <p:nvPr/>
        </p:nvSpPr>
        <p:spPr bwMode="auto">
          <a:xfrm>
            <a:off x="1881187" y="4445733"/>
            <a:ext cx="12858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en-US" altLang="zh-CN"/>
              <a:t>WMS</a:t>
            </a:r>
            <a:r>
              <a:rPr lang="zh-CN" altLang="en-US"/>
              <a:t>领域</a:t>
            </a:r>
          </a:p>
        </p:txBody>
      </p:sp>
    </p:spTree>
    <p:extLst>
      <p:ext uri="{BB962C8B-B14F-4D97-AF65-F5344CB8AC3E}">
        <p14:creationId xmlns:p14="http://schemas.microsoft.com/office/powerpoint/2010/main" val="2499733342"/>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7" y="114300"/>
            <a:ext cx="7196608"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fontScale="85000" lnSpcReduction="10000"/>
          </a:bodyPr>
          <a:lstStyle/>
          <a:p>
            <a:pPr marL="177800">
              <a:lnSpc>
                <a:spcPts val="2600"/>
              </a:lnSpc>
              <a:defRPr/>
            </a:pPr>
            <a:r>
              <a:rPr lang="zh-CN" altLang="en-US" sz="3600" b="1" dirty="0">
                <a:solidFill>
                  <a:srgbClr val="0070C0"/>
                </a:solidFill>
                <a:latin typeface="+mj-ea"/>
                <a:ea typeface="+mj-ea"/>
              </a:rPr>
              <a:t>数字化生产的价值</a:t>
            </a:r>
            <a:r>
              <a:rPr lang="en-US" altLang="zh-CN" sz="3600" b="1" dirty="0">
                <a:solidFill>
                  <a:srgbClr val="0070C0"/>
                </a:solidFill>
                <a:latin typeface="+mj-ea"/>
                <a:ea typeface="+mj-ea"/>
              </a:rPr>
              <a:t>-</a:t>
            </a:r>
            <a:r>
              <a:rPr lang="zh-CN" altLang="en-US" sz="3600" b="1" dirty="0">
                <a:solidFill>
                  <a:srgbClr val="0070C0"/>
                </a:solidFill>
                <a:latin typeface="+mj-ea"/>
                <a:ea typeface="+mj-ea"/>
              </a:rPr>
              <a:t>完整的电子批记录</a:t>
            </a:r>
          </a:p>
        </p:txBody>
      </p:sp>
      <p:pic>
        <p:nvPicPr>
          <p:cNvPr id="90" name="Picture 2">
            <a:extLst>
              <a:ext uri="{FF2B5EF4-FFF2-40B4-BE49-F238E27FC236}">
                <a16:creationId xmlns:a16="http://schemas.microsoft.com/office/drawing/2014/main" id="{84439039-2FDE-4426-918D-824AAC627EEA}"/>
              </a:ext>
            </a:extLst>
          </p:cNvPr>
          <p:cNvPicPr>
            <a:picLocks noChangeAspect="1" noChangeArrowheads="1"/>
          </p:cNvPicPr>
          <p:nvPr/>
        </p:nvPicPr>
        <p:blipFill>
          <a:blip r:embed="rId3"/>
          <a:srcRect/>
          <a:stretch>
            <a:fillRect/>
          </a:stretch>
        </p:blipFill>
        <p:spPr bwMode="auto">
          <a:xfrm>
            <a:off x="3074504" y="997230"/>
            <a:ext cx="8009972" cy="5476439"/>
          </a:xfrm>
          <a:prstGeom prst="rect">
            <a:avLst/>
          </a:prstGeom>
          <a:noFill/>
          <a:ln w="9525">
            <a:noFill/>
            <a:miter lim="800000"/>
            <a:headEnd/>
            <a:tailEnd/>
          </a:ln>
          <a:effectLst>
            <a:prstShdw prst="shdw17" dist="17961" dir="2700000">
              <a:schemeClr val="accent1">
                <a:gamma/>
                <a:shade val="60000"/>
                <a:invGamma/>
              </a:schemeClr>
            </a:prstShdw>
          </a:effectLst>
        </p:spPr>
      </p:pic>
      <p:sp>
        <p:nvSpPr>
          <p:cNvPr id="91" name="TextBox 8">
            <a:extLst>
              <a:ext uri="{FF2B5EF4-FFF2-40B4-BE49-F238E27FC236}">
                <a16:creationId xmlns:a16="http://schemas.microsoft.com/office/drawing/2014/main" id="{62FFAB8C-D6BA-48C0-BA0B-169C74D8901B}"/>
              </a:ext>
            </a:extLst>
          </p:cNvPr>
          <p:cNvSpPr txBox="1"/>
          <p:nvPr/>
        </p:nvSpPr>
        <p:spPr>
          <a:xfrm>
            <a:off x="186177" y="1325443"/>
            <a:ext cx="3444919" cy="1631216"/>
          </a:xfrm>
          <a:prstGeom prst="rect">
            <a:avLst/>
          </a:prstGeom>
          <a:noFill/>
        </p:spPr>
        <p:txBody>
          <a:bodyPr wrap="square">
            <a:spAutoFit/>
          </a:bodyPr>
          <a:lstStyle/>
          <a:p>
            <a:pPr>
              <a:buFont typeface="Wingdings" pitchFamily="2" charset="2"/>
              <a:buChar char="ü"/>
              <a:defRPr/>
            </a:pPr>
            <a:r>
              <a:rPr lang="zh-CN" altLang="en-US" sz="2000" b="1" dirty="0">
                <a:latin typeface="+mn-ea"/>
                <a:ea typeface="+mn-ea"/>
              </a:rPr>
              <a:t>批次管理</a:t>
            </a:r>
            <a:endParaRPr lang="en-US" altLang="zh-CN" sz="2000" b="1" dirty="0">
              <a:latin typeface="+mn-ea"/>
              <a:ea typeface="+mn-ea"/>
            </a:endParaRPr>
          </a:p>
          <a:p>
            <a:pPr>
              <a:buFont typeface="Wingdings" pitchFamily="2" charset="2"/>
              <a:buChar char="ü"/>
              <a:defRPr/>
            </a:pPr>
            <a:r>
              <a:rPr lang="zh-CN" altLang="en-US" sz="2000" b="1" dirty="0">
                <a:latin typeface="+mn-ea"/>
                <a:ea typeface="+mn-ea"/>
              </a:rPr>
              <a:t>物料管理</a:t>
            </a:r>
            <a:endParaRPr lang="en-US" altLang="zh-CN" sz="2000" b="1" dirty="0">
              <a:latin typeface="+mn-ea"/>
              <a:ea typeface="+mn-ea"/>
            </a:endParaRPr>
          </a:p>
          <a:p>
            <a:pPr>
              <a:buFont typeface="Wingdings" pitchFamily="2" charset="2"/>
              <a:buChar char="ü"/>
              <a:defRPr/>
            </a:pPr>
            <a:r>
              <a:rPr lang="zh-CN" altLang="en-US" sz="2000" b="1" dirty="0">
                <a:latin typeface="+mn-ea"/>
                <a:ea typeface="+mn-ea"/>
              </a:rPr>
              <a:t>称重管理</a:t>
            </a:r>
            <a:endParaRPr lang="en-US" altLang="zh-CN" sz="2000" b="1" dirty="0">
              <a:latin typeface="+mn-ea"/>
              <a:ea typeface="+mn-ea"/>
            </a:endParaRPr>
          </a:p>
          <a:p>
            <a:pPr>
              <a:buFont typeface="Wingdings" pitchFamily="2" charset="2"/>
              <a:buChar char="ü"/>
              <a:defRPr/>
            </a:pPr>
            <a:r>
              <a:rPr lang="en-US" altLang="zh-CN" sz="2000" b="1" dirty="0">
                <a:latin typeface="+mn-ea"/>
                <a:ea typeface="+mn-ea"/>
              </a:rPr>
              <a:t>LIMS</a:t>
            </a:r>
            <a:r>
              <a:rPr lang="zh-CN" altLang="en-US" sz="2000" b="1" dirty="0">
                <a:latin typeface="+mn-ea"/>
                <a:ea typeface="+mn-ea"/>
              </a:rPr>
              <a:t>数据集成</a:t>
            </a:r>
            <a:endParaRPr lang="en-US" altLang="zh-CN" sz="2000" b="1" dirty="0">
              <a:latin typeface="+mn-ea"/>
              <a:ea typeface="+mn-ea"/>
            </a:endParaRPr>
          </a:p>
          <a:p>
            <a:pPr>
              <a:buFont typeface="Wingdings" pitchFamily="2" charset="2"/>
              <a:buChar char="ü"/>
              <a:defRPr/>
            </a:pPr>
            <a:r>
              <a:rPr lang="zh-CN" altLang="en-US" sz="2000" b="1" dirty="0">
                <a:latin typeface="+mn-ea"/>
                <a:ea typeface="+mn-ea"/>
              </a:rPr>
              <a:t>过程数据集成</a:t>
            </a:r>
            <a:endParaRPr lang="en-US" altLang="zh-CN" sz="2000" b="1" dirty="0">
              <a:latin typeface="+mn-ea"/>
              <a:ea typeface="+mn-ea"/>
            </a:endParaRPr>
          </a:p>
        </p:txBody>
      </p:sp>
      <p:sp>
        <p:nvSpPr>
          <p:cNvPr id="3" name="箭头: 下 2">
            <a:extLst>
              <a:ext uri="{FF2B5EF4-FFF2-40B4-BE49-F238E27FC236}">
                <a16:creationId xmlns:a16="http://schemas.microsoft.com/office/drawing/2014/main" id="{9390BAD2-3B6F-467E-9C0E-D1A2BD729388}"/>
              </a:ext>
            </a:extLst>
          </p:cNvPr>
          <p:cNvSpPr/>
          <p:nvPr/>
        </p:nvSpPr>
        <p:spPr>
          <a:xfrm>
            <a:off x="967408" y="2915239"/>
            <a:ext cx="371061" cy="82021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文本框 4">
            <a:extLst>
              <a:ext uri="{FF2B5EF4-FFF2-40B4-BE49-F238E27FC236}">
                <a16:creationId xmlns:a16="http://schemas.microsoft.com/office/drawing/2014/main" id="{2E202ED4-F599-4ED4-803A-C86E4D0B8CE4}"/>
              </a:ext>
            </a:extLst>
          </p:cNvPr>
          <p:cNvSpPr txBox="1"/>
          <p:nvPr/>
        </p:nvSpPr>
        <p:spPr>
          <a:xfrm>
            <a:off x="357810" y="3882887"/>
            <a:ext cx="1550504" cy="369332"/>
          </a:xfrm>
          <a:prstGeom prst="rect">
            <a:avLst/>
          </a:prstGeom>
          <a:noFill/>
        </p:spPr>
        <p:txBody>
          <a:bodyPr wrap="square" rtlCol="0">
            <a:spAutoFit/>
          </a:bodyPr>
          <a:lstStyle/>
          <a:p>
            <a:pPr algn="ctr"/>
            <a:r>
              <a:rPr lang="en-US" altLang="zh-CN" b="1" dirty="0">
                <a:latin typeface="+mn-ea"/>
                <a:ea typeface="+mn-ea"/>
              </a:rPr>
              <a:t>EBR</a:t>
            </a:r>
            <a:r>
              <a:rPr lang="zh-CN" altLang="en-US" b="1" dirty="0">
                <a:latin typeface="+mn-ea"/>
                <a:ea typeface="+mn-ea"/>
              </a:rPr>
              <a:t>实现</a:t>
            </a:r>
          </a:p>
        </p:txBody>
      </p:sp>
    </p:spTree>
    <p:extLst>
      <p:ext uri="{BB962C8B-B14F-4D97-AF65-F5344CB8AC3E}">
        <p14:creationId xmlns:p14="http://schemas.microsoft.com/office/powerpoint/2010/main" val="2678367470"/>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6" y="114300"/>
            <a:ext cx="7925478"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fontScale="92500"/>
          </a:bodyPr>
          <a:lstStyle/>
          <a:p>
            <a:pPr marL="177800">
              <a:lnSpc>
                <a:spcPts val="2600"/>
              </a:lnSpc>
              <a:defRPr/>
            </a:pPr>
            <a:r>
              <a:rPr lang="zh-CN" altLang="en-US" sz="3600" b="1" dirty="0">
                <a:solidFill>
                  <a:srgbClr val="0070C0"/>
                </a:solidFill>
                <a:latin typeface="+mj-ea"/>
                <a:ea typeface="+mj-ea"/>
              </a:rPr>
              <a:t>数字化生产的价值</a:t>
            </a:r>
            <a:r>
              <a:rPr lang="en-US" altLang="zh-CN" sz="3600" b="1" dirty="0">
                <a:solidFill>
                  <a:srgbClr val="0070C0"/>
                </a:solidFill>
                <a:latin typeface="+mj-ea"/>
                <a:ea typeface="+mj-ea"/>
              </a:rPr>
              <a:t>-</a:t>
            </a:r>
            <a:r>
              <a:rPr lang="zh-CN" altLang="en-US" sz="3600" b="1" dirty="0">
                <a:solidFill>
                  <a:srgbClr val="0070C0"/>
                </a:solidFill>
                <a:latin typeface="+mj-ea"/>
                <a:ea typeface="+mj-ea"/>
              </a:rPr>
              <a:t>基于工艺的风险控制</a:t>
            </a:r>
          </a:p>
        </p:txBody>
      </p:sp>
      <p:sp>
        <p:nvSpPr>
          <p:cNvPr id="71" name="矩形 53">
            <a:extLst>
              <a:ext uri="{FF2B5EF4-FFF2-40B4-BE49-F238E27FC236}">
                <a16:creationId xmlns:a16="http://schemas.microsoft.com/office/drawing/2014/main" id="{D84219D6-E18A-4F7F-8037-FE4E4D32AE3E}"/>
              </a:ext>
            </a:extLst>
          </p:cNvPr>
          <p:cNvSpPr>
            <a:spLocks noChangeArrowheads="1"/>
          </p:cNvSpPr>
          <p:nvPr/>
        </p:nvSpPr>
        <p:spPr bwMode="auto">
          <a:xfrm>
            <a:off x="2999549" y="1275520"/>
            <a:ext cx="2071688" cy="571500"/>
          </a:xfrm>
          <a:prstGeom prst="rect">
            <a:avLst/>
          </a:prstGeom>
          <a:solidFill>
            <a:schemeClr val="accent1"/>
          </a:solidFill>
          <a:ln w="9525" algn="ctr">
            <a:solidFill>
              <a:schemeClr val="tx1"/>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algn="ctr" eaLnBrk="1" hangingPunct="1"/>
            <a:r>
              <a:rPr lang="zh-CN" altLang="en-US"/>
              <a:t>生产前准备</a:t>
            </a:r>
          </a:p>
        </p:txBody>
      </p:sp>
      <p:sp>
        <p:nvSpPr>
          <p:cNvPr id="72" name="矩形 55">
            <a:extLst>
              <a:ext uri="{FF2B5EF4-FFF2-40B4-BE49-F238E27FC236}">
                <a16:creationId xmlns:a16="http://schemas.microsoft.com/office/drawing/2014/main" id="{6C03BDD2-D540-456D-9B52-288653516F8E}"/>
              </a:ext>
            </a:extLst>
          </p:cNvPr>
          <p:cNvSpPr>
            <a:spLocks noChangeArrowheads="1"/>
          </p:cNvSpPr>
          <p:nvPr/>
        </p:nvSpPr>
        <p:spPr bwMode="auto">
          <a:xfrm>
            <a:off x="5071237" y="1275520"/>
            <a:ext cx="2071687" cy="571500"/>
          </a:xfrm>
          <a:prstGeom prst="rect">
            <a:avLst/>
          </a:prstGeom>
          <a:solidFill>
            <a:schemeClr val="accent1"/>
          </a:solidFill>
          <a:ln w="9525" algn="ctr">
            <a:solidFill>
              <a:schemeClr val="tx1"/>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algn="ctr" eaLnBrk="1" hangingPunct="1"/>
            <a:r>
              <a:rPr lang="zh-CN" altLang="en-US"/>
              <a:t>洗瓶</a:t>
            </a:r>
          </a:p>
        </p:txBody>
      </p:sp>
      <p:sp>
        <p:nvSpPr>
          <p:cNvPr id="73" name="矩形 56">
            <a:extLst>
              <a:ext uri="{FF2B5EF4-FFF2-40B4-BE49-F238E27FC236}">
                <a16:creationId xmlns:a16="http://schemas.microsoft.com/office/drawing/2014/main" id="{7F757D6F-B42A-4975-9372-74C6780F9867}"/>
              </a:ext>
            </a:extLst>
          </p:cNvPr>
          <p:cNvSpPr>
            <a:spLocks noChangeArrowheads="1"/>
          </p:cNvSpPr>
          <p:nvPr/>
        </p:nvSpPr>
        <p:spPr bwMode="auto">
          <a:xfrm>
            <a:off x="7142924" y="1275520"/>
            <a:ext cx="2071688" cy="571500"/>
          </a:xfrm>
          <a:prstGeom prst="rect">
            <a:avLst/>
          </a:prstGeom>
          <a:solidFill>
            <a:schemeClr val="accent1"/>
          </a:solidFill>
          <a:ln w="9525" algn="ctr">
            <a:solidFill>
              <a:schemeClr val="tx1"/>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algn="ctr" eaLnBrk="1" hangingPunct="1"/>
            <a:r>
              <a:rPr lang="zh-CN" altLang="en-US"/>
              <a:t>清场</a:t>
            </a:r>
          </a:p>
        </p:txBody>
      </p:sp>
      <p:sp>
        <p:nvSpPr>
          <p:cNvPr id="74" name="矩形 57">
            <a:extLst>
              <a:ext uri="{FF2B5EF4-FFF2-40B4-BE49-F238E27FC236}">
                <a16:creationId xmlns:a16="http://schemas.microsoft.com/office/drawing/2014/main" id="{2FA9EA88-E1B0-4DC6-B9CB-BA7562F9F7E1}"/>
              </a:ext>
            </a:extLst>
          </p:cNvPr>
          <p:cNvSpPr>
            <a:spLocks noChangeArrowheads="1"/>
          </p:cNvSpPr>
          <p:nvPr/>
        </p:nvSpPr>
        <p:spPr bwMode="auto">
          <a:xfrm>
            <a:off x="9214612" y="1275520"/>
            <a:ext cx="2071687" cy="571500"/>
          </a:xfrm>
          <a:prstGeom prst="rect">
            <a:avLst/>
          </a:prstGeom>
          <a:solidFill>
            <a:schemeClr val="accent1"/>
          </a:solidFill>
          <a:ln w="9525" algn="ctr">
            <a:solidFill>
              <a:schemeClr val="tx1"/>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algn="ctr" eaLnBrk="1" hangingPunct="1"/>
            <a:r>
              <a:rPr lang="zh-CN" altLang="en-US"/>
              <a:t>退出</a:t>
            </a:r>
          </a:p>
        </p:txBody>
      </p:sp>
      <p:sp>
        <p:nvSpPr>
          <p:cNvPr id="75" name="矩形 74">
            <a:extLst>
              <a:ext uri="{FF2B5EF4-FFF2-40B4-BE49-F238E27FC236}">
                <a16:creationId xmlns:a16="http://schemas.microsoft.com/office/drawing/2014/main" id="{86244639-FF49-4E3A-916E-E07CA38B17FD}"/>
              </a:ext>
            </a:extLst>
          </p:cNvPr>
          <p:cNvSpPr/>
          <p:nvPr/>
        </p:nvSpPr>
        <p:spPr bwMode="auto">
          <a:xfrm>
            <a:off x="2999549" y="1847020"/>
            <a:ext cx="2071688" cy="1500188"/>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a:lstStyle/>
          <a:p>
            <a:pPr eaLnBrk="1" hangingPunct="1">
              <a:defRPr/>
            </a:pPr>
            <a:r>
              <a:rPr lang="en-US" altLang="zh-CN" dirty="0">
                <a:latin typeface="Arial" charset="0"/>
              </a:rPr>
              <a:t> </a:t>
            </a:r>
            <a:endParaRPr lang="zh-CN" altLang="en-US" dirty="0">
              <a:latin typeface="Arial" charset="0"/>
            </a:endParaRPr>
          </a:p>
        </p:txBody>
      </p:sp>
      <p:sp>
        <p:nvSpPr>
          <p:cNvPr id="76" name="矩形 75">
            <a:extLst>
              <a:ext uri="{FF2B5EF4-FFF2-40B4-BE49-F238E27FC236}">
                <a16:creationId xmlns:a16="http://schemas.microsoft.com/office/drawing/2014/main" id="{BBB0A5B3-49C1-4F46-B392-7E4A21C77F5D}"/>
              </a:ext>
            </a:extLst>
          </p:cNvPr>
          <p:cNvSpPr/>
          <p:nvPr/>
        </p:nvSpPr>
        <p:spPr bwMode="auto">
          <a:xfrm>
            <a:off x="5071237" y="1847020"/>
            <a:ext cx="2071687" cy="1500188"/>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a:lstStyle/>
          <a:p>
            <a:pPr eaLnBrk="1" hangingPunct="1">
              <a:defRPr/>
            </a:pPr>
            <a:endParaRPr lang="zh-CN" altLang="en-US">
              <a:latin typeface="Arial" charset="0"/>
            </a:endParaRPr>
          </a:p>
        </p:txBody>
      </p:sp>
      <p:sp>
        <p:nvSpPr>
          <p:cNvPr id="77" name="矩形 76">
            <a:extLst>
              <a:ext uri="{FF2B5EF4-FFF2-40B4-BE49-F238E27FC236}">
                <a16:creationId xmlns:a16="http://schemas.microsoft.com/office/drawing/2014/main" id="{807D5776-1E03-4E99-84D7-F9E2E26E0F44}"/>
              </a:ext>
            </a:extLst>
          </p:cNvPr>
          <p:cNvSpPr/>
          <p:nvPr/>
        </p:nvSpPr>
        <p:spPr bwMode="auto">
          <a:xfrm>
            <a:off x="7142924" y="1847020"/>
            <a:ext cx="2071688" cy="1500188"/>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a:lstStyle/>
          <a:p>
            <a:pPr eaLnBrk="1" hangingPunct="1">
              <a:defRPr/>
            </a:pPr>
            <a:endParaRPr lang="zh-CN" altLang="en-US">
              <a:latin typeface="Arial" charset="0"/>
            </a:endParaRPr>
          </a:p>
        </p:txBody>
      </p:sp>
      <p:sp>
        <p:nvSpPr>
          <p:cNvPr id="78" name="矩形 77">
            <a:extLst>
              <a:ext uri="{FF2B5EF4-FFF2-40B4-BE49-F238E27FC236}">
                <a16:creationId xmlns:a16="http://schemas.microsoft.com/office/drawing/2014/main" id="{F24C657D-1769-4345-8E58-F66668322FF7}"/>
              </a:ext>
            </a:extLst>
          </p:cNvPr>
          <p:cNvSpPr/>
          <p:nvPr/>
        </p:nvSpPr>
        <p:spPr bwMode="auto">
          <a:xfrm>
            <a:off x="9214612" y="1847020"/>
            <a:ext cx="2071687" cy="1500188"/>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p:spPr>
        <p:txBody>
          <a:bodyPr/>
          <a:lstStyle/>
          <a:p>
            <a:pPr eaLnBrk="1" hangingPunct="1">
              <a:defRPr/>
            </a:pPr>
            <a:endParaRPr lang="zh-CN" altLang="en-US">
              <a:latin typeface="Arial" charset="0"/>
            </a:endParaRPr>
          </a:p>
        </p:txBody>
      </p:sp>
      <p:sp>
        <p:nvSpPr>
          <p:cNvPr id="79" name="TextBox 62">
            <a:extLst>
              <a:ext uri="{FF2B5EF4-FFF2-40B4-BE49-F238E27FC236}">
                <a16:creationId xmlns:a16="http://schemas.microsoft.com/office/drawing/2014/main" id="{E16731E7-2348-4DC3-9A05-38B1D9E2AFF9}"/>
              </a:ext>
            </a:extLst>
          </p:cNvPr>
          <p:cNvSpPr txBox="1">
            <a:spLocks noChangeArrowheads="1"/>
          </p:cNvSpPr>
          <p:nvPr/>
        </p:nvSpPr>
        <p:spPr bwMode="auto">
          <a:xfrm>
            <a:off x="2999549" y="1918458"/>
            <a:ext cx="2071688"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sz="1600" dirty="0"/>
              <a:t>人员进场</a:t>
            </a:r>
            <a:endParaRPr lang="en-US" altLang="zh-CN" sz="1600" dirty="0"/>
          </a:p>
          <a:p>
            <a:r>
              <a:rPr lang="zh-CN" altLang="en-US" sz="1600" dirty="0"/>
              <a:t>设备、环境确认</a:t>
            </a:r>
            <a:endParaRPr lang="en-US" altLang="zh-CN" sz="1600" dirty="0"/>
          </a:p>
          <a:p>
            <a:r>
              <a:rPr lang="zh-CN" altLang="en-US" sz="1600" dirty="0"/>
              <a:t>公共系统（水，汽）</a:t>
            </a:r>
            <a:endParaRPr lang="en-US" altLang="zh-CN" sz="1600" dirty="0"/>
          </a:p>
          <a:p>
            <a:r>
              <a:rPr lang="zh-CN" altLang="en-US" sz="1600" dirty="0"/>
              <a:t>物料确认，处理</a:t>
            </a:r>
            <a:endParaRPr lang="en-US" altLang="zh-CN" sz="1600" dirty="0"/>
          </a:p>
          <a:p>
            <a:r>
              <a:rPr lang="zh-CN" altLang="en-US" sz="1600" dirty="0"/>
              <a:t>水抽样检测</a:t>
            </a:r>
          </a:p>
        </p:txBody>
      </p:sp>
      <p:sp>
        <p:nvSpPr>
          <p:cNvPr id="80" name="TextBox 63">
            <a:extLst>
              <a:ext uri="{FF2B5EF4-FFF2-40B4-BE49-F238E27FC236}">
                <a16:creationId xmlns:a16="http://schemas.microsoft.com/office/drawing/2014/main" id="{C2ED151C-8731-488F-977C-81DA703CE913}"/>
              </a:ext>
            </a:extLst>
          </p:cNvPr>
          <p:cNvSpPr txBox="1">
            <a:spLocks noChangeArrowheads="1"/>
          </p:cNvSpPr>
          <p:nvPr/>
        </p:nvSpPr>
        <p:spPr bwMode="auto">
          <a:xfrm>
            <a:off x="5071237" y="1918458"/>
            <a:ext cx="2071687"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sz="1600"/>
              <a:t>设备状态监控、处理</a:t>
            </a:r>
            <a:endParaRPr lang="en-US" altLang="zh-CN" sz="1600"/>
          </a:p>
          <a:p>
            <a:r>
              <a:rPr lang="zh-CN" altLang="en-US" sz="1600"/>
              <a:t>干湿瓶、水抽检</a:t>
            </a:r>
            <a:endParaRPr lang="en-US" altLang="zh-CN" sz="1600"/>
          </a:p>
          <a:p>
            <a:r>
              <a:rPr lang="zh-CN" altLang="en-US" sz="1600"/>
              <a:t>根据相关工序进度，调整洗瓶数量</a:t>
            </a:r>
            <a:endParaRPr lang="en-US" altLang="zh-CN" sz="1600"/>
          </a:p>
          <a:p>
            <a:r>
              <a:rPr lang="zh-CN" altLang="en-US" sz="1600"/>
              <a:t>填写记录，关闭设备</a:t>
            </a:r>
          </a:p>
        </p:txBody>
      </p:sp>
      <p:sp>
        <p:nvSpPr>
          <p:cNvPr id="81" name="TextBox 64">
            <a:extLst>
              <a:ext uri="{FF2B5EF4-FFF2-40B4-BE49-F238E27FC236}">
                <a16:creationId xmlns:a16="http://schemas.microsoft.com/office/drawing/2014/main" id="{03F881B6-999F-4BC5-846E-5B0ED97C68BA}"/>
              </a:ext>
            </a:extLst>
          </p:cNvPr>
          <p:cNvSpPr txBox="1">
            <a:spLocks noChangeArrowheads="1"/>
          </p:cNvSpPr>
          <p:nvPr/>
        </p:nvSpPr>
        <p:spPr bwMode="auto">
          <a:xfrm>
            <a:off x="7142924" y="1847020"/>
            <a:ext cx="1928813"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sz="1600"/>
              <a:t>清物料</a:t>
            </a:r>
            <a:endParaRPr lang="en-US" altLang="zh-CN" sz="1600"/>
          </a:p>
          <a:p>
            <a:r>
              <a:rPr lang="zh-CN" altLang="en-US" sz="1600"/>
              <a:t>清设备</a:t>
            </a:r>
            <a:endParaRPr lang="en-US" altLang="zh-CN" sz="1600"/>
          </a:p>
          <a:p>
            <a:r>
              <a:rPr lang="zh-CN" altLang="en-US" sz="1600"/>
              <a:t>清房间</a:t>
            </a:r>
            <a:endParaRPr lang="en-US" altLang="zh-CN" sz="1600"/>
          </a:p>
          <a:p>
            <a:r>
              <a:rPr lang="zh-CN" altLang="en-US" sz="1600"/>
              <a:t>清器具</a:t>
            </a:r>
            <a:endParaRPr lang="en-US" altLang="zh-CN" sz="1600"/>
          </a:p>
          <a:p>
            <a:r>
              <a:rPr lang="zh-CN" altLang="en-US" sz="1600"/>
              <a:t>清文件</a:t>
            </a:r>
          </a:p>
        </p:txBody>
      </p:sp>
      <p:sp>
        <p:nvSpPr>
          <p:cNvPr id="82" name="TextBox 65">
            <a:extLst>
              <a:ext uri="{FF2B5EF4-FFF2-40B4-BE49-F238E27FC236}">
                <a16:creationId xmlns:a16="http://schemas.microsoft.com/office/drawing/2014/main" id="{A988C60D-CD54-4491-BE53-C573A5A99A78}"/>
              </a:ext>
            </a:extLst>
          </p:cNvPr>
          <p:cNvSpPr txBox="1">
            <a:spLocks noChangeArrowheads="1"/>
          </p:cNvSpPr>
          <p:nvPr/>
        </p:nvSpPr>
        <p:spPr bwMode="auto">
          <a:xfrm>
            <a:off x="9286049" y="1918458"/>
            <a:ext cx="192881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sz="1600"/>
              <a:t>人员退出</a:t>
            </a:r>
            <a:endParaRPr lang="en-US" altLang="zh-CN" sz="1600"/>
          </a:p>
          <a:p>
            <a:r>
              <a:rPr lang="zh-CN" altLang="en-US" sz="1600"/>
              <a:t>相关作业</a:t>
            </a:r>
          </a:p>
        </p:txBody>
      </p:sp>
      <p:sp>
        <p:nvSpPr>
          <p:cNvPr id="83" name="矩形 66">
            <a:extLst>
              <a:ext uri="{FF2B5EF4-FFF2-40B4-BE49-F238E27FC236}">
                <a16:creationId xmlns:a16="http://schemas.microsoft.com/office/drawing/2014/main" id="{5E48B1E9-E32D-4B4A-B99C-C43CC0E219DF}"/>
              </a:ext>
            </a:extLst>
          </p:cNvPr>
          <p:cNvSpPr>
            <a:spLocks noChangeArrowheads="1"/>
          </p:cNvSpPr>
          <p:nvPr/>
        </p:nvSpPr>
        <p:spPr bwMode="auto">
          <a:xfrm>
            <a:off x="2999549" y="3347208"/>
            <a:ext cx="8286750" cy="1643062"/>
          </a:xfrm>
          <a:prstGeom prst="rect">
            <a:avLst/>
          </a:prstGeom>
          <a:solidFill>
            <a:srgbClr val="FFC000"/>
          </a:solidFill>
          <a:ln w="9525" algn="ctr">
            <a:solidFill>
              <a:schemeClr val="tx1"/>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r>
              <a:rPr lang="en-US" altLang="zh-CN"/>
              <a:t> </a:t>
            </a:r>
            <a:endParaRPr lang="zh-CN" altLang="en-US"/>
          </a:p>
        </p:txBody>
      </p:sp>
      <p:sp>
        <p:nvSpPr>
          <p:cNvPr id="84" name="TextBox 67">
            <a:extLst>
              <a:ext uri="{FF2B5EF4-FFF2-40B4-BE49-F238E27FC236}">
                <a16:creationId xmlns:a16="http://schemas.microsoft.com/office/drawing/2014/main" id="{D98CD5B5-ABCC-4943-9D1B-6A4ED048988E}"/>
              </a:ext>
            </a:extLst>
          </p:cNvPr>
          <p:cNvSpPr txBox="1">
            <a:spLocks noChangeArrowheads="1"/>
          </p:cNvSpPr>
          <p:nvPr/>
        </p:nvSpPr>
        <p:spPr bwMode="auto">
          <a:xfrm>
            <a:off x="2999549" y="3347208"/>
            <a:ext cx="8215313" cy="157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sz="1600" dirty="0"/>
              <a:t>操作人员是否具有操作资质？操作人员行为是否正确，恰当？</a:t>
            </a:r>
            <a:endParaRPr lang="en-US" altLang="zh-CN" sz="1600" dirty="0"/>
          </a:p>
          <a:p>
            <a:r>
              <a:rPr lang="zh-CN" altLang="en-US" sz="1600" dirty="0"/>
              <a:t>物料的人工确认是否准确，可靠？</a:t>
            </a:r>
            <a:endParaRPr lang="en-US" altLang="zh-CN" sz="1600" dirty="0"/>
          </a:p>
          <a:p>
            <a:r>
              <a:rPr lang="zh-CN" altLang="en-US" sz="1600" dirty="0"/>
              <a:t>设备运行潜在风险，人工能否及时发现与判断？</a:t>
            </a:r>
            <a:endParaRPr lang="en-US" altLang="zh-CN" sz="1600" dirty="0"/>
          </a:p>
          <a:p>
            <a:r>
              <a:rPr lang="zh-CN" altLang="en-US" sz="1600" dirty="0"/>
              <a:t>生产过程中，关联生产环节状态信息获取是否及时，准确？对生产调整是否及时合理？</a:t>
            </a:r>
            <a:endParaRPr lang="en-US" altLang="zh-CN" sz="1600" dirty="0"/>
          </a:p>
          <a:p>
            <a:r>
              <a:rPr lang="zh-CN" altLang="en-US" sz="1600" dirty="0"/>
              <a:t>环境及公共系统的风险能否及时发现？</a:t>
            </a:r>
            <a:endParaRPr lang="en-US" altLang="zh-CN" sz="1600" dirty="0"/>
          </a:p>
          <a:p>
            <a:r>
              <a:rPr lang="zh-CN" altLang="en-US" sz="1600" dirty="0"/>
              <a:t>手动的数据与操作记录，是否能保证完整性与准确性？</a:t>
            </a:r>
          </a:p>
        </p:txBody>
      </p:sp>
      <p:sp>
        <p:nvSpPr>
          <p:cNvPr id="85" name="矩形 84">
            <a:extLst>
              <a:ext uri="{FF2B5EF4-FFF2-40B4-BE49-F238E27FC236}">
                <a16:creationId xmlns:a16="http://schemas.microsoft.com/office/drawing/2014/main" id="{1F4AAAF3-F806-4C72-A0DA-E6343316A519}"/>
              </a:ext>
            </a:extLst>
          </p:cNvPr>
          <p:cNvSpPr/>
          <p:nvPr/>
        </p:nvSpPr>
        <p:spPr bwMode="auto">
          <a:xfrm>
            <a:off x="2999549" y="4990270"/>
            <a:ext cx="8286750" cy="1571625"/>
          </a:xfrm>
          <a:prstGeom prst="rect">
            <a:avLst/>
          </a:prstGeom>
          <a:solidFill>
            <a:schemeClr val="accent3">
              <a:lumMod val="85000"/>
            </a:schemeClr>
          </a:solidFill>
          <a:ln w="9525" cap="flat" cmpd="sng" algn="ctr">
            <a:solidFill>
              <a:schemeClr val="tx1"/>
            </a:solidFill>
            <a:prstDash val="solid"/>
            <a:round/>
            <a:headEnd type="none" w="med" len="med"/>
            <a:tailEnd type="none" w="med" len="med"/>
          </a:ln>
          <a:effectLst/>
        </p:spPr>
        <p:txBody>
          <a:bodyPr/>
          <a:lstStyle/>
          <a:p>
            <a:pPr eaLnBrk="1" hangingPunct="1">
              <a:defRPr/>
            </a:pPr>
            <a:r>
              <a:rPr lang="en-US" altLang="zh-CN" dirty="0">
                <a:latin typeface="Arial" charset="0"/>
              </a:rPr>
              <a:t> </a:t>
            </a:r>
            <a:endParaRPr lang="zh-CN" altLang="en-US" dirty="0">
              <a:latin typeface="Arial" charset="0"/>
            </a:endParaRPr>
          </a:p>
        </p:txBody>
      </p:sp>
      <p:sp>
        <p:nvSpPr>
          <p:cNvPr id="86" name="TextBox 69">
            <a:extLst>
              <a:ext uri="{FF2B5EF4-FFF2-40B4-BE49-F238E27FC236}">
                <a16:creationId xmlns:a16="http://schemas.microsoft.com/office/drawing/2014/main" id="{58C97CB6-A673-49F0-9DF3-33A38CC5CA9F}"/>
              </a:ext>
            </a:extLst>
          </p:cNvPr>
          <p:cNvSpPr txBox="1">
            <a:spLocks noChangeArrowheads="1"/>
          </p:cNvSpPr>
          <p:nvPr/>
        </p:nvSpPr>
        <p:spPr bwMode="auto">
          <a:xfrm>
            <a:off x="2537587" y="1989895"/>
            <a:ext cx="461962" cy="121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dirty="0"/>
              <a:t>标准</a:t>
            </a:r>
            <a:r>
              <a:rPr lang="en-US" altLang="zh-CN" dirty="0"/>
              <a:t>SOP</a:t>
            </a:r>
            <a:endParaRPr lang="zh-CN" altLang="en-US" dirty="0"/>
          </a:p>
        </p:txBody>
      </p:sp>
      <p:sp>
        <p:nvSpPr>
          <p:cNvPr id="87" name="TextBox 70">
            <a:extLst>
              <a:ext uri="{FF2B5EF4-FFF2-40B4-BE49-F238E27FC236}">
                <a16:creationId xmlns:a16="http://schemas.microsoft.com/office/drawing/2014/main" id="{13E32C7F-A30D-45FE-87F8-D43FE01D96FA}"/>
              </a:ext>
            </a:extLst>
          </p:cNvPr>
          <p:cNvSpPr txBox="1">
            <a:spLocks noChangeArrowheads="1"/>
          </p:cNvSpPr>
          <p:nvPr/>
        </p:nvSpPr>
        <p:spPr bwMode="auto">
          <a:xfrm>
            <a:off x="2499487" y="3347208"/>
            <a:ext cx="461962"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a:t>主要风险分析</a:t>
            </a:r>
          </a:p>
        </p:txBody>
      </p:sp>
      <p:sp>
        <p:nvSpPr>
          <p:cNvPr id="88" name="TextBox 71">
            <a:extLst>
              <a:ext uri="{FF2B5EF4-FFF2-40B4-BE49-F238E27FC236}">
                <a16:creationId xmlns:a16="http://schemas.microsoft.com/office/drawing/2014/main" id="{A0992A0B-EAD3-47E9-9F8E-A7A023949E94}"/>
              </a:ext>
            </a:extLst>
          </p:cNvPr>
          <p:cNvSpPr txBox="1">
            <a:spLocks noChangeArrowheads="1"/>
          </p:cNvSpPr>
          <p:nvPr/>
        </p:nvSpPr>
        <p:spPr bwMode="auto">
          <a:xfrm>
            <a:off x="2222785" y="4990270"/>
            <a:ext cx="738664" cy="150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dirty="0"/>
              <a:t>数字化如何</a:t>
            </a:r>
            <a:endParaRPr lang="en-US" altLang="zh-CN" dirty="0"/>
          </a:p>
          <a:p>
            <a:r>
              <a:rPr lang="zh-CN" altLang="en-US" dirty="0"/>
              <a:t>降低风险</a:t>
            </a:r>
          </a:p>
        </p:txBody>
      </p:sp>
      <p:sp>
        <p:nvSpPr>
          <p:cNvPr id="89" name="TextBox 72">
            <a:extLst>
              <a:ext uri="{FF2B5EF4-FFF2-40B4-BE49-F238E27FC236}">
                <a16:creationId xmlns:a16="http://schemas.microsoft.com/office/drawing/2014/main" id="{6A1A9998-8ABF-46CE-AF18-E022E930B743}"/>
              </a:ext>
            </a:extLst>
          </p:cNvPr>
          <p:cNvSpPr txBox="1">
            <a:spLocks noChangeArrowheads="1"/>
          </p:cNvSpPr>
          <p:nvPr/>
        </p:nvSpPr>
        <p:spPr bwMode="auto">
          <a:xfrm>
            <a:off x="2999549" y="4990270"/>
            <a:ext cx="8429625"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sz="1600"/>
              <a:t>基于合规性的人员管理（培训，属性），保证合适的人做合适的事情</a:t>
            </a:r>
            <a:endParaRPr lang="en-US" altLang="zh-CN" sz="1600"/>
          </a:p>
          <a:p>
            <a:r>
              <a:rPr lang="zh-CN" altLang="en-US" sz="1600"/>
              <a:t>基于批记录的物料及物料流管理功能，保证物料使用的正确，物料量的准确</a:t>
            </a:r>
            <a:endParaRPr lang="en-US" altLang="zh-CN" sz="1600"/>
          </a:p>
          <a:p>
            <a:r>
              <a:rPr lang="zh-CN" altLang="en-US" sz="1600"/>
              <a:t>环境，设备，公共系统等参数的实时采集，及时发现潜在风险（比人工更精确）</a:t>
            </a:r>
            <a:endParaRPr lang="en-US" altLang="zh-CN" sz="1600"/>
          </a:p>
          <a:p>
            <a:r>
              <a:rPr lang="zh-CN" altLang="en-US" sz="1600"/>
              <a:t>生产过程中，对于人员，设备，环境的实时监控，减低人员误操作，环境设备失控等风险</a:t>
            </a:r>
            <a:endParaRPr lang="en-US" altLang="zh-CN" sz="1600"/>
          </a:p>
          <a:p>
            <a:r>
              <a:rPr lang="zh-CN" altLang="en-US" sz="1600"/>
              <a:t>生产全流程过程，相关数据，信息实时采集，记录，保证批次记录的数据完整性，也为生产调整提供准确的依据</a:t>
            </a:r>
          </a:p>
        </p:txBody>
      </p:sp>
      <p:sp>
        <p:nvSpPr>
          <p:cNvPr id="2" name="矩形 1">
            <a:extLst>
              <a:ext uri="{FF2B5EF4-FFF2-40B4-BE49-F238E27FC236}">
                <a16:creationId xmlns:a16="http://schemas.microsoft.com/office/drawing/2014/main" id="{19A796A4-132D-4534-83FD-7057D312431D}"/>
              </a:ext>
            </a:extLst>
          </p:cNvPr>
          <p:cNvSpPr/>
          <p:nvPr/>
        </p:nvSpPr>
        <p:spPr>
          <a:xfrm>
            <a:off x="354551" y="973278"/>
            <a:ext cx="2723823" cy="369332"/>
          </a:xfrm>
          <a:prstGeom prst="rect">
            <a:avLst/>
          </a:prstGeom>
        </p:spPr>
        <p:txBody>
          <a:bodyPr wrap="none">
            <a:spAutoFit/>
          </a:bodyPr>
          <a:lstStyle/>
          <a:p>
            <a:r>
              <a:rPr lang="zh-CN" altLang="en-US" b="1" dirty="0">
                <a:latin typeface="+mn-ea"/>
                <a:ea typeface="+mn-ea"/>
              </a:rPr>
              <a:t>例：洗瓶过程的风险控制</a:t>
            </a:r>
          </a:p>
        </p:txBody>
      </p:sp>
    </p:spTree>
    <p:extLst>
      <p:ext uri="{BB962C8B-B14F-4D97-AF65-F5344CB8AC3E}">
        <p14:creationId xmlns:p14="http://schemas.microsoft.com/office/powerpoint/2010/main" val="3363318207"/>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7" y="114300"/>
            <a:ext cx="7671976"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fontScale="85000" lnSpcReduction="10000"/>
          </a:bodyPr>
          <a:lstStyle/>
          <a:p>
            <a:pPr marL="177800">
              <a:lnSpc>
                <a:spcPts val="2600"/>
              </a:lnSpc>
              <a:defRPr/>
            </a:pPr>
            <a:r>
              <a:rPr lang="zh-CN" altLang="en-US" sz="3600" b="1" dirty="0">
                <a:solidFill>
                  <a:srgbClr val="0070C0"/>
                </a:solidFill>
                <a:latin typeface="+mj-ea"/>
                <a:ea typeface="+mj-ea"/>
              </a:rPr>
              <a:t>数字化生产的价值</a:t>
            </a:r>
            <a:r>
              <a:rPr lang="en-US" altLang="zh-CN" sz="3600" b="1" dirty="0">
                <a:solidFill>
                  <a:srgbClr val="0070C0"/>
                </a:solidFill>
                <a:latin typeface="+mj-ea"/>
                <a:ea typeface="+mj-ea"/>
              </a:rPr>
              <a:t>-</a:t>
            </a:r>
            <a:r>
              <a:rPr lang="zh-CN" altLang="en-US" sz="3600" b="1" dirty="0">
                <a:solidFill>
                  <a:srgbClr val="0070C0"/>
                </a:solidFill>
                <a:latin typeface="+mj-ea"/>
                <a:ea typeface="+mj-ea"/>
              </a:rPr>
              <a:t>工艺持续优化（</a:t>
            </a:r>
            <a:r>
              <a:rPr lang="en-US" altLang="zh-CN" sz="3600" b="1" dirty="0">
                <a:solidFill>
                  <a:srgbClr val="0070C0"/>
                </a:solidFill>
                <a:latin typeface="+mj-ea"/>
                <a:ea typeface="+mj-ea"/>
              </a:rPr>
              <a:t>CAPA</a:t>
            </a:r>
            <a:r>
              <a:rPr lang="zh-CN" altLang="en-US" sz="3600" b="1" dirty="0">
                <a:solidFill>
                  <a:srgbClr val="0070C0"/>
                </a:solidFill>
                <a:latin typeface="+mj-ea"/>
                <a:ea typeface="+mj-ea"/>
              </a:rPr>
              <a:t>）</a:t>
            </a:r>
          </a:p>
        </p:txBody>
      </p:sp>
      <p:sp>
        <p:nvSpPr>
          <p:cNvPr id="116" name="椭圆 39">
            <a:extLst>
              <a:ext uri="{FF2B5EF4-FFF2-40B4-BE49-F238E27FC236}">
                <a16:creationId xmlns:a16="http://schemas.microsoft.com/office/drawing/2014/main" id="{1E287D45-796B-4335-B2B1-BCBC0947984C}"/>
              </a:ext>
            </a:extLst>
          </p:cNvPr>
          <p:cNvSpPr>
            <a:spLocks noChangeArrowheads="1"/>
          </p:cNvSpPr>
          <p:nvPr/>
        </p:nvSpPr>
        <p:spPr bwMode="auto">
          <a:xfrm>
            <a:off x="1809750" y="5192713"/>
            <a:ext cx="8715375" cy="1143000"/>
          </a:xfrm>
          <a:prstGeom prst="ellipse">
            <a:avLst/>
          </a:prstGeom>
          <a:solidFill>
            <a:srgbClr val="BBE0E3"/>
          </a:solidFill>
          <a:ln w="9525" algn="ctr">
            <a:solidFill>
              <a:srgbClr val="000000"/>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endParaRPr>
          </a:p>
        </p:txBody>
      </p:sp>
      <p:sp>
        <p:nvSpPr>
          <p:cNvPr id="117" name="AutoShape 1027">
            <a:hlinkClick r:id="rId3" action="ppaction://hlinksldjump" highlightClick="1"/>
            <a:extLst>
              <a:ext uri="{FF2B5EF4-FFF2-40B4-BE49-F238E27FC236}">
                <a16:creationId xmlns:a16="http://schemas.microsoft.com/office/drawing/2014/main" id="{153B1952-3453-4435-AA87-68C205AD2E9A}"/>
              </a:ext>
            </a:extLst>
          </p:cNvPr>
          <p:cNvSpPr>
            <a:spLocks noChangeArrowheads="1"/>
          </p:cNvSpPr>
          <p:nvPr/>
        </p:nvSpPr>
        <p:spPr bwMode="auto">
          <a:xfrm>
            <a:off x="2290763" y="838200"/>
            <a:ext cx="1587" cy="1588"/>
          </a:xfrm>
          <a:prstGeom prst="actionButtonForwardNext">
            <a:avLst/>
          </a:prstGeom>
          <a:solidFill>
            <a:srgbClr val="99CC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endParaRPr>
          </a:p>
        </p:txBody>
      </p:sp>
      <p:sp>
        <p:nvSpPr>
          <p:cNvPr id="118" name="AutoShape 1036">
            <a:hlinkClick r:id="rId3" action="ppaction://hlinksldjump" highlightClick="1"/>
            <a:extLst>
              <a:ext uri="{FF2B5EF4-FFF2-40B4-BE49-F238E27FC236}">
                <a16:creationId xmlns:a16="http://schemas.microsoft.com/office/drawing/2014/main" id="{4BF3F420-7ED9-4ACE-87B3-113687A3963F}"/>
              </a:ext>
            </a:extLst>
          </p:cNvPr>
          <p:cNvSpPr>
            <a:spLocks noChangeArrowheads="1"/>
          </p:cNvSpPr>
          <p:nvPr/>
        </p:nvSpPr>
        <p:spPr bwMode="auto">
          <a:xfrm>
            <a:off x="6100763" y="838200"/>
            <a:ext cx="1587" cy="1588"/>
          </a:xfrm>
          <a:prstGeom prst="actionButtonForwardNext">
            <a:avLst/>
          </a:prstGeom>
          <a:solidFill>
            <a:srgbClr val="99CC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endParaRPr>
          </a:p>
        </p:txBody>
      </p:sp>
      <p:sp>
        <p:nvSpPr>
          <p:cNvPr id="119" name="AutoShape 1037">
            <a:hlinkClick r:id="rId3" action="ppaction://hlinksldjump" highlightClick="1"/>
            <a:extLst>
              <a:ext uri="{FF2B5EF4-FFF2-40B4-BE49-F238E27FC236}">
                <a16:creationId xmlns:a16="http://schemas.microsoft.com/office/drawing/2014/main" id="{8AAEC133-DD16-4A66-8A98-7FDE5B4E7B26}"/>
              </a:ext>
            </a:extLst>
          </p:cNvPr>
          <p:cNvSpPr>
            <a:spLocks noChangeArrowheads="1"/>
          </p:cNvSpPr>
          <p:nvPr/>
        </p:nvSpPr>
        <p:spPr bwMode="auto">
          <a:xfrm>
            <a:off x="5473700" y="1049338"/>
            <a:ext cx="1588" cy="1587"/>
          </a:xfrm>
          <a:prstGeom prst="actionButtonForwardNext">
            <a:avLst/>
          </a:prstGeom>
          <a:solidFill>
            <a:srgbClr val="99CC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endParaRPr>
          </a:p>
        </p:txBody>
      </p:sp>
      <p:sp>
        <p:nvSpPr>
          <p:cNvPr id="120" name="圆角矩形 10">
            <a:extLst>
              <a:ext uri="{FF2B5EF4-FFF2-40B4-BE49-F238E27FC236}">
                <a16:creationId xmlns:a16="http://schemas.microsoft.com/office/drawing/2014/main" id="{D0907241-A719-4DB5-9A66-BD0C04F44956}"/>
              </a:ext>
            </a:extLst>
          </p:cNvPr>
          <p:cNvSpPr>
            <a:spLocks noChangeArrowheads="1"/>
          </p:cNvSpPr>
          <p:nvPr/>
        </p:nvSpPr>
        <p:spPr bwMode="auto">
          <a:xfrm>
            <a:off x="2095500" y="4783138"/>
            <a:ext cx="8143875" cy="571500"/>
          </a:xfrm>
          <a:prstGeom prst="roundRect">
            <a:avLst>
              <a:gd name="adj" fmla="val 16667"/>
            </a:avLst>
          </a:prstGeom>
          <a:gradFill rotWithShape="0">
            <a:gsLst>
              <a:gs pos="0">
                <a:srgbClr val="5E9EFF"/>
              </a:gs>
              <a:gs pos="39999">
                <a:srgbClr val="85C2FF"/>
              </a:gs>
              <a:gs pos="70000">
                <a:srgbClr val="C4D6EB"/>
              </a:gs>
              <a:gs pos="100000">
                <a:srgbClr val="FFEBFA"/>
              </a:gs>
            </a:gsLst>
            <a:lin ang="5400000"/>
          </a:gradFill>
          <a:ln w="34925" algn="ctr">
            <a:solidFill>
              <a:srgbClr val="000000"/>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0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rPr>
              <a:t>人员</a:t>
            </a:r>
            <a:r>
              <a:rPr kumimoji="0" lang="en-US" altLang="zh-CN" sz="20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rPr>
              <a:t>/</a:t>
            </a:r>
            <a:r>
              <a:rPr kumimoji="0" lang="zh-CN" altLang="en-US" sz="20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rPr>
              <a:t>装备</a:t>
            </a:r>
            <a:r>
              <a:rPr kumimoji="0" lang="en-US" altLang="zh-CN" sz="20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rPr>
              <a:t>/</a:t>
            </a:r>
            <a:r>
              <a:rPr kumimoji="0" lang="zh-CN" altLang="en-US" sz="20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rPr>
              <a:t>环境</a:t>
            </a:r>
            <a:r>
              <a:rPr kumimoji="0" lang="en-US" altLang="zh-CN" sz="20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rPr>
              <a:t>/</a:t>
            </a:r>
            <a:r>
              <a:rPr kumimoji="0" lang="zh-CN" altLang="en-US" sz="20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rPr>
              <a:t>能源</a:t>
            </a:r>
            <a:r>
              <a:rPr kumimoji="0" lang="en-US" altLang="zh-CN" sz="20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rPr>
              <a:t>/</a:t>
            </a:r>
            <a:r>
              <a:rPr kumimoji="0" lang="zh-CN" altLang="en-US" sz="20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rPr>
              <a:t>物料</a:t>
            </a:r>
            <a:r>
              <a:rPr kumimoji="0" lang="en-US" altLang="zh-CN" sz="20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rPr>
              <a:t>/</a:t>
            </a:r>
            <a:r>
              <a:rPr kumimoji="0" lang="zh-CN" altLang="en-US" sz="20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rPr>
              <a:t>操作</a:t>
            </a:r>
            <a:r>
              <a:rPr kumimoji="0" lang="en-US" altLang="zh-CN" sz="20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rPr>
              <a:t>/</a:t>
            </a:r>
            <a:r>
              <a:rPr kumimoji="0" lang="zh-CN" altLang="en-US" sz="20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rPr>
              <a:t>产品</a:t>
            </a:r>
          </a:p>
        </p:txBody>
      </p:sp>
      <p:sp>
        <p:nvSpPr>
          <p:cNvPr id="121" name="圆角矩形 11">
            <a:extLst>
              <a:ext uri="{FF2B5EF4-FFF2-40B4-BE49-F238E27FC236}">
                <a16:creationId xmlns:a16="http://schemas.microsoft.com/office/drawing/2014/main" id="{FE70EC2A-E3A9-467E-BFDB-A5845523E4ED}"/>
              </a:ext>
            </a:extLst>
          </p:cNvPr>
          <p:cNvSpPr/>
          <p:nvPr/>
        </p:nvSpPr>
        <p:spPr bwMode="auto">
          <a:xfrm>
            <a:off x="2095500" y="1120775"/>
            <a:ext cx="8001000" cy="500063"/>
          </a:xfrm>
          <a:prstGeom prst="roundRect">
            <a:avLst/>
          </a:prstGeom>
          <a:gradFill>
            <a:gsLst>
              <a:gs pos="0">
                <a:srgbClr val="5E9EFF"/>
              </a:gs>
              <a:gs pos="39999">
                <a:srgbClr val="85C2FF"/>
              </a:gs>
              <a:gs pos="70000">
                <a:srgbClr val="C4D6EB"/>
              </a:gs>
              <a:gs pos="100000">
                <a:srgbClr val="FFEBFA"/>
              </a:gs>
            </a:gsLst>
            <a:lin ang="5400000" scaled="0"/>
          </a:gradFill>
          <a:ln w="34925" cap="flat" cmpd="sng" algn="ctr">
            <a:noFill/>
            <a:prstDash val="solid"/>
            <a:round/>
            <a:headEnd type="none" w="med" len="med"/>
            <a:tailEnd type="none" w="med" len="med"/>
          </a:ln>
          <a:effectLst/>
        </p:spPr>
        <p:txBody>
          <a:bodyPr/>
          <a:lstStyle/>
          <a:p>
            <a:pPr algn="ctr">
              <a:defRPr/>
            </a:pPr>
            <a:r>
              <a:rPr lang="zh-CN" altLang="en-US" sz="2400" b="1" dirty="0">
                <a:solidFill>
                  <a:srgbClr val="FFFFFF"/>
                </a:solidFill>
                <a:latin typeface="Arial" charset="0"/>
              </a:rPr>
              <a:t>批次数据分析</a:t>
            </a:r>
          </a:p>
        </p:txBody>
      </p:sp>
      <p:sp>
        <p:nvSpPr>
          <p:cNvPr id="122" name="圆柱形 30">
            <a:extLst>
              <a:ext uri="{FF2B5EF4-FFF2-40B4-BE49-F238E27FC236}">
                <a16:creationId xmlns:a16="http://schemas.microsoft.com/office/drawing/2014/main" id="{8A62EAC9-FA47-4CBB-AA05-895FB1A24A25}"/>
              </a:ext>
            </a:extLst>
          </p:cNvPr>
          <p:cNvSpPr>
            <a:spLocks noChangeArrowheads="1"/>
          </p:cNvSpPr>
          <p:nvPr/>
        </p:nvSpPr>
        <p:spPr bwMode="auto">
          <a:xfrm>
            <a:off x="6024563" y="2211388"/>
            <a:ext cx="2500312" cy="785812"/>
          </a:xfrm>
          <a:prstGeom prst="can">
            <a:avLst>
              <a:gd name="adj" fmla="val 25000"/>
            </a:avLst>
          </a:prstGeom>
          <a:gradFill rotWithShape="0">
            <a:gsLst>
              <a:gs pos="0">
                <a:srgbClr val="8488C4"/>
              </a:gs>
              <a:gs pos="53000">
                <a:srgbClr val="D4DEFF"/>
              </a:gs>
              <a:gs pos="83000">
                <a:srgbClr val="D4DEFF"/>
              </a:gs>
              <a:gs pos="100000">
                <a:srgbClr val="96AB94"/>
              </a:gs>
            </a:gsLst>
            <a:lin ang="5400000"/>
          </a:gradFill>
          <a:ln w="9525" algn="ctr">
            <a:solidFill>
              <a:srgbClr val="000000"/>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rPr>
              <a:t>数据库</a:t>
            </a:r>
          </a:p>
        </p:txBody>
      </p:sp>
      <p:sp>
        <p:nvSpPr>
          <p:cNvPr id="123" name="下箭头 39">
            <a:extLst>
              <a:ext uri="{FF2B5EF4-FFF2-40B4-BE49-F238E27FC236}">
                <a16:creationId xmlns:a16="http://schemas.microsoft.com/office/drawing/2014/main" id="{12AE3E7C-83EA-4089-B3F6-0F1F6F5B83CC}"/>
              </a:ext>
            </a:extLst>
          </p:cNvPr>
          <p:cNvSpPr>
            <a:spLocks noChangeArrowheads="1"/>
          </p:cNvSpPr>
          <p:nvPr/>
        </p:nvSpPr>
        <p:spPr bwMode="auto">
          <a:xfrm>
            <a:off x="7096125" y="2997200"/>
            <a:ext cx="214313" cy="571500"/>
          </a:xfrm>
          <a:prstGeom prst="downArrow">
            <a:avLst>
              <a:gd name="adj1" fmla="val 50000"/>
              <a:gd name="adj2" fmla="val 50000"/>
            </a:avLst>
          </a:prstGeom>
          <a:gradFill rotWithShape="0">
            <a:gsLst>
              <a:gs pos="0">
                <a:srgbClr val="03D4A8"/>
              </a:gs>
              <a:gs pos="25000">
                <a:srgbClr val="21D6E0"/>
              </a:gs>
              <a:gs pos="75000">
                <a:srgbClr val="0087E6"/>
              </a:gs>
              <a:gs pos="100000">
                <a:srgbClr val="005CBF"/>
              </a:gs>
            </a:gsLst>
            <a:lin ang="5400000"/>
          </a:gradFill>
          <a:ln w="9525" algn="ctr">
            <a:solidFill>
              <a:srgbClr val="000000"/>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endParaRPr>
          </a:p>
        </p:txBody>
      </p:sp>
      <p:sp>
        <p:nvSpPr>
          <p:cNvPr id="124" name="下箭头 40">
            <a:extLst>
              <a:ext uri="{FF2B5EF4-FFF2-40B4-BE49-F238E27FC236}">
                <a16:creationId xmlns:a16="http://schemas.microsoft.com/office/drawing/2014/main" id="{07D3B983-6C30-4E86-A1E9-E4A4CCBF662F}"/>
              </a:ext>
            </a:extLst>
          </p:cNvPr>
          <p:cNvSpPr>
            <a:spLocks noChangeArrowheads="1"/>
          </p:cNvSpPr>
          <p:nvPr/>
        </p:nvSpPr>
        <p:spPr bwMode="auto">
          <a:xfrm rot="10800000">
            <a:off x="7381875" y="2997200"/>
            <a:ext cx="214313" cy="571500"/>
          </a:xfrm>
          <a:prstGeom prst="downArrow">
            <a:avLst>
              <a:gd name="adj1" fmla="val 50000"/>
              <a:gd name="adj2" fmla="val 50000"/>
            </a:avLst>
          </a:prstGeom>
          <a:gradFill rotWithShape="0">
            <a:gsLst>
              <a:gs pos="0">
                <a:srgbClr val="03D4A8"/>
              </a:gs>
              <a:gs pos="25000">
                <a:srgbClr val="21D6E0"/>
              </a:gs>
              <a:gs pos="75000">
                <a:srgbClr val="0087E6"/>
              </a:gs>
              <a:gs pos="100000">
                <a:srgbClr val="005CBF"/>
              </a:gs>
            </a:gsLst>
            <a:lin ang="5400000"/>
          </a:gradFill>
          <a:ln w="9525" algn="ctr">
            <a:solidFill>
              <a:srgbClr val="000000"/>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endParaRPr>
          </a:p>
        </p:txBody>
      </p:sp>
      <p:sp>
        <p:nvSpPr>
          <p:cNvPr id="125" name="TextBox 41">
            <a:extLst>
              <a:ext uri="{FF2B5EF4-FFF2-40B4-BE49-F238E27FC236}">
                <a16:creationId xmlns:a16="http://schemas.microsoft.com/office/drawing/2014/main" id="{3A05F9B1-DF4B-4D8F-AB9D-4885FAAC041A}"/>
              </a:ext>
            </a:extLst>
          </p:cNvPr>
          <p:cNvSpPr txBox="1">
            <a:spLocks noChangeArrowheads="1"/>
          </p:cNvSpPr>
          <p:nvPr/>
        </p:nvSpPr>
        <p:spPr bwMode="auto">
          <a:xfrm>
            <a:off x="7739063" y="3068638"/>
            <a:ext cx="92868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defTabSz="914400" eaLnBrk="0" fontAlgn="auto" latinLnBrk="0" hangingPunct="0">
              <a:lnSpc>
                <a:spcPct val="100000"/>
              </a:lnSpc>
              <a:spcBef>
                <a:spcPts val="0"/>
              </a:spcBef>
              <a:spcAft>
                <a:spcPts val="0"/>
              </a:spcAft>
              <a:buClrTx/>
              <a:buSzTx/>
              <a:buFontTx/>
              <a:buNone/>
              <a:tabLst/>
              <a:defRPr/>
            </a:pPr>
            <a:r>
              <a:rPr kumimoji="0" lang="zh-CN" altLang="en-US" sz="14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rPr>
              <a:t>数据交换</a:t>
            </a:r>
          </a:p>
        </p:txBody>
      </p:sp>
      <p:sp>
        <p:nvSpPr>
          <p:cNvPr id="126" name="下箭头 46">
            <a:extLst>
              <a:ext uri="{FF2B5EF4-FFF2-40B4-BE49-F238E27FC236}">
                <a16:creationId xmlns:a16="http://schemas.microsoft.com/office/drawing/2014/main" id="{2D9BC504-C1D2-4328-AEFE-A0AADE074D33}"/>
              </a:ext>
            </a:extLst>
          </p:cNvPr>
          <p:cNvSpPr>
            <a:spLocks noChangeArrowheads="1"/>
          </p:cNvSpPr>
          <p:nvPr/>
        </p:nvSpPr>
        <p:spPr bwMode="auto">
          <a:xfrm>
            <a:off x="3238500" y="1620838"/>
            <a:ext cx="214313" cy="571500"/>
          </a:xfrm>
          <a:prstGeom prst="downArrow">
            <a:avLst>
              <a:gd name="adj1" fmla="val 50000"/>
              <a:gd name="adj2" fmla="val 50000"/>
            </a:avLst>
          </a:prstGeom>
          <a:gradFill rotWithShape="0">
            <a:gsLst>
              <a:gs pos="0">
                <a:srgbClr val="03D4A8"/>
              </a:gs>
              <a:gs pos="25000">
                <a:srgbClr val="21D6E0"/>
              </a:gs>
              <a:gs pos="75000">
                <a:srgbClr val="0087E6"/>
              </a:gs>
              <a:gs pos="100000">
                <a:srgbClr val="005CBF"/>
              </a:gs>
            </a:gsLst>
            <a:lin ang="5400000"/>
          </a:gradFill>
          <a:ln w="9525" algn="ctr">
            <a:solidFill>
              <a:srgbClr val="000000"/>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endParaRPr>
          </a:p>
        </p:txBody>
      </p:sp>
      <p:sp>
        <p:nvSpPr>
          <p:cNvPr id="127" name="下箭头 47">
            <a:extLst>
              <a:ext uri="{FF2B5EF4-FFF2-40B4-BE49-F238E27FC236}">
                <a16:creationId xmlns:a16="http://schemas.microsoft.com/office/drawing/2014/main" id="{23ABCF6E-B8A7-4153-9D89-01194D0FBFE2}"/>
              </a:ext>
            </a:extLst>
          </p:cNvPr>
          <p:cNvSpPr>
            <a:spLocks noChangeArrowheads="1"/>
          </p:cNvSpPr>
          <p:nvPr/>
        </p:nvSpPr>
        <p:spPr bwMode="auto">
          <a:xfrm rot="10800000">
            <a:off x="3524250" y="1620838"/>
            <a:ext cx="214313" cy="571500"/>
          </a:xfrm>
          <a:prstGeom prst="downArrow">
            <a:avLst>
              <a:gd name="adj1" fmla="val 50000"/>
              <a:gd name="adj2" fmla="val 50000"/>
            </a:avLst>
          </a:prstGeom>
          <a:gradFill rotWithShape="0">
            <a:gsLst>
              <a:gs pos="0">
                <a:srgbClr val="03D4A8"/>
              </a:gs>
              <a:gs pos="25000">
                <a:srgbClr val="21D6E0"/>
              </a:gs>
              <a:gs pos="75000">
                <a:srgbClr val="0087E6"/>
              </a:gs>
              <a:gs pos="100000">
                <a:srgbClr val="005CBF"/>
              </a:gs>
            </a:gsLst>
            <a:lin ang="5400000"/>
          </a:gradFill>
          <a:ln w="9525" algn="ctr">
            <a:solidFill>
              <a:srgbClr val="000000"/>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endParaRPr>
          </a:p>
        </p:txBody>
      </p:sp>
      <p:sp>
        <p:nvSpPr>
          <p:cNvPr id="128" name="下箭头 48">
            <a:extLst>
              <a:ext uri="{FF2B5EF4-FFF2-40B4-BE49-F238E27FC236}">
                <a16:creationId xmlns:a16="http://schemas.microsoft.com/office/drawing/2014/main" id="{141E496C-883D-4900-A434-E91C198EF195}"/>
              </a:ext>
            </a:extLst>
          </p:cNvPr>
          <p:cNvSpPr>
            <a:spLocks noChangeArrowheads="1"/>
          </p:cNvSpPr>
          <p:nvPr/>
        </p:nvSpPr>
        <p:spPr bwMode="auto">
          <a:xfrm rot="10800000">
            <a:off x="7167563" y="1639888"/>
            <a:ext cx="214312" cy="571500"/>
          </a:xfrm>
          <a:prstGeom prst="downArrow">
            <a:avLst>
              <a:gd name="adj1" fmla="val 50000"/>
              <a:gd name="adj2" fmla="val 50000"/>
            </a:avLst>
          </a:prstGeom>
          <a:gradFill rotWithShape="0">
            <a:gsLst>
              <a:gs pos="0">
                <a:srgbClr val="03D4A8"/>
              </a:gs>
              <a:gs pos="25000">
                <a:srgbClr val="21D6E0"/>
              </a:gs>
              <a:gs pos="75000">
                <a:srgbClr val="0087E6"/>
              </a:gs>
              <a:gs pos="100000">
                <a:srgbClr val="005CBF"/>
              </a:gs>
            </a:gsLst>
            <a:lin ang="5400000"/>
          </a:gradFill>
          <a:ln w="9525" algn="ctr">
            <a:solidFill>
              <a:srgbClr val="000000"/>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endParaRPr>
          </a:p>
        </p:txBody>
      </p:sp>
      <p:sp>
        <p:nvSpPr>
          <p:cNvPr id="129" name="TextBox 49">
            <a:extLst>
              <a:ext uri="{FF2B5EF4-FFF2-40B4-BE49-F238E27FC236}">
                <a16:creationId xmlns:a16="http://schemas.microsoft.com/office/drawing/2014/main" id="{B5C8ABC7-CBF5-419A-9CA9-7A388DFAC739}"/>
              </a:ext>
            </a:extLst>
          </p:cNvPr>
          <p:cNvSpPr txBox="1">
            <a:spLocks noChangeArrowheads="1"/>
          </p:cNvSpPr>
          <p:nvPr/>
        </p:nvSpPr>
        <p:spPr bwMode="auto">
          <a:xfrm>
            <a:off x="7596188" y="1711325"/>
            <a:ext cx="92868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defTabSz="914400" eaLnBrk="0" fontAlgn="auto" latinLnBrk="0" hangingPunct="0">
              <a:lnSpc>
                <a:spcPct val="100000"/>
              </a:lnSpc>
              <a:spcBef>
                <a:spcPts val="0"/>
              </a:spcBef>
              <a:spcAft>
                <a:spcPts val="0"/>
              </a:spcAft>
              <a:buClrTx/>
              <a:buSzTx/>
              <a:buFontTx/>
              <a:buNone/>
              <a:tabLst/>
              <a:defRPr/>
            </a:pPr>
            <a:r>
              <a:rPr kumimoji="0" lang="zh-CN" altLang="en-US" sz="14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rPr>
              <a:t>数据挖掘</a:t>
            </a:r>
          </a:p>
        </p:txBody>
      </p:sp>
      <p:sp>
        <p:nvSpPr>
          <p:cNvPr id="130" name="矩形 129">
            <a:extLst>
              <a:ext uri="{FF2B5EF4-FFF2-40B4-BE49-F238E27FC236}">
                <a16:creationId xmlns:a16="http://schemas.microsoft.com/office/drawing/2014/main" id="{95501395-5759-4541-AC4E-EA79E6B72D60}"/>
              </a:ext>
            </a:extLst>
          </p:cNvPr>
          <p:cNvSpPr/>
          <p:nvPr/>
        </p:nvSpPr>
        <p:spPr>
          <a:xfrm>
            <a:off x="2024063" y="5478463"/>
            <a:ext cx="928687" cy="357187"/>
          </a:xfrm>
          <a:prstGeom prst="rect">
            <a:avLst/>
          </a:prstGeom>
          <a:solidFill>
            <a:srgbClr val="FFFFFF"/>
          </a:solidFill>
          <a:ln w="25400" cap="flat" cmpd="sng" algn="ctr">
            <a:solidFill>
              <a:srgbClr val="BBE0E3">
                <a:shade val="50000"/>
              </a:srgbClr>
            </a:solidFill>
            <a:prstDash val="solid"/>
          </a:ln>
          <a:effectLst/>
        </p:spPr>
        <p:txBody>
          <a:bodyPr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Arial"/>
                <a:ea typeface="黑体"/>
                <a:cs typeface="+mn-cs"/>
              </a:rPr>
              <a:t>仓储</a:t>
            </a:r>
          </a:p>
        </p:txBody>
      </p:sp>
      <p:sp>
        <p:nvSpPr>
          <p:cNvPr id="131" name="矩形 130">
            <a:extLst>
              <a:ext uri="{FF2B5EF4-FFF2-40B4-BE49-F238E27FC236}">
                <a16:creationId xmlns:a16="http://schemas.microsoft.com/office/drawing/2014/main" id="{6601D18E-DBAB-4261-A5D0-BFA1D7728FE6}"/>
              </a:ext>
            </a:extLst>
          </p:cNvPr>
          <p:cNvSpPr/>
          <p:nvPr/>
        </p:nvSpPr>
        <p:spPr>
          <a:xfrm>
            <a:off x="4024313" y="5478463"/>
            <a:ext cx="928687" cy="357187"/>
          </a:xfrm>
          <a:prstGeom prst="rect">
            <a:avLst/>
          </a:prstGeom>
          <a:solidFill>
            <a:srgbClr val="FFFFFF"/>
          </a:solidFill>
          <a:ln w="25400" cap="flat" cmpd="sng" algn="ctr">
            <a:solidFill>
              <a:srgbClr val="BBE0E3">
                <a:shade val="50000"/>
              </a:srgbClr>
            </a:solidFill>
            <a:prstDash val="solid"/>
          </a:ln>
          <a:effectLst/>
        </p:spPr>
        <p:txBody>
          <a:bodyPr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Arial"/>
                <a:ea typeface="黑体"/>
                <a:cs typeface="+mn-cs"/>
              </a:rPr>
              <a:t>配液</a:t>
            </a:r>
          </a:p>
        </p:txBody>
      </p:sp>
      <p:sp>
        <p:nvSpPr>
          <p:cNvPr id="132" name="矩形 131">
            <a:extLst>
              <a:ext uri="{FF2B5EF4-FFF2-40B4-BE49-F238E27FC236}">
                <a16:creationId xmlns:a16="http://schemas.microsoft.com/office/drawing/2014/main" id="{64540516-9076-4549-B7F5-F3DB43688E2F}"/>
              </a:ext>
            </a:extLst>
          </p:cNvPr>
          <p:cNvSpPr/>
          <p:nvPr/>
        </p:nvSpPr>
        <p:spPr>
          <a:xfrm>
            <a:off x="5024438" y="5478463"/>
            <a:ext cx="928687" cy="357187"/>
          </a:xfrm>
          <a:prstGeom prst="rect">
            <a:avLst/>
          </a:prstGeom>
          <a:solidFill>
            <a:srgbClr val="FFFFFF"/>
          </a:solidFill>
          <a:ln w="25400" cap="flat" cmpd="sng" algn="ctr">
            <a:solidFill>
              <a:srgbClr val="BBE0E3">
                <a:shade val="50000"/>
              </a:srgbClr>
            </a:solidFill>
            <a:prstDash val="solid"/>
          </a:ln>
          <a:effectLst/>
        </p:spPr>
        <p:txBody>
          <a:bodyPr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Arial"/>
                <a:ea typeface="黑体"/>
                <a:cs typeface="+mn-cs"/>
              </a:rPr>
              <a:t>灌装</a:t>
            </a:r>
          </a:p>
        </p:txBody>
      </p:sp>
      <p:sp>
        <p:nvSpPr>
          <p:cNvPr id="133" name="矩形 132">
            <a:extLst>
              <a:ext uri="{FF2B5EF4-FFF2-40B4-BE49-F238E27FC236}">
                <a16:creationId xmlns:a16="http://schemas.microsoft.com/office/drawing/2014/main" id="{1C3761B5-A0EE-4664-9932-74EC1B6C86FE}"/>
              </a:ext>
            </a:extLst>
          </p:cNvPr>
          <p:cNvSpPr/>
          <p:nvPr/>
        </p:nvSpPr>
        <p:spPr>
          <a:xfrm>
            <a:off x="6024563" y="5478463"/>
            <a:ext cx="928687" cy="357187"/>
          </a:xfrm>
          <a:prstGeom prst="rect">
            <a:avLst/>
          </a:prstGeom>
          <a:solidFill>
            <a:srgbClr val="FFFFFF"/>
          </a:solidFill>
          <a:ln w="25400" cap="flat" cmpd="sng" algn="ctr">
            <a:solidFill>
              <a:srgbClr val="BBE0E3">
                <a:shade val="50000"/>
              </a:srgbClr>
            </a:solidFill>
            <a:prstDash val="solid"/>
          </a:ln>
          <a:effectLst/>
        </p:spPr>
        <p:txBody>
          <a:bodyPr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Arial"/>
                <a:ea typeface="黑体"/>
                <a:cs typeface="+mn-cs"/>
              </a:rPr>
              <a:t>冻干</a:t>
            </a:r>
            <a:endParaRPr kumimoji="0" lang="en-US" altLang="zh-CN" sz="1400" b="1" i="0" u="none" strike="noStrike" kern="0" cap="none" spc="0" normalizeH="0" baseline="0" noProof="0" dirty="0">
              <a:ln>
                <a:noFill/>
              </a:ln>
              <a:solidFill>
                <a:srgbClr val="000000"/>
              </a:solidFill>
              <a:effectLst/>
              <a:uLnTx/>
              <a:uFillTx/>
              <a:latin typeface="Arial"/>
              <a:ea typeface="黑体"/>
              <a:cs typeface="+mn-cs"/>
            </a:endParaRPr>
          </a:p>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Arial"/>
                <a:ea typeface="黑体"/>
                <a:cs typeface="+mn-cs"/>
              </a:rPr>
              <a:t>轧盖</a:t>
            </a:r>
          </a:p>
        </p:txBody>
      </p:sp>
      <p:sp>
        <p:nvSpPr>
          <p:cNvPr id="134" name="矩形 133">
            <a:extLst>
              <a:ext uri="{FF2B5EF4-FFF2-40B4-BE49-F238E27FC236}">
                <a16:creationId xmlns:a16="http://schemas.microsoft.com/office/drawing/2014/main" id="{DA4C66C6-D8B1-48C1-BF6E-AFD698E2E728}"/>
              </a:ext>
            </a:extLst>
          </p:cNvPr>
          <p:cNvSpPr/>
          <p:nvPr/>
        </p:nvSpPr>
        <p:spPr>
          <a:xfrm>
            <a:off x="6024563" y="5907088"/>
            <a:ext cx="928687" cy="357187"/>
          </a:xfrm>
          <a:prstGeom prst="rect">
            <a:avLst/>
          </a:prstGeom>
          <a:solidFill>
            <a:srgbClr val="FFFFFF"/>
          </a:solidFill>
          <a:ln w="25400" cap="flat" cmpd="sng" algn="ctr">
            <a:solidFill>
              <a:srgbClr val="BBE0E3">
                <a:shade val="50000"/>
              </a:srgbClr>
            </a:solidFill>
            <a:prstDash val="solid"/>
          </a:ln>
          <a:effectLst/>
        </p:spPr>
        <p:txBody>
          <a:bodyPr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Arial"/>
                <a:ea typeface="黑体"/>
                <a:cs typeface="+mn-cs"/>
              </a:rPr>
              <a:t>灭菌</a:t>
            </a:r>
          </a:p>
        </p:txBody>
      </p:sp>
      <p:sp>
        <p:nvSpPr>
          <p:cNvPr id="135" name="矩形 134">
            <a:extLst>
              <a:ext uri="{FF2B5EF4-FFF2-40B4-BE49-F238E27FC236}">
                <a16:creationId xmlns:a16="http://schemas.microsoft.com/office/drawing/2014/main" id="{1BE41895-AAF5-4018-8708-D0D624FD1E9A}"/>
              </a:ext>
            </a:extLst>
          </p:cNvPr>
          <p:cNvSpPr/>
          <p:nvPr/>
        </p:nvSpPr>
        <p:spPr>
          <a:xfrm>
            <a:off x="7024688" y="5478463"/>
            <a:ext cx="928687" cy="357187"/>
          </a:xfrm>
          <a:prstGeom prst="rect">
            <a:avLst/>
          </a:prstGeom>
          <a:solidFill>
            <a:srgbClr val="FFFFFF"/>
          </a:solidFill>
          <a:ln w="25400" cap="flat" cmpd="sng" algn="ctr">
            <a:solidFill>
              <a:srgbClr val="BBE0E3">
                <a:shade val="50000"/>
              </a:srgbClr>
            </a:solidFill>
            <a:prstDash val="solid"/>
          </a:ln>
          <a:effectLst/>
        </p:spPr>
        <p:txBody>
          <a:bodyPr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Arial"/>
                <a:ea typeface="黑体"/>
                <a:cs typeface="+mn-cs"/>
              </a:rPr>
              <a:t>灯检</a:t>
            </a:r>
          </a:p>
        </p:txBody>
      </p:sp>
      <p:sp>
        <p:nvSpPr>
          <p:cNvPr id="136" name="矩形 135">
            <a:extLst>
              <a:ext uri="{FF2B5EF4-FFF2-40B4-BE49-F238E27FC236}">
                <a16:creationId xmlns:a16="http://schemas.microsoft.com/office/drawing/2014/main" id="{18EF2DA1-02BC-4293-8EB5-C089DA7F9E98}"/>
              </a:ext>
            </a:extLst>
          </p:cNvPr>
          <p:cNvSpPr/>
          <p:nvPr/>
        </p:nvSpPr>
        <p:spPr>
          <a:xfrm>
            <a:off x="4024313" y="5907088"/>
            <a:ext cx="928687" cy="357187"/>
          </a:xfrm>
          <a:prstGeom prst="rect">
            <a:avLst/>
          </a:prstGeom>
          <a:solidFill>
            <a:srgbClr val="FFFFFF"/>
          </a:solidFill>
          <a:ln w="25400" cap="flat" cmpd="sng" algn="ctr">
            <a:solidFill>
              <a:srgbClr val="BBE0E3">
                <a:shade val="50000"/>
              </a:srgbClr>
            </a:solidFill>
            <a:prstDash val="solid"/>
          </a:ln>
          <a:effectLst/>
        </p:spPr>
        <p:txBody>
          <a:bodyPr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Arial"/>
                <a:ea typeface="黑体"/>
                <a:cs typeface="+mn-cs"/>
              </a:rPr>
              <a:t>水汽处理</a:t>
            </a:r>
          </a:p>
        </p:txBody>
      </p:sp>
      <p:sp>
        <p:nvSpPr>
          <p:cNvPr id="137" name="矩形 136">
            <a:extLst>
              <a:ext uri="{FF2B5EF4-FFF2-40B4-BE49-F238E27FC236}">
                <a16:creationId xmlns:a16="http://schemas.microsoft.com/office/drawing/2014/main" id="{997BC30E-8BF2-4EB1-BDA1-F7335A9D7D6E}"/>
              </a:ext>
            </a:extLst>
          </p:cNvPr>
          <p:cNvSpPr/>
          <p:nvPr/>
        </p:nvSpPr>
        <p:spPr>
          <a:xfrm>
            <a:off x="5024438" y="5907088"/>
            <a:ext cx="928687" cy="357187"/>
          </a:xfrm>
          <a:prstGeom prst="rect">
            <a:avLst/>
          </a:prstGeom>
          <a:solidFill>
            <a:srgbClr val="FFFFFF"/>
          </a:solidFill>
          <a:ln w="25400" cap="flat" cmpd="sng" algn="ctr">
            <a:solidFill>
              <a:srgbClr val="BBE0E3">
                <a:shade val="50000"/>
              </a:srgbClr>
            </a:solidFill>
            <a:prstDash val="solid"/>
          </a:ln>
          <a:effectLst/>
        </p:spPr>
        <p:txBody>
          <a:bodyPr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Arial"/>
                <a:ea typeface="黑体"/>
                <a:cs typeface="+mn-cs"/>
              </a:rPr>
              <a:t>包材清洗</a:t>
            </a:r>
          </a:p>
        </p:txBody>
      </p:sp>
      <p:sp>
        <p:nvSpPr>
          <p:cNvPr id="138" name="矩形 137">
            <a:extLst>
              <a:ext uri="{FF2B5EF4-FFF2-40B4-BE49-F238E27FC236}">
                <a16:creationId xmlns:a16="http://schemas.microsoft.com/office/drawing/2014/main" id="{E62F9C6F-A4B3-4B57-833F-BC0921549EA4}"/>
              </a:ext>
            </a:extLst>
          </p:cNvPr>
          <p:cNvSpPr/>
          <p:nvPr/>
        </p:nvSpPr>
        <p:spPr>
          <a:xfrm>
            <a:off x="8024813" y="5478463"/>
            <a:ext cx="928687" cy="357187"/>
          </a:xfrm>
          <a:prstGeom prst="rect">
            <a:avLst/>
          </a:prstGeom>
          <a:solidFill>
            <a:srgbClr val="FFFFFF"/>
          </a:solidFill>
          <a:ln w="25400" cap="flat" cmpd="sng" algn="ctr">
            <a:solidFill>
              <a:srgbClr val="BBE0E3">
                <a:shade val="50000"/>
              </a:srgbClr>
            </a:solidFill>
            <a:prstDash val="solid"/>
          </a:ln>
          <a:effectLst/>
        </p:spPr>
        <p:txBody>
          <a:bodyPr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Arial"/>
                <a:ea typeface="黑体"/>
                <a:cs typeface="+mn-cs"/>
              </a:rPr>
              <a:t>后包</a:t>
            </a:r>
          </a:p>
        </p:txBody>
      </p:sp>
      <p:sp>
        <p:nvSpPr>
          <p:cNvPr id="139" name="矩形 138">
            <a:extLst>
              <a:ext uri="{FF2B5EF4-FFF2-40B4-BE49-F238E27FC236}">
                <a16:creationId xmlns:a16="http://schemas.microsoft.com/office/drawing/2014/main" id="{4A01980F-09B7-4EAB-A4FE-5AA5912A8063}"/>
              </a:ext>
            </a:extLst>
          </p:cNvPr>
          <p:cNvSpPr/>
          <p:nvPr/>
        </p:nvSpPr>
        <p:spPr>
          <a:xfrm>
            <a:off x="9096375" y="5478463"/>
            <a:ext cx="928688" cy="357187"/>
          </a:xfrm>
          <a:prstGeom prst="rect">
            <a:avLst/>
          </a:prstGeom>
          <a:solidFill>
            <a:srgbClr val="FFFFFF"/>
          </a:solidFill>
          <a:ln w="25400" cap="flat" cmpd="sng" algn="ctr">
            <a:solidFill>
              <a:srgbClr val="BBE0E3">
                <a:shade val="50000"/>
              </a:srgbClr>
            </a:solidFill>
            <a:prstDash val="solid"/>
          </a:ln>
          <a:effectLst/>
        </p:spPr>
        <p:txBody>
          <a:bodyPr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Arial"/>
                <a:ea typeface="黑体"/>
                <a:cs typeface="+mn-cs"/>
              </a:rPr>
              <a:t>仓储</a:t>
            </a:r>
          </a:p>
        </p:txBody>
      </p:sp>
      <p:sp>
        <p:nvSpPr>
          <p:cNvPr id="140" name="矩形 139">
            <a:extLst>
              <a:ext uri="{FF2B5EF4-FFF2-40B4-BE49-F238E27FC236}">
                <a16:creationId xmlns:a16="http://schemas.microsoft.com/office/drawing/2014/main" id="{0DC81EA6-AF41-40B8-ABC8-CB733F0F44A6}"/>
              </a:ext>
            </a:extLst>
          </p:cNvPr>
          <p:cNvSpPr/>
          <p:nvPr/>
        </p:nvSpPr>
        <p:spPr>
          <a:xfrm>
            <a:off x="3024188" y="5478463"/>
            <a:ext cx="928687" cy="357187"/>
          </a:xfrm>
          <a:prstGeom prst="rect">
            <a:avLst/>
          </a:prstGeom>
          <a:solidFill>
            <a:srgbClr val="FFFFFF"/>
          </a:solidFill>
          <a:ln w="25400" cap="flat" cmpd="sng" algn="ctr">
            <a:solidFill>
              <a:srgbClr val="BBE0E3">
                <a:shade val="50000"/>
              </a:srgbClr>
            </a:solidFill>
            <a:prstDash val="solid"/>
          </a:ln>
          <a:effectLst/>
        </p:spPr>
        <p:txBody>
          <a:bodyPr anchor="ct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Arial"/>
                <a:ea typeface="黑体"/>
                <a:cs typeface="+mn-cs"/>
              </a:rPr>
              <a:t>称量</a:t>
            </a:r>
          </a:p>
        </p:txBody>
      </p:sp>
      <p:sp>
        <p:nvSpPr>
          <p:cNvPr id="141" name="上下箭头 44">
            <a:extLst>
              <a:ext uri="{FF2B5EF4-FFF2-40B4-BE49-F238E27FC236}">
                <a16:creationId xmlns:a16="http://schemas.microsoft.com/office/drawing/2014/main" id="{80B57837-1457-485B-BF25-6434A86D4BF1}"/>
              </a:ext>
            </a:extLst>
          </p:cNvPr>
          <p:cNvSpPr>
            <a:spLocks noChangeArrowheads="1"/>
          </p:cNvSpPr>
          <p:nvPr/>
        </p:nvSpPr>
        <p:spPr bwMode="auto">
          <a:xfrm>
            <a:off x="7167563" y="4192588"/>
            <a:ext cx="285750" cy="571500"/>
          </a:xfrm>
          <a:prstGeom prst="upDownArrow">
            <a:avLst>
              <a:gd name="adj1" fmla="val 50000"/>
              <a:gd name="adj2" fmla="val 50000"/>
            </a:avLst>
          </a:prstGeom>
          <a:gradFill rotWithShape="0">
            <a:gsLst>
              <a:gs pos="0">
                <a:srgbClr val="03D4A8"/>
              </a:gs>
              <a:gs pos="25000">
                <a:srgbClr val="21D6E0"/>
              </a:gs>
              <a:gs pos="75000">
                <a:srgbClr val="0087E6"/>
              </a:gs>
              <a:gs pos="100000">
                <a:srgbClr val="005CBF"/>
              </a:gs>
            </a:gsLst>
            <a:lin ang="5400000"/>
          </a:gradFill>
          <a:ln w="9525" algn="ctr">
            <a:solidFill>
              <a:srgbClr val="000000"/>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endParaRPr>
          </a:p>
        </p:txBody>
      </p:sp>
      <p:grpSp>
        <p:nvGrpSpPr>
          <p:cNvPr id="142" name="组合 102">
            <a:extLst>
              <a:ext uri="{FF2B5EF4-FFF2-40B4-BE49-F238E27FC236}">
                <a16:creationId xmlns:a16="http://schemas.microsoft.com/office/drawing/2014/main" id="{8BD777F9-064A-43BA-9EF2-D6B3F0DA6B4C}"/>
              </a:ext>
            </a:extLst>
          </p:cNvPr>
          <p:cNvGrpSpPr/>
          <p:nvPr/>
        </p:nvGrpSpPr>
        <p:grpSpPr>
          <a:xfrm>
            <a:off x="6381753" y="3621088"/>
            <a:ext cx="1928826" cy="500066"/>
            <a:chOff x="4581400" y="4032140"/>
            <a:chExt cx="1071570" cy="785818"/>
          </a:xfrm>
          <a:solidFill>
            <a:srgbClr val="00B0F0"/>
          </a:solidFill>
        </p:grpSpPr>
        <p:sp>
          <p:nvSpPr>
            <p:cNvPr id="143" name="圆角矩形 46">
              <a:extLst>
                <a:ext uri="{FF2B5EF4-FFF2-40B4-BE49-F238E27FC236}">
                  <a16:creationId xmlns:a16="http://schemas.microsoft.com/office/drawing/2014/main" id="{51F086E5-0E5D-4862-B790-87CC7BC9CCBE}"/>
                </a:ext>
              </a:extLst>
            </p:cNvPr>
            <p:cNvSpPr/>
            <p:nvPr/>
          </p:nvSpPr>
          <p:spPr bwMode="auto">
            <a:xfrm>
              <a:off x="4581400" y="4032140"/>
              <a:ext cx="1071570" cy="785818"/>
            </a:xfrm>
            <a:prstGeom prst="roundRect">
              <a:avLst/>
            </a:prstGeom>
            <a:grpFill/>
            <a:ln w="34925" cap="flat" cmpd="sng" algn="ctr">
              <a:solidFill>
                <a:srgbClr val="0099FF"/>
              </a:solidFill>
              <a:prstDash val="solid"/>
              <a:round/>
              <a:headEnd type="none" w="med" len="med"/>
              <a:tailEnd type="none" w="med" len="med"/>
            </a:ln>
            <a:effectLst/>
          </p:spPr>
          <p:txBody>
            <a:bodyPr/>
            <a:lstStyle/>
            <a:p>
              <a:pPr algn="ctr">
                <a:defRPr/>
              </a:pPr>
              <a:endParaRPr lang="zh-CN" altLang="en-US" b="1" dirty="0">
                <a:solidFill>
                  <a:srgbClr val="000000"/>
                </a:solidFill>
                <a:latin typeface="Arial" charset="0"/>
              </a:endParaRPr>
            </a:p>
          </p:txBody>
        </p:sp>
        <p:sp>
          <p:nvSpPr>
            <p:cNvPr id="144" name="矩形 143">
              <a:extLst>
                <a:ext uri="{FF2B5EF4-FFF2-40B4-BE49-F238E27FC236}">
                  <a16:creationId xmlns:a16="http://schemas.microsoft.com/office/drawing/2014/main" id="{66A19695-17CA-49D8-B199-CDEBD5C253AB}"/>
                </a:ext>
              </a:extLst>
            </p:cNvPr>
            <p:cNvSpPr/>
            <p:nvPr/>
          </p:nvSpPr>
          <p:spPr>
            <a:xfrm>
              <a:off x="4688557" y="4144401"/>
              <a:ext cx="798516" cy="532013"/>
            </a:xfrm>
            <a:prstGeom prst="rect">
              <a:avLst/>
            </a:prstGeom>
            <a:grpFill/>
          </p:spPr>
          <p:txBody>
            <a:bodyPr>
              <a:spAutoFit/>
            </a:bodyPr>
            <a:lstStyle/>
            <a:p>
              <a:pPr eaLnBrk="0" hangingPunct="0">
                <a:defRPr/>
              </a:pPr>
              <a:r>
                <a:rPr lang="en-US" altLang="zh-CN" sz="1600" b="1" dirty="0">
                  <a:solidFill>
                    <a:srgbClr val="000000"/>
                  </a:solidFill>
                  <a:latin typeface="Arial" charset="0"/>
                </a:rPr>
                <a:t>SCADA</a:t>
              </a:r>
              <a:r>
                <a:rPr lang="zh-CN" altLang="en-US" sz="1600" b="1" dirty="0">
                  <a:solidFill>
                    <a:srgbClr val="000000"/>
                  </a:solidFill>
                  <a:latin typeface="Arial" charset="0"/>
                </a:rPr>
                <a:t>系统</a:t>
              </a:r>
            </a:p>
          </p:txBody>
        </p:sp>
      </p:grpSp>
      <p:sp>
        <p:nvSpPr>
          <p:cNvPr id="145" name="圆角矩形 49">
            <a:extLst>
              <a:ext uri="{FF2B5EF4-FFF2-40B4-BE49-F238E27FC236}">
                <a16:creationId xmlns:a16="http://schemas.microsoft.com/office/drawing/2014/main" id="{8DD9AADB-A6E1-479A-867D-F6F771FC7517}"/>
              </a:ext>
            </a:extLst>
          </p:cNvPr>
          <p:cNvSpPr>
            <a:spLocks noChangeArrowheads="1"/>
          </p:cNvSpPr>
          <p:nvPr/>
        </p:nvSpPr>
        <p:spPr bwMode="auto">
          <a:xfrm>
            <a:off x="8596313" y="3640138"/>
            <a:ext cx="1357312" cy="481012"/>
          </a:xfrm>
          <a:prstGeom prst="roundRect">
            <a:avLst>
              <a:gd name="adj" fmla="val 16667"/>
            </a:avLst>
          </a:prstGeom>
          <a:solidFill>
            <a:srgbClr val="FFFF00"/>
          </a:solidFill>
          <a:ln w="34925" algn="ctr">
            <a:solidFill>
              <a:srgbClr val="BBE0E3"/>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endParaRPr>
          </a:p>
        </p:txBody>
      </p:sp>
      <p:sp>
        <p:nvSpPr>
          <p:cNvPr id="146" name="矩形 50">
            <a:extLst>
              <a:ext uri="{FF2B5EF4-FFF2-40B4-BE49-F238E27FC236}">
                <a16:creationId xmlns:a16="http://schemas.microsoft.com/office/drawing/2014/main" id="{AAB5A2C7-E18D-405A-AE86-1A72177AC27F}"/>
              </a:ext>
            </a:extLst>
          </p:cNvPr>
          <p:cNvSpPr>
            <a:spLocks noChangeArrowheads="1"/>
          </p:cNvSpPr>
          <p:nvPr/>
        </p:nvSpPr>
        <p:spPr bwMode="auto">
          <a:xfrm>
            <a:off x="8713788" y="3741738"/>
            <a:ext cx="1168400" cy="338137"/>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altLang="zh-CN" sz="16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rPr>
              <a:t>LIMS</a:t>
            </a:r>
            <a:r>
              <a:rPr kumimoji="0" lang="zh-CN" altLang="en-US" sz="16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rPr>
              <a:t>系统</a:t>
            </a:r>
          </a:p>
        </p:txBody>
      </p:sp>
      <p:sp>
        <p:nvSpPr>
          <p:cNvPr id="147" name="上下箭头 57">
            <a:extLst>
              <a:ext uri="{FF2B5EF4-FFF2-40B4-BE49-F238E27FC236}">
                <a16:creationId xmlns:a16="http://schemas.microsoft.com/office/drawing/2014/main" id="{6B440388-2CC1-4B6C-BA2B-B98525F30495}"/>
              </a:ext>
            </a:extLst>
          </p:cNvPr>
          <p:cNvSpPr>
            <a:spLocks noChangeArrowheads="1"/>
          </p:cNvSpPr>
          <p:nvPr/>
        </p:nvSpPr>
        <p:spPr bwMode="auto">
          <a:xfrm>
            <a:off x="9167813" y="4192588"/>
            <a:ext cx="285750" cy="571500"/>
          </a:xfrm>
          <a:prstGeom prst="upDownArrow">
            <a:avLst>
              <a:gd name="adj1" fmla="val 50000"/>
              <a:gd name="adj2" fmla="val 50000"/>
            </a:avLst>
          </a:prstGeom>
          <a:gradFill rotWithShape="0">
            <a:gsLst>
              <a:gs pos="0">
                <a:srgbClr val="03D4A8"/>
              </a:gs>
              <a:gs pos="25000">
                <a:srgbClr val="21D6E0"/>
              </a:gs>
              <a:gs pos="75000">
                <a:srgbClr val="0087E6"/>
              </a:gs>
              <a:gs pos="100000">
                <a:srgbClr val="005CBF"/>
              </a:gs>
            </a:gsLst>
            <a:lin ang="5400000"/>
          </a:gradFill>
          <a:ln w="9525" algn="ctr">
            <a:solidFill>
              <a:srgbClr val="000000"/>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endParaRPr>
          </a:p>
        </p:txBody>
      </p:sp>
      <p:grpSp>
        <p:nvGrpSpPr>
          <p:cNvPr id="148" name="组合 61">
            <a:extLst>
              <a:ext uri="{FF2B5EF4-FFF2-40B4-BE49-F238E27FC236}">
                <a16:creationId xmlns:a16="http://schemas.microsoft.com/office/drawing/2014/main" id="{60F1C262-3D39-4002-8DC9-DFA60940FA27}"/>
              </a:ext>
            </a:extLst>
          </p:cNvPr>
          <p:cNvGrpSpPr>
            <a:grpSpLocks/>
          </p:cNvGrpSpPr>
          <p:nvPr/>
        </p:nvGrpSpPr>
        <p:grpSpPr bwMode="auto">
          <a:xfrm>
            <a:off x="8739188" y="2335213"/>
            <a:ext cx="714375" cy="1285875"/>
            <a:chOff x="7358082" y="2214554"/>
            <a:chExt cx="714380" cy="1285884"/>
          </a:xfrm>
        </p:grpSpPr>
        <p:sp>
          <p:nvSpPr>
            <p:cNvPr id="149" name="下箭头 59">
              <a:extLst>
                <a:ext uri="{FF2B5EF4-FFF2-40B4-BE49-F238E27FC236}">
                  <a16:creationId xmlns:a16="http://schemas.microsoft.com/office/drawing/2014/main" id="{CF8F1D20-0322-43A8-AC14-0D03BCCF9A98}"/>
                </a:ext>
              </a:extLst>
            </p:cNvPr>
            <p:cNvSpPr>
              <a:spLocks noChangeArrowheads="1"/>
            </p:cNvSpPr>
            <p:nvPr/>
          </p:nvSpPr>
          <p:spPr bwMode="auto">
            <a:xfrm>
              <a:off x="7786710" y="2285992"/>
              <a:ext cx="285752" cy="1214446"/>
            </a:xfrm>
            <a:prstGeom prst="downArrow">
              <a:avLst>
                <a:gd name="adj1" fmla="val 50000"/>
                <a:gd name="adj2" fmla="val 49997"/>
              </a:avLst>
            </a:prstGeom>
            <a:solidFill>
              <a:srgbClr val="BBE0E3"/>
            </a:solidFill>
            <a:ln w="9525" algn="ctr">
              <a:solidFill>
                <a:srgbClr val="000000"/>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endParaRPr>
            </a:p>
          </p:txBody>
        </p:sp>
        <p:sp>
          <p:nvSpPr>
            <p:cNvPr id="150" name="右箭头 60">
              <a:extLst>
                <a:ext uri="{FF2B5EF4-FFF2-40B4-BE49-F238E27FC236}">
                  <a16:creationId xmlns:a16="http://schemas.microsoft.com/office/drawing/2014/main" id="{C9BF25C3-301B-41F9-BD60-E532041F6EC1}"/>
                </a:ext>
              </a:extLst>
            </p:cNvPr>
            <p:cNvSpPr>
              <a:spLocks noChangeArrowheads="1"/>
            </p:cNvSpPr>
            <p:nvPr/>
          </p:nvSpPr>
          <p:spPr bwMode="auto">
            <a:xfrm rot="10800000">
              <a:off x="7358082" y="2214554"/>
              <a:ext cx="642942" cy="285752"/>
            </a:xfrm>
            <a:prstGeom prst="rightArrow">
              <a:avLst>
                <a:gd name="adj1" fmla="val 50000"/>
                <a:gd name="adj2" fmla="val 50000"/>
              </a:avLst>
            </a:prstGeom>
            <a:solidFill>
              <a:srgbClr val="BBE0E3"/>
            </a:solidFill>
            <a:ln w="9525" algn="ctr">
              <a:solidFill>
                <a:srgbClr val="000000"/>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endParaRPr>
            </a:p>
          </p:txBody>
        </p:sp>
      </p:grpSp>
      <p:pic>
        <p:nvPicPr>
          <p:cNvPr id="151" name="Picture 2">
            <a:extLst>
              <a:ext uri="{FF2B5EF4-FFF2-40B4-BE49-F238E27FC236}">
                <a16:creationId xmlns:a16="http://schemas.microsoft.com/office/drawing/2014/main" id="{8A7B002A-6EA8-4FF6-BF15-0EB6D9219900}"/>
              </a:ext>
            </a:extLst>
          </p:cNvPr>
          <p:cNvPicPr>
            <a:picLocks noChangeAspect="1" noChangeArrowheads="1"/>
          </p:cNvPicPr>
          <p:nvPr/>
        </p:nvPicPr>
        <p:blipFill>
          <a:blip r:embed="rId4"/>
          <a:srcRect/>
          <a:stretch>
            <a:fillRect/>
          </a:stretch>
        </p:blipFill>
        <p:spPr bwMode="auto">
          <a:xfrm>
            <a:off x="1524000" y="2227263"/>
            <a:ext cx="4429125" cy="2465387"/>
          </a:xfrm>
          <a:prstGeom prst="rect">
            <a:avLst/>
          </a:prstGeom>
          <a:noFill/>
          <a:ln w="9525">
            <a:noFill/>
            <a:miter lim="800000"/>
            <a:headEnd/>
            <a:tailEnd/>
          </a:ln>
          <a:effectLst>
            <a:prstShdw prst="shdw17" dist="17961" dir="2700000">
              <a:srgbClr val="BBE0E3">
                <a:gamma/>
                <a:shade val="60000"/>
                <a:invGamma/>
              </a:srgbClr>
            </a:prstShdw>
          </a:effectLst>
        </p:spPr>
      </p:pic>
      <p:sp>
        <p:nvSpPr>
          <p:cNvPr id="152" name="爆炸形 1 62">
            <a:extLst>
              <a:ext uri="{FF2B5EF4-FFF2-40B4-BE49-F238E27FC236}">
                <a16:creationId xmlns:a16="http://schemas.microsoft.com/office/drawing/2014/main" id="{040B057D-10F2-4B94-9C9D-45BEB1EE03C3}"/>
              </a:ext>
            </a:extLst>
          </p:cNvPr>
          <p:cNvSpPr>
            <a:spLocks noChangeArrowheads="1"/>
          </p:cNvSpPr>
          <p:nvPr/>
        </p:nvSpPr>
        <p:spPr bwMode="auto">
          <a:xfrm>
            <a:off x="4024313" y="1335088"/>
            <a:ext cx="1857375" cy="1714500"/>
          </a:xfrm>
          <a:prstGeom prst="irregularSeal1">
            <a:avLst/>
          </a:prstGeom>
          <a:solidFill>
            <a:srgbClr val="BBE0E3"/>
          </a:solidFill>
          <a:ln w="9525" algn="ctr">
            <a:solidFill>
              <a:srgbClr val="000000"/>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8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rPr>
              <a:t>影响质量因素的发现</a:t>
            </a:r>
          </a:p>
        </p:txBody>
      </p:sp>
    </p:spTree>
    <p:extLst>
      <p:ext uri="{BB962C8B-B14F-4D97-AF65-F5344CB8AC3E}">
        <p14:creationId xmlns:p14="http://schemas.microsoft.com/office/powerpoint/2010/main" val="734202482"/>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7" y="114300"/>
            <a:ext cx="5844886"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fontScale="92500"/>
          </a:bodyPr>
          <a:lstStyle/>
          <a:p>
            <a:pPr marL="177800">
              <a:lnSpc>
                <a:spcPts val="2600"/>
              </a:lnSpc>
              <a:defRPr/>
            </a:pPr>
            <a:r>
              <a:rPr lang="zh-CN" altLang="en-US" sz="3600" b="1" dirty="0">
                <a:solidFill>
                  <a:srgbClr val="0070C0"/>
                </a:solidFill>
                <a:latin typeface="+mj-ea"/>
                <a:ea typeface="+mj-ea"/>
              </a:rPr>
              <a:t>数字化生产的价值</a:t>
            </a:r>
            <a:r>
              <a:rPr lang="en-US" altLang="zh-CN" sz="3600" b="1" dirty="0">
                <a:solidFill>
                  <a:srgbClr val="0070C0"/>
                </a:solidFill>
                <a:latin typeface="+mj-ea"/>
                <a:ea typeface="+mj-ea"/>
              </a:rPr>
              <a:t>-</a:t>
            </a:r>
            <a:r>
              <a:rPr lang="zh-CN" altLang="en-US" sz="3600" b="1" dirty="0">
                <a:solidFill>
                  <a:srgbClr val="0070C0"/>
                </a:solidFill>
                <a:latin typeface="+mj-ea"/>
                <a:ea typeface="+mj-ea"/>
              </a:rPr>
              <a:t>精益生产</a:t>
            </a:r>
          </a:p>
        </p:txBody>
      </p:sp>
      <p:sp>
        <p:nvSpPr>
          <p:cNvPr id="117" name="AutoShape 1027">
            <a:hlinkClick r:id="rId3" action="ppaction://hlinksldjump" highlightClick="1"/>
            <a:extLst>
              <a:ext uri="{FF2B5EF4-FFF2-40B4-BE49-F238E27FC236}">
                <a16:creationId xmlns:a16="http://schemas.microsoft.com/office/drawing/2014/main" id="{153B1952-3453-4435-AA87-68C205AD2E9A}"/>
              </a:ext>
            </a:extLst>
          </p:cNvPr>
          <p:cNvSpPr>
            <a:spLocks noChangeArrowheads="1"/>
          </p:cNvSpPr>
          <p:nvPr/>
        </p:nvSpPr>
        <p:spPr bwMode="auto">
          <a:xfrm>
            <a:off x="2290763" y="838200"/>
            <a:ext cx="1587" cy="1588"/>
          </a:xfrm>
          <a:prstGeom prst="actionButtonForwardNext">
            <a:avLst/>
          </a:prstGeom>
          <a:solidFill>
            <a:srgbClr val="99CC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endParaRPr>
          </a:p>
        </p:txBody>
      </p:sp>
      <p:sp>
        <p:nvSpPr>
          <p:cNvPr id="118" name="AutoShape 1036">
            <a:hlinkClick r:id="rId3" action="ppaction://hlinksldjump" highlightClick="1"/>
            <a:extLst>
              <a:ext uri="{FF2B5EF4-FFF2-40B4-BE49-F238E27FC236}">
                <a16:creationId xmlns:a16="http://schemas.microsoft.com/office/drawing/2014/main" id="{4BF3F420-7ED9-4ACE-87B3-113687A3963F}"/>
              </a:ext>
            </a:extLst>
          </p:cNvPr>
          <p:cNvSpPr>
            <a:spLocks noChangeArrowheads="1"/>
          </p:cNvSpPr>
          <p:nvPr/>
        </p:nvSpPr>
        <p:spPr bwMode="auto">
          <a:xfrm>
            <a:off x="6100763" y="838200"/>
            <a:ext cx="1587" cy="1588"/>
          </a:xfrm>
          <a:prstGeom prst="actionButtonForwardNext">
            <a:avLst/>
          </a:prstGeom>
          <a:solidFill>
            <a:srgbClr val="99CC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srgbClr val="000000"/>
              </a:solidFill>
              <a:effectLst/>
              <a:uLnTx/>
              <a:uFillTx/>
              <a:latin typeface="Arial" panose="020B0604020202020204" pitchFamily="34" charset="0"/>
              <a:ea typeface="宋体" panose="02010600030101010101" pitchFamily="2" charset="-122"/>
            </a:endParaRPr>
          </a:p>
        </p:txBody>
      </p:sp>
      <p:sp>
        <p:nvSpPr>
          <p:cNvPr id="153" name="AutoShape 1027">
            <a:hlinkClick r:id="rId3" action="ppaction://hlinksldjump" highlightClick="1"/>
            <a:extLst>
              <a:ext uri="{FF2B5EF4-FFF2-40B4-BE49-F238E27FC236}">
                <a16:creationId xmlns:a16="http://schemas.microsoft.com/office/drawing/2014/main" id="{57E4AF51-1A76-41A8-9978-7F5D95D2F627}"/>
              </a:ext>
            </a:extLst>
          </p:cNvPr>
          <p:cNvSpPr>
            <a:spLocks noChangeArrowheads="1"/>
          </p:cNvSpPr>
          <p:nvPr/>
        </p:nvSpPr>
        <p:spPr bwMode="auto">
          <a:xfrm>
            <a:off x="909638" y="717550"/>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154" name="AutoShape 1036">
            <a:hlinkClick r:id="rId3" action="ppaction://hlinksldjump" highlightClick="1"/>
            <a:extLst>
              <a:ext uri="{FF2B5EF4-FFF2-40B4-BE49-F238E27FC236}">
                <a16:creationId xmlns:a16="http://schemas.microsoft.com/office/drawing/2014/main" id="{E26ACECB-57FE-486D-AAD3-93D18B6E3FD2}"/>
              </a:ext>
            </a:extLst>
          </p:cNvPr>
          <p:cNvSpPr>
            <a:spLocks noChangeArrowheads="1"/>
          </p:cNvSpPr>
          <p:nvPr/>
        </p:nvSpPr>
        <p:spPr bwMode="auto">
          <a:xfrm>
            <a:off x="4719638" y="717550"/>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155" name="TextBox 9">
            <a:extLst>
              <a:ext uri="{FF2B5EF4-FFF2-40B4-BE49-F238E27FC236}">
                <a16:creationId xmlns:a16="http://schemas.microsoft.com/office/drawing/2014/main" id="{68210B21-DD49-4FB2-82B8-116214FD8471}"/>
              </a:ext>
            </a:extLst>
          </p:cNvPr>
          <p:cNvSpPr txBox="1"/>
          <p:nvPr/>
        </p:nvSpPr>
        <p:spPr>
          <a:xfrm>
            <a:off x="214313" y="857250"/>
            <a:ext cx="8715375" cy="1631950"/>
          </a:xfrm>
          <a:prstGeom prst="rect">
            <a:avLst/>
          </a:prstGeom>
          <a:noFill/>
        </p:spPr>
        <p:txBody>
          <a:bodyPr>
            <a:spAutoFit/>
          </a:bodyPr>
          <a:lstStyle/>
          <a:p>
            <a:pPr>
              <a:buFont typeface="Wingdings" pitchFamily="2" charset="2"/>
              <a:buChar char="ü"/>
              <a:defRPr/>
            </a:pPr>
            <a:r>
              <a:rPr lang="zh-CN" altLang="en-US" sz="2000" b="1" dirty="0">
                <a:latin typeface="+mn-ea"/>
                <a:ea typeface="+mn-ea"/>
              </a:rPr>
              <a:t>多样的成本分析模型</a:t>
            </a:r>
            <a:endParaRPr lang="en-US" altLang="zh-CN" sz="2000" b="1" dirty="0">
              <a:latin typeface="+mn-ea"/>
              <a:ea typeface="+mn-ea"/>
            </a:endParaRPr>
          </a:p>
          <a:p>
            <a:pPr>
              <a:defRPr/>
            </a:pPr>
            <a:r>
              <a:rPr lang="en-US" altLang="zh-CN" sz="2000" b="1" dirty="0">
                <a:latin typeface="+mn-ea"/>
                <a:ea typeface="+mn-ea"/>
              </a:rPr>
              <a:t>   </a:t>
            </a:r>
            <a:r>
              <a:rPr lang="zh-CN" altLang="en-US" sz="2000" b="1" dirty="0">
                <a:latin typeface="+mn-ea"/>
                <a:ea typeface="+mn-ea"/>
              </a:rPr>
              <a:t>可以根据批次，班次，工艺段，时间等各种模型进行精确分析</a:t>
            </a:r>
            <a:endParaRPr lang="en-US" altLang="zh-CN" sz="2000" b="1" dirty="0">
              <a:latin typeface="+mn-ea"/>
              <a:ea typeface="+mn-ea"/>
            </a:endParaRPr>
          </a:p>
          <a:p>
            <a:pPr>
              <a:buFont typeface="Wingdings" pitchFamily="2" charset="2"/>
              <a:buChar char="ü"/>
              <a:defRPr/>
            </a:pPr>
            <a:r>
              <a:rPr lang="zh-CN" altLang="en-US" sz="2000" b="1" dirty="0">
                <a:latin typeface="+mn-ea"/>
                <a:ea typeface="+mn-ea"/>
              </a:rPr>
              <a:t>多种成本因素的分析</a:t>
            </a:r>
            <a:endParaRPr lang="en-US" altLang="zh-CN" sz="2000" b="1" dirty="0">
              <a:latin typeface="+mn-ea"/>
              <a:ea typeface="+mn-ea"/>
            </a:endParaRPr>
          </a:p>
          <a:p>
            <a:pPr>
              <a:defRPr/>
            </a:pPr>
            <a:r>
              <a:rPr lang="en-US" altLang="zh-CN" sz="2000" b="1" dirty="0">
                <a:latin typeface="+mn-ea"/>
                <a:ea typeface="+mn-ea"/>
              </a:rPr>
              <a:t>   </a:t>
            </a:r>
            <a:r>
              <a:rPr lang="zh-CN" altLang="en-US" sz="2000" b="1" dirty="0">
                <a:latin typeface="+mn-ea"/>
                <a:ea typeface="+mn-ea"/>
              </a:rPr>
              <a:t>对人员，物料，水汽消耗，能耗，废品等多种因素全面分析</a:t>
            </a:r>
            <a:endParaRPr lang="en-US" altLang="zh-CN" sz="2000" b="1" dirty="0">
              <a:latin typeface="+mn-ea"/>
              <a:ea typeface="+mn-ea"/>
            </a:endParaRPr>
          </a:p>
          <a:p>
            <a:pPr>
              <a:buFont typeface="Wingdings" pitchFamily="2" charset="2"/>
              <a:buChar char="ü"/>
              <a:defRPr/>
            </a:pPr>
            <a:r>
              <a:rPr lang="zh-CN" altLang="en-US" sz="2000" b="1" dirty="0">
                <a:latin typeface="+mn-ea"/>
                <a:ea typeface="+mn-ea"/>
              </a:rPr>
              <a:t>相对与传统的管理模式，分析更加精确，全面</a:t>
            </a:r>
          </a:p>
        </p:txBody>
      </p:sp>
      <p:pic>
        <p:nvPicPr>
          <p:cNvPr id="156" name="Picture 2">
            <a:extLst>
              <a:ext uri="{FF2B5EF4-FFF2-40B4-BE49-F238E27FC236}">
                <a16:creationId xmlns:a16="http://schemas.microsoft.com/office/drawing/2014/main" id="{19F40D49-73D3-4B25-ACF6-617832A5D7CD}"/>
              </a:ext>
            </a:extLst>
          </p:cNvPr>
          <p:cNvPicPr>
            <a:picLocks noChangeAspect="1" noChangeArrowheads="1"/>
          </p:cNvPicPr>
          <p:nvPr/>
        </p:nvPicPr>
        <p:blipFill>
          <a:blip r:embed="rId4"/>
          <a:srcRect/>
          <a:stretch>
            <a:fillRect/>
          </a:stretch>
        </p:blipFill>
        <p:spPr bwMode="auto">
          <a:xfrm>
            <a:off x="2330106" y="2691659"/>
            <a:ext cx="6599582" cy="3890857"/>
          </a:xfrm>
          <a:prstGeom prst="rect">
            <a:avLst/>
          </a:prstGeom>
          <a:noFill/>
          <a:ln w="9525">
            <a:noFill/>
            <a:miter lim="800000"/>
            <a:headEnd/>
            <a:tailEnd/>
          </a:ln>
          <a:effectLst>
            <a:prstShdw prst="shdw17" dist="17961" dir="2700000">
              <a:schemeClr val="accent1">
                <a:gamma/>
                <a:shade val="60000"/>
                <a:invGamma/>
              </a:schemeClr>
            </a:prstShdw>
          </a:effectLst>
        </p:spPr>
      </p:pic>
      <p:sp>
        <p:nvSpPr>
          <p:cNvPr id="157" name="椭圆形标注 10">
            <a:extLst>
              <a:ext uri="{FF2B5EF4-FFF2-40B4-BE49-F238E27FC236}">
                <a16:creationId xmlns:a16="http://schemas.microsoft.com/office/drawing/2014/main" id="{5674ACC2-5297-47C6-BA54-528003F545CD}"/>
              </a:ext>
            </a:extLst>
          </p:cNvPr>
          <p:cNvSpPr>
            <a:spLocks noChangeArrowheads="1"/>
          </p:cNvSpPr>
          <p:nvPr/>
        </p:nvSpPr>
        <p:spPr bwMode="auto">
          <a:xfrm>
            <a:off x="9120187" y="1928675"/>
            <a:ext cx="2857500" cy="1714500"/>
          </a:xfrm>
          <a:prstGeom prst="wedgeEllipseCallout">
            <a:avLst>
              <a:gd name="adj1" fmla="val -129587"/>
              <a:gd name="adj2" fmla="val 119763"/>
            </a:avLst>
          </a:prstGeom>
          <a:solidFill>
            <a:schemeClr val="accent1"/>
          </a:solidFill>
          <a:ln w="9525" algn="ctr">
            <a:solidFill>
              <a:schemeClr val="tx1"/>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r>
              <a:rPr lang="zh-CN" altLang="en-US" dirty="0">
                <a:solidFill>
                  <a:schemeClr val="bg1"/>
                </a:solidFill>
              </a:rPr>
              <a:t>发现影响成本因素，并持续改进，</a:t>
            </a:r>
            <a:endParaRPr lang="en-US" altLang="zh-CN" dirty="0">
              <a:solidFill>
                <a:schemeClr val="bg1"/>
              </a:solidFill>
            </a:endParaRPr>
          </a:p>
          <a:p>
            <a:pPr eaLnBrk="1" hangingPunct="1"/>
            <a:r>
              <a:rPr lang="en-US" altLang="zh-CN" dirty="0">
                <a:solidFill>
                  <a:schemeClr val="bg1"/>
                </a:solidFill>
              </a:rPr>
              <a:t>KPI</a:t>
            </a:r>
            <a:r>
              <a:rPr lang="zh-CN" altLang="en-US" dirty="0">
                <a:solidFill>
                  <a:schemeClr val="bg1"/>
                </a:solidFill>
              </a:rPr>
              <a:t>考核更加准确</a:t>
            </a:r>
          </a:p>
        </p:txBody>
      </p:sp>
    </p:spTree>
    <p:extLst>
      <p:ext uri="{BB962C8B-B14F-4D97-AF65-F5344CB8AC3E}">
        <p14:creationId xmlns:p14="http://schemas.microsoft.com/office/powerpoint/2010/main" val="2604739888"/>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8" y="114300"/>
            <a:ext cx="3644472"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zh-CN" altLang="en-US" sz="3300" b="1" dirty="0">
                <a:solidFill>
                  <a:srgbClr val="0070C0"/>
                </a:solidFill>
                <a:latin typeface="+mj-ea"/>
                <a:ea typeface="+mj-ea"/>
              </a:rPr>
              <a:t>实施路径</a:t>
            </a:r>
          </a:p>
        </p:txBody>
      </p:sp>
      <p:grpSp>
        <p:nvGrpSpPr>
          <p:cNvPr id="101381" name="组合 128"/>
          <p:cNvGrpSpPr>
            <a:grpSpLocks/>
          </p:cNvGrpSpPr>
          <p:nvPr/>
        </p:nvGrpSpPr>
        <p:grpSpPr bwMode="auto">
          <a:xfrm>
            <a:off x="839845" y="1551333"/>
            <a:ext cx="9240837" cy="5145088"/>
            <a:chOff x="1999202" y="1595438"/>
            <a:chExt cx="8596598" cy="4525962"/>
          </a:xfrm>
        </p:grpSpPr>
        <p:sp>
          <p:nvSpPr>
            <p:cNvPr id="10" name="Rechteck 31">
              <a:extLst/>
            </p:cNvPr>
            <p:cNvSpPr/>
            <p:nvPr>
              <p:custDataLst>
                <p:tags r:id="rId1"/>
              </p:custDataLst>
            </p:nvPr>
          </p:nvSpPr>
          <p:spPr bwMode="auto">
            <a:xfrm>
              <a:off x="1999202" y="1595438"/>
              <a:ext cx="8596598" cy="1346198"/>
            </a:xfrm>
            <a:prstGeom prst="rect">
              <a:avLst/>
            </a:prstGeom>
            <a:solidFill>
              <a:srgbClr val="879BAA"/>
            </a:solidFill>
            <a:ln>
              <a:noFill/>
            </a:ln>
            <a:effectLst/>
            <a:extLst/>
          </p:spPr>
          <p:txBody>
            <a:bodyPr vert="vert" lIns="108000" tIns="54000" rIns="0" bIns="54000" spcCol="72000"/>
            <a:lstStyle/>
            <a:p>
              <a:pPr algn="ctr" fontAlgn="auto">
                <a:lnSpc>
                  <a:spcPct val="110000"/>
                </a:lnSpc>
                <a:spcAft>
                  <a:spcPts val="0"/>
                </a:spcAft>
                <a:buFont typeface="Wingdings" charset="0"/>
                <a:buNone/>
                <a:defRPr/>
              </a:pPr>
              <a:endParaRPr lang="en-US" b="1" kern="0" dirty="0">
                <a:solidFill>
                  <a:srgbClr val="000000"/>
                </a:solidFill>
                <a:ea typeface="宋体" charset="-122"/>
              </a:endParaRPr>
            </a:p>
          </p:txBody>
        </p:sp>
        <p:sp>
          <p:nvSpPr>
            <p:cNvPr id="11" name="Rectangle 12">
              <a:extLst/>
            </p:cNvPr>
            <p:cNvSpPr/>
            <p:nvPr>
              <p:custDataLst>
                <p:tags r:id="rId2"/>
              </p:custDataLst>
            </p:nvPr>
          </p:nvSpPr>
          <p:spPr bwMode="auto">
            <a:xfrm>
              <a:off x="3957472" y="2114925"/>
              <a:ext cx="1240533" cy="673099"/>
            </a:xfrm>
            <a:prstGeom prst="rect">
              <a:avLst/>
            </a:prstGeom>
            <a:solidFill>
              <a:srgbClr val="FFFFFF"/>
            </a:solidFill>
            <a:ln>
              <a:noFill/>
            </a:ln>
            <a:effectLst/>
            <a:extLst/>
          </p:spPr>
          <p:txBody>
            <a:bodyPr lIns="108000" tIns="54000" rIns="108000" bIns="54000" spcCol="72000" anchor="ctr">
              <a:normAutofit/>
            </a:bodyPr>
            <a:lstStyle/>
            <a:p>
              <a:pPr algn="ctr" fontAlgn="auto">
                <a:spcAft>
                  <a:spcPts val="0"/>
                </a:spcAft>
                <a:buFont typeface="Wingdings" charset="0"/>
                <a:buNone/>
                <a:defRPr/>
              </a:pPr>
              <a:r>
                <a:rPr lang="zh-CN" altLang="en-US" sz="1200" b="1" kern="0" dirty="0">
                  <a:solidFill>
                    <a:srgbClr val="000000"/>
                  </a:solidFill>
                  <a:ea typeface="宋体" charset="-122"/>
                </a:rPr>
                <a:t>信息化系统功能定义</a:t>
              </a:r>
              <a:endParaRPr lang="en-US" altLang="zh-CN" sz="1200" b="1" kern="0" dirty="0">
                <a:solidFill>
                  <a:srgbClr val="000000"/>
                </a:solidFill>
                <a:ea typeface="宋体" charset="-122"/>
              </a:endParaRPr>
            </a:p>
            <a:p>
              <a:pPr algn="ctr" fontAlgn="auto">
                <a:spcAft>
                  <a:spcPts val="0"/>
                </a:spcAft>
                <a:buFont typeface="Wingdings" charset="0"/>
                <a:buNone/>
                <a:defRPr/>
              </a:pPr>
              <a:r>
                <a:rPr lang="zh-CN" altLang="en-US" sz="1200" b="1" kern="0" dirty="0">
                  <a:solidFill>
                    <a:srgbClr val="000000"/>
                  </a:solidFill>
                  <a:ea typeface="宋体" charset="-122"/>
                </a:rPr>
                <a:t>总体方案设计</a:t>
              </a:r>
              <a:endParaRPr lang="en-US" sz="1200" b="1" kern="0" dirty="0">
                <a:solidFill>
                  <a:srgbClr val="000000"/>
                </a:solidFill>
                <a:ea typeface="宋体" charset="-122"/>
              </a:endParaRPr>
            </a:p>
          </p:txBody>
        </p:sp>
        <p:sp>
          <p:nvSpPr>
            <p:cNvPr id="12" name="Rectangle 13">
              <a:extLst/>
            </p:cNvPr>
            <p:cNvSpPr/>
            <p:nvPr>
              <p:custDataLst>
                <p:tags r:id="rId3"/>
              </p:custDataLst>
            </p:nvPr>
          </p:nvSpPr>
          <p:spPr bwMode="auto">
            <a:xfrm>
              <a:off x="2107010" y="1689002"/>
              <a:ext cx="8379505" cy="370064"/>
            </a:xfrm>
            <a:prstGeom prst="rect">
              <a:avLst/>
            </a:prstGeom>
            <a:solidFill>
              <a:srgbClr val="FFFFFF"/>
            </a:solidFill>
            <a:ln>
              <a:noFill/>
            </a:ln>
            <a:effectLst/>
            <a:extLst/>
          </p:spPr>
          <p:txBody>
            <a:bodyPr lIns="108000" tIns="54000" rIns="108000" bIns="54000" spcCol="72000" anchor="ctr"/>
            <a:lstStyle/>
            <a:p>
              <a:pPr algn="ctr" fontAlgn="auto">
                <a:lnSpc>
                  <a:spcPct val="110000"/>
                </a:lnSpc>
                <a:spcAft>
                  <a:spcPts val="0"/>
                </a:spcAft>
                <a:buFont typeface="Wingdings" charset="0"/>
                <a:buNone/>
                <a:defRPr/>
              </a:pPr>
              <a:r>
                <a:rPr lang="zh-CN" altLang="en-US" sz="1400" b="1" kern="0" dirty="0">
                  <a:solidFill>
                    <a:srgbClr val="000000"/>
                  </a:solidFill>
                  <a:ea typeface="宋体" charset="-122"/>
                </a:rPr>
                <a:t>信息化生产大数据平台建设过程</a:t>
              </a:r>
              <a:endParaRPr lang="en-US" sz="1400" b="1" kern="0" dirty="0">
                <a:solidFill>
                  <a:srgbClr val="000000"/>
                </a:solidFill>
                <a:ea typeface="宋体" charset="-122"/>
              </a:endParaRPr>
            </a:p>
          </p:txBody>
        </p:sp>
        <p:sp>
          <p:nvSpPr>
            <p:cNvPr id="13" name="Rectangle 18">
              <a:extLst/>
            </p:cNvPr>
            <p:cNvSpPr/>
            <p:nvPr>
              <p:custDataLst>
                <p:tags r:id="rId4"/>
              </p:custDataLst>
            </p:nvPr>
          </p:nvSpPr>
          <p:spPr bwMode="auto">
            <a:xfrm>
              <a:off x="3032980" y="2114925"/>
              <a:ext cx="892002" cy="674496"/>
            </a:xfrm>
            <a:prstGeom prst="rect">
              <a:avLst/>
            </a:prstGeom>
            <a:solidFill>
              <a:srgbClr val="FFFFFF"/>
            </a:solidFill>
            <a:ln>
              <a:noFill/>
            </a:ln>
            <a:effectLst/>
            <a:extLst/>
          </p:spPr>
          <p:txBody>
            <a:bodyPr lIns="108000" tIns="54000" rIns="108000" bIns="54000" spcCol="72000" anchor="ctr">
              <a:normAutofit/>
            </a:bodyPr>
            <a:lstStyle/>
            <a:p>
              <a:pPr algn="ctr">
                <a:defRPr/>
              </a:pPr>
              <a:r>
                <a:rPr lang="zh-CN" altLang="en-US" sz="1100" b="1" kern="0" dirty="0">
                  <a:solidFill>
                    <a:srgbClr val="000000"/>
                  </a:solidFill>
                  <a:ea typeface="宋体" charset="-122"/>
                </a:rPr>
                <a:t>流程、</a:t>
              </a:r>
              <a:r>
                <a:rPr lang="en-US" altLang="zh-CN" sz="1100" b="1" kern="0" dirty="0">
                  <a:solidFill>
                    <a:srgbClr val="000000"/>
                  </a:solidFill>
                  <a:ea typeface="宋体" charset="-122"/>
                </a:rPr>
                <a:t>sop</a:t>
              </a:r>
              <a:r>
                <a:rPr lang="zh-CN" altLang="en-US" sz="1100" b="1" kern="0" dirty="0">
                  <a:solidFill>
                    <a:srgbClr val="000000"/>
                  </a:solidFill>
                  <a:ea typeface="宋体" charset="-122"/>
                </a:rPr>
                <a:t>、网络、数据工艺等调研</a:t>
              </a:r>
              <a:endParaRPr lang="en-US" altLang="en-US" sz="1100" b="1" kern="0" dirty="0">
                <a:solidFill>
                  <a:srgbClr val="000000"/>
                </a:solidFill>
                <a:ea typeface="宋体" charset="-122"/>
              </a:endParaRPr>
            </a:p>
          </p:txBody>
        </p:sp>
        <p:sp>
          <p:nvSpPr>
            <p:cNvPr id="14" name="Rectangle 20">
              <a:extLst/>
            </p:cNvPr>
            <p:cNvSpPr/>
            <p:nvPr>
              <p:custDataLst>
                <p:tags r:id="rId5"/>
              </p:custDataLst>
            </p:nvPr>
          </p:nvSpPr>
          <p:spPr bwMode="auto">
            <a:xfrm>
              <a:off x="2102580" y="2114925"/>
              <a:ext cx="890525" cy="673099"/>
            </a:xfrm>
            <a:prstGeom prst="rect">
              <a:avLst/>
            </a:prstGeom>
            <a:solidFill>
              <a:srgbClr val="FFFFFF"/>
            </a:solidFill>
            <a:ln>
              <a:noFill/>
            </a:ln>
            <a:effectLst/>
            <a:extLst/>
          </p:spPr>
          <p:txBody>
            <a:bodyPr lIns="108000" tIns="54000" rIns="108000" bIns="54000" spcCol="72000" anchor="ctr">
              <a:normAutofit/>
            </a:bodyPr>
            <a:lstStyle/>
            <a:p>
              <a:pPr algn="ctr" fontAlgn="auto">
                <a:lnSpc>
                  <a:spcPct val="110000"/>
                </a:lnSpc>
                <a:spcAft>
                  <a:spcPts val="0"/>
                </a:spcAft>
                <a:buFont typeface="Wingdings" charset="0"/>
                <a:buNone/>
                <a:defRPr/>
              </a:pPr>
              <a:r>
                <a:rPr lang="zh-CN" altLang="en-US" sz="1100" b="1" kern="0" dirty="0">
                  <a:solidFill>
                    <a:srgbClr val="000000"/>
                  </a:solidFill>
                  <a:ea typeface="宋体" charset="-122"/>
                </a:rPr>
                <a:t>可行性分析</a:t>
              </a:r>
              <a:endParaRPr lang="en-US" altLang="en-US" sz="1100" b="1" kern="0" dirty="0">
                <a:solidFill>
                  <a:srgbClr val="000000"/>
                </a:solidFill>
                <a:ea typeface="宋体" charset="-122"/>
              </a:endParaRPr>
            </a:p>
          </p:txBody>
        </p:sp>
        <p:sp>
          <p:nvSpPr>
            <p:cNvPr id="15" name="Rectangle 86">
              <a:extLst/>
            </p:cNvPr>
            <p:cNvSpPr/>
            <p:nvPr>
              <p:custDataLst>
                <p:tags r:id="rId6"/>
              </p:custDataLst>
            </p:nvPr>
          </p:nvSpPr>
          <p:spPr bwMode="auto">
            <a:xfrm>
              <a:off x="5246740" y="2114925"/>
              <a:ext cx="1048546" cy="673099"/>
            </a:xfrm>
            <a:prstGeom prst="rect">
              <a:avLst/>
            </a:prstGeom>
            <a:solidFill>
              <a:srgbClr val="FFFFFF"/>
            </a:solidFill>
            <a:ln>
              <a:noFill/>
            </a:ln>
            <a:effectLst/>
            <a:extLst/>
          </p:spPr>
          <p:txBody>
            <a:bodyPr lIns="108000" tIns="54000" rIns="108000" bIns="54000" spcCol="72000" anchor="ctr">
              <a:normAutofit/>
            </a:bodyPr>
            <a:lstStyle/>
            <a:p>
              <a:pPr algn="ctr">
                <a:lnSpc>
                  <a:spcPct val="110000"/>
                </a:lnSpc>
                <a:defRPr/>
              </a:pPr>
              <a:r>
                <a:rPr lang="zh-CN" altLang="en-US" sz="1100" b="1" kern="0" dirty="0">
                  <a:solidFill>
                    <a:srgbClr val="000000"/>
                  </a:solidFill>
                  <a:ea typeface="宋体" charset="-122"/>
                </a:rPr>
                <a:t>方案细化</a:t>
              </a:r>
              <a:endParaRPr lang="en-US" altLang="en-US" sz="1100" b="1" kern="0" dirty="0">
                <a:solidFill>
                  <a:srgbClr val="000000"/>
                </a:solidFill>
                <a:ea typeface="宋体" charset="-122"/>
              </a:endParaRPr>
            </a:p>
          </p:txBody>
        </p:sp>
        <p:sp>
          <p:nvSpPr>
            <p:cNvPr id="16" name="Rectangle 86">
              <a:extLst/>
            </p:cNvPr>
            <p:cNvSpPr/>
            <p:nvPr>
              <p:custDataLst>
                <p:tags r:id="rId7"/>
              </p:custDataLst>
            </p:nvPr>
          </p:nvSpPr>
          <p:spPr bwMode="auto">
            <a:xfrm>
              <a:off x="6341068" y="2114925"/>
              <a:ext cx="1113526" cy="673099"/>
            </a:xfrm>
            <a:prstGeom prst="rect">
              <a:avLst/>
            </a:prstGeom>
            <a:solidFill>
              <a:srgbClr val="FFFFFF"/>
            </a:solidFill>
            <a:ln>
              <a:noFill/>
            </a:ln>
            <a:effectLst/>
            <a:extLst/>
          </p:spPr>
          <p:txBody>
            <a:bodyPr lIns="108000" tIns="54000" rIns="108000" bIns="54000" spcCol="72000" anchor="ctr">
              <a:normAutofit/>
            </a:bodyPr>
            <a:lstStyle/>
            <a:p>
              <a:pPr algn="ctr" fontAlgn="auto">
                <a:lnSpc>
                  <a:spcPct val="110000"/>
                </a:lnSpc>
                <a:spcAft>
                  <a:spcPts val="0"/>
                </a:spcAft>
                <a:buFont typeface="Wingdings" charset="0"/>
                <a:buNone/>
                <a:defRPr/>
              </a:pPr>
              <a:r>
                <a:rPr lang="zh-CN" altLang="en-US" sz="1100" b="1" kern="0" dirty="0">
                  <a:solidFill>
                    <a:srgbClr val="000000"/>
                  </a:solidFill>
                  <a:ea typeface="宋体" charset="-122"/>
                </a:rPr>
                <a:t>系统</a:t>
              </a:r>
              <a:endParaRPr lang="en-US" altLang="zh-CN" sz="1100" b="1" kern="0" dirty="0">
                <a:solidFill>
                  <a:srgbClr val="000000"/>
                </a:solidFill>
                <a:ea typeface="宋体" charset="-122"/>
              </a:endParaRPr>
            </a:p>
            <a:p>
              <a:pPr algn="ctr" fontAlgn="auto">
                <a:lnSpc>
                  <a:spcPct val="110000"/>
                </a:lnSpc>
                <a:spcAft>
                  <a:spcPts val="0"/>
                </a:spcAft>
                <a:buFont typeface="Wingdings" charset="0"/>
                <a:buNone/>
                <a:defRPr/>
              </a:pPr>
              <a:r>
                <a:rPr lang="zh-CN" altLang="en-US" sz="1100" b="1" kern="0" dirty="0">
                  <a:solidFill>
                    <a:srgbClr val="000000"/>
                  </a:solidFill>
                  <a:ea typeface="宋体" charset="-122"/>
                </a:rPr>
                <a:t>实施与调试</a:t>
              </a:r>
              <a:endParaRPr lang="en-US" altLang="en-US" sz="1100" b="1" kern="0" dirty="0">
                <a:solidFill>
                  <a:srgbClr val="000000"/>
                </a:solidFill>
                <a:ea typeface="宋体" charset="-122"/>
              </a:endParaRPr>
            </a:p>
          </p:txBody>
        </p:sp>
        <p:sp>
          <p:nvSpPr>
            <p:cNvPr id="17" name="Rectangle 86">
              <a:extLst/>
            </p:cNvPr>
            <p:cNvSpPr/>
            <p:nvPr>
              <p:custDataLst>
                <p:tags r:id="rId8"/>
              </p:custDataLst>
            </p:nvPr>
          </p:nvSpPr>
          <p:spPr bwMode="auto">
            <a:xfrm>
              <a:off x="7510713" y="2114925"/>
              <a:ext cx="1115002" cy="673099"/>
            </a:xfrm>
            <a:prstGeom prst="rect">
              <a:avLst/>
            </a:prstGeom>
            <a:solidFill>
              <a:srgbClr val="FFFFFF"/>
            </a:solidFill>
            <a:ln>
              <a:noFill/>
            </a:ln>
            <a:effectLst/>
            <a:extLst/>
          </p:spPr>
          <p:txBody>
            <a:bodyPr lIns="108000" tIns="54000" rIns="108000" bIns="54000" spcCol="72000" anchor="ctr">
              <a:normAutofit/>
            </a:bodyPr>
            <a:lstStyle/>
            <a:p>
              <a:pPr algn="ctr">
                <a:lnSpc>
                  <a:spcPct val="110000"/>
                </a:lnSpc>
                <a:defRPr/>
              </a:pPr>
              <a:r>
                <a:rPr lang="zh-CN" altLang="en-US" sz="1100" b="1" kern="0" dirty="0">
                  <a:solidFill>
                    <a:srgbClr val="000000"/>
                  </a:solidFill>
                  <a:ea typeface="宋体" charset="-122"/>
                </a:rPr>
                <a:t>工程建设与部署</a:t>
              </a:r>
              <a:endParaRPr lang="en-US" altLang="en-US" sz="1100" b="1" kern="0" dirty="0">
                <a:solidFill>
                  <a:srgbClr val="000000"/>
                </a:solidFill>
                <a:ea typeface="宋体" charset="-122"/>
              </a:endParaRPr>
            </a:p>
          </p:txBody>
        </p:sp>
        <p:sp>
          <p:nvSpPr>
            <p:cNvPr id="18" name="Rectangle 86">
              <a:extLst/>
            </p:cNvPr>
            <p:cNvSpPr/>
            <p:nvPr>
              <p:custDataLst>
                <p:tags r:id="rId9"/>
              </p:custDataLst>
            </p:nvPr>
          </p:nvSpPr>
          <p:spPr bwMode="auto">
            <a:xfrm>
              <a:off x="8672974" y="2114925"/>
              <a:ext cx="942214" cy="673099"/>
            </a:xfrm>
            <a:prstGeom prst="rect">
              <a:avLst/>
            </a:prstGeom>
            <a:solidFill>
              <a:srgbClr val="FFFFFF"/>
            </a:solidFill>
            <a:ln>
              <a:noFill/>
            </a:ln>
            <a:effectLst/>
            <a:extLst/>
          </p:spPr>
          <p:txBody>
            <a:bodyPr lIns="108000" tIns="54000" rIns="108000" bIns="54000" spcCol="72000" anchor="ctr">
              <a:normAutofit/>
            </a:bodyPr>
            <a:lstStyle/>
            <a:p>
              <a:pPr algn="ctr" fontAlgn="auto">
                <a:lnSpc>
                  <a:spcPct val="110000"/>
                </a:lnSpc>
                <a:spcAft>
                  <a:spcPts val="0"/>
                </a:spcAft>
                <a:buFont typeface="Wingdings" charset="0"/>
                <a:buNone/>
                <a:defRPr/>
              </a:pPr>
              <a:r>
                <a:rPr lang="zh-CN" altLang="en-US" sz="1100" b="1" kern="0" dirty="0">
                  <a:solidFill>
                    <a:srgbClr val="000000"/>
                  </a:solidFill>
                  <a:ea typeface="宋体" charset="-122"/>
                </a:rPr>
                <a:t>试运行</a:t>
              </a:r>
              <a:endParaRPr lang="en-US" altLang="en-US" sz="1100" b="1" kern="0" dirty="0">
                <a:solidFill>
                  <a:srgbClr val="000000"/>
                </a:solidFill>
                <a:ea typeface="宋体" charset="-122"/>
              </a:endParaRPr>
            </a:p>
          </p:txBody>
        </p:sp>
        <p:sp>
          <p:nvSpPr>
            <p:cNvPr id="19" name="Rectangle 86">
              <a:extLst/>
            </p:cNvPr>
            <p:cNvSpPr/>
            <p:nvPr>
              <p:custDataLst>
                <p:tags r:id="rId10"/>
              </p:custDataLst>
            </p:nvPr>
          </p:nvSpPr>
          <p:spPr bwMode="auto">
            <a:xfrm>
              <a:off x="9662447" y="2114925"/>
              <a:ext cx="824068" cy="673099"/>
            </a:xfrm>
            <a:prstGeom prst="rect">
              <a:avLst/>
            </a:prstGeom>
            <a:solidFill>
              <a:srgbClr val="FFFFFF"/>
            </a:solidFill>
            <a:ln>
              <a:noFill/>
            </a:ln>
            <a:effectLst/>
            <a:extLst/>
          </p:spPr>
          <p:txBody>
            <a:bodyPr lIns="108000" tIns="54000" rIns="108000" bIns="54000" spcCol="72000" anchor="ctr">
              <a:normAutofit/>
            </a:bodyPr>
            <a:lstStyle/>
            <a:p>
              <a:pPr algn="ctr">
                <a:lnSpc>
                  <a:spcPct val="110000"/>
                </a:lnSpc>
                <a:defRPr/>
              </a:pPr>
              <a:r>
                <a:rPr lang="zh-CN" altLang="en-US" sz="1100" b="1" kern="0" dirty="0">
                  <a:solidFill>
                    <a:srgbClr val="000000"/>
                  </a:solidFill>
                  <a:ea typeface="宋体" charset="-122"/>
                </a:rPr>
                <a:t>验收、维护、改进</a:t>
              </a:r>
              <a:endParaRPr lang="en-US" altLang="en-US" sz="1100" b="1" kern="0" dirty="0">
                <a:solidFill>
                  <a:srgbClr val="000000"/>
                </a:solidFill>
                <a:ea typeface="宋体" charset="-122"/>
              </a:endParaRPr>
            </a:p>
          </p:txBody>
        </p:sp>
        <p:grpSp>
          <p:nvGrpSpPr>
            <p:cNvPr id="101399" name="Group 4257"/>
            <p:cNvGrpSpPr>
              <a:grpSpLocks/>
            </p:cNvGrpSpPr>
            <p:nvPr/>
          </p:nvGrpSpPr>
          <p:grpSpPr bwMode="auto">
            <a:xfrm>
              <a:off x="6702368" y="3997328"/>
              <a:ext cx="491316" cy="509664"/>
              <a:chOff x="1010" y="2780"/>
              <a:chExt cx="562" cy="389"/>
            </a:xfrm>
          </p:grpSpPr>
          <p:grpSp>
            <p:nvGrpSpPr>
              <p:cNvPr id="101421" name="Group 4258"/>
              <p:cNvGrpSpPr>
                <a:grpSpLocks/>
              </p:cNvGrpSpPr>
              <p:nvPr/>
            </p:nvGrpSpPr>
            <p:grpSpPr bwMode="auto">
              <a:xfrm>
                <a:off x="1010" y="2784"/>
                <a:ext cx="562" cy="385"/>
                <a:chOff x="103" y="3269"/>
                <a:chExt cx="700" cy="480"/>
              </a:xfrm>
            </p:grpSpPr>
            <p:sp>
              <p:nvSpPr>
                <p:cNvPr id="58" name="Freeform 4259">
                  <a:extLst/>
                </p:cNvPr>
                <p:cNvSpPr>
                  <a:spLocks/>
                </p:cNvSpPr>
                <p:nvPr/>
              </p:nvSpPr>
              <p:spPr bwMode="auto">
                <a:xfrm>
                  <a:off x="125" y="3582"/>
                  <a:ext cx="678" cy="167"/>
                </a:xfrm>
                <a:custGeom>
                  <a:avLst/>
                  <a:gdLst>
                    <a:gd name="T0" fmla="*/ 678 w 678"/>
                    <a:gd name="T1" fmla="*/ 49 h 168"/>
                    <a:gd name="T2" fmla="*/ 480 w 678"/>
                    <a:gd name="T3" fmla="*/ 153 h 168"/>
                    <a:gd name="T4" fmla="*/ 398 w 678"/>
                    <a:gd name="T5" fmla="*/ 143 h 168"/>
                    <a:gd name="T6" fmla="*/ 274 w 678"/>
                    <a:gd name="T7" fmla="*/ 131 h 168"/>
                    <a:gd name="T8" fmla="*/ 189 w 678"/>
                    <a:gd name="T9" fmla="*/ 164 h 168"/>
                    <a:gd name="T10" fmla="*/ 134 w 678"/>
                    <a:gd name="T11" fmla="*/ 161 h 168"/>
                    <a:gd name="T12" fmla="*/ 104 w 678"/>
                    <a:gd name="T13" fmla="*/ 161 h 168"/>
                    <a:gd name="T14" fmla="*/ 114 w 678"/>
                    <a:gd name="T15" fmla="*/ 95 h 168"/>
                    <a:gd name="T16" fmla="*/ 0 w 678"/>
                    <a:gd name="T17" fmla="*/ 67 h 168"/>
                    <a:gd name="T18" fmla="*/ 258 w 678"/>
                    <a:gd name="T19" fmla="*/ 5 h 168"/>
                    <a:gd name="T20" fmla="*/ 464 w 678"/>
                    <a:gd name="T21" fmla="*/ 17 h 168"/>
                    <a:gd name="T22" fmla="*/ 678 w 678"/>
                    <a:gd name="T23" fmla="*/ 49 h 1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8"/>
                    <a:gd name="T37" fmla="*/ 0 h 168"/>
                    <a:gd name="T38" fmla="*/ 678 w 678"/>
                    <a:gd name="T39" fmla="*/ 168 h 16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8" h="168">
                      <a:moveTo>
                        <a:pt x="678" y="49"/>
                      </a:moveTo>
                      <a:lnTo>
                        <a:pt x="480" y="153"/>
                      </a:lnTo>
                      <a:lnTo>
                        <a:pt x="398" y="143"/>
                      </a:lnTo>
                      <a:lnTo>
                        <a:pt x="274" y="131"/>
                      </a:lnTo>
                      <a:cubicBezTo>
                        <a:pt x="310" y="159"/>
                        <a:pt x="211" y="163"/>
                        <a:pt x="189" y="164"/>
                      </a:cubicBezTo>
                      <a:cubicBezTo>
                        <a:pt x="170" y="168"/>
                        <a:pt x="153" y="164"/>
                        <a:pt x="134" y="161"/>
                      </a:cubicBezTo>
                      <a:cubicBezTo>
                        <a:pt x="127" y="157"/>
                        <a:pt x="111" y="163"/>
                        <a:pt x="104" y="161"/>
                      </a:cubicBezTo>
                      <a:cubicBezTo>
                        <a:pt x="95" y="150"/>
                        <a:pt x="94" y="129"/>
                        <a:pt x="114" y="95"/>
                      </a:cubicBezTo>
                      <a:cubicBezTo>
                        <a:pt x="94" y="79"/>
                        <a:pt x="42" y="69"/>
                        <a:pt x="0" y="67"/>
                      </a:cubicBezTo>
                      <a:cubicBezTo>
                        <a:pt x="14" y="55"/>
                        <a:pt x="181" y="13"/>
                        <a:pt x="258" y="5"/>
                      </a:cubicBezTo>
                      <a:cubicBezTo>
                        <a:pt x="360" y="23"/>
                        <a:pt x="361" y="0"/>
                        <a:pt x="464" y="17"/>
                      </a:cubicBezTo>
                      <a:cubicBezTo>
                        <a:pt x="517" y="27"/>
                        <a:pt x="678" y="49"/>
                        <a:pt x="678" y="49"/>
                      </a:cubicBezTo>
                      <a:close/>
                    </a:path>
                  </a:pathLst>
                </a:custGeom>
                <a:solidFill>
                  <a:srgbClr val="959595">
                    <a:alpha val="16862"/>
                  </a:srgbClr>
                </a:solidFill>
                <a:ln w="9525">
                  <a:noFill/>
                  <a:round/>
                  <a:headEnd/>
                  <a:tailEnd/>
                </a:ln>
              </p:spPr>
              <p:txBody>
                <a:bodyPr/>
                <a:lstStyle/>
                <a:p>
                  <a:pPr algn="ctr" fontAlgn="auto">
                    <a:spcBef>
                      <a:spcPts val="0"/>
                    </a:spcBef>
                    <a:spcAft>
                      <a:spcPts val="0"/>
                    </a:spcAft>
                    <a:defRPr/>
                  </a:pPr>
                  <a:endParaRPr lang="en-US" kern="0">
                    <a:solidFill>
                      <a:sysClr val="windowText" lastClr="000000"/>
                    </a:solidFill>
                    <a:ea typeface="宋体" charset="-122"/>
                  </a:endParaRPr>
                </a:p>
              </p:txBody>
            </p:sp>
            <p:sp>
              <p:nvSpPr>
                <p:cNvPr id="59" name="Freeform 4260">
                  <a:extLst/>
                </p:cNvPr>
                <p:cNvSpPr>
                  <a:spLocks/>
                </p:cNvSpPr>
                <p:nvPr/>
              </p:nvSpPr>
              <p:spPr bwMode="auto">
                <a:xfrm>
                  <a:off x="226" y="3505"/>
                  <a:ext cx="120" cy="146"/>
                </a:xfrm>
                <a:custGeom>
                  <a:avLst/>
                  <a:gdLst>
                    <a:gd name="T0" fmla="*/ 4 w 120"/>
                    <a:gd name="T1" fmla="*/ 146 h 146"/>
                    <a:gd name="T2" fmla="*/ 120 w 120"/>
                    <a:gd name="T3" fmla="*/ 90 h 146"/>
                    <a:gd name="T4" fmla="*/ 120 w 120"/>
                    <a:gd name="T5" fmla="*/ 16 h 146"/>
                    <a:gd name="T6" fmla="*/ 0 w 120"/>
                    <a:gd name="T7" fmla="*/ 0 h 146"/>
                    <a:gd name="T8" fmla="*/ 4 w 120"/>
                    <a:gd name="T9" fmla="*/ 146 h 146"/>
                    <a:gd name="T10" fmla="*/ 0 60000 65536"/>
                    <a:gd name="T11" fmla="*/ 0 60000 65536"/>
                    <a:gd name="T12" fmla="*/ 0 60000 65536"/>
                    <a:gd name="T13" fmla="*/ 0 60000 65536"/>
                    <a:gd name="T14" fmla="*/ 0 60000 65536"/>
                    <a:gd name="T15" fmla="*/ 0 w 120"/>
                    <a:gd name="T16" fmla="*/ 0 h 146"/>
                    <a:gd name="T17" fmla="*/ 120 w 120"/>
                    <a:gd name="T18" fmla="*/ 146 h 146"/>
                  </a:gdLst>
                  <a:ahLst/>
                  <a:cxnLst>
                    <a:cxn ang="T10">
                      <a:pos x="T0" y="T1"/>
                    </a:cxn>
                    <a:cxn ang="T11">
                      <a:pos x="T2" y="T3"/>
                    </a:cxn>
                    <a:cxn ang="T12">
                      <a:pos x="T4" y="T5"/>
                    </a:cxn>
                    <a:cxn ang="T13">
                      <a:pos x="T6" y="T7"/>
                    </a:cxn>
                    <a:cxn ang="T14">
                      <a:pos x="T8" y="T9"/>
                    </a:cxn>
                  </a:cxnLst>
                  <a:rect l="T15" t="T16" r="T17" b="T18"/>
                  <a:pathLst>
                    <a:path w="120" h="146">
                      <a:moveTo>
                        <a:pt x="4" y="146"/>
                      </a:moveTo>
                      <a:lnTo>
                        <a:pt x="120" y="90"/>
                      </a:lnTo>
                      <a:lnTo>
                        <a:pt x="120" y="16"/>
                      </a:lnTo>
                      <a:lnTo>
                        <a:pt x="0" y="0"/>
                      </a:lnTo>
                      <a:lnTo>
                        <a:pt x="4" y="146"/>
                      </a:lnTo>
                      <a:close/>
                    </a:path>
                  </a:pathLst>
                </a:custGeom>
                <a:solidFill>
                  <a:srgbClr val="938B83"/>
                </a:solidFill>
                <a:ln w="12700">
                  <a:no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60" name="Freeform 4261">
                  <a:extLst/>
                </p:cNvPr>
                <p:cNvSpPr>
                  <a:spLocks/>
                </p:cNvSpPr>
                <p:nvPr/>
              </p:nvSpPr>
              <p:spPr bwMode="auto">
                <a:xfrm flipH="1">
                  <a:off x="529" y="3457"/>
                  <a:ext cx="126" cy="278"/>
                </a:xfrm>
                <a:custGeom>
                  <a:avLst/>
                  <a:gdLst>
                    <a:gd name="T0" fmla="*/ 0 w 216"/>
                    <a:gd name="T1" fmla="*/ 0 h 468"/>
                    <a:gd name="T2" fmla="*/ 1 w 216"/>
                    <a:gd name="T3" fmla="*/ 1 h 468"/>
                    <a:gd name="T4" fmla="*/ 1 w 216"/>
                    <a:gd name="T5" fmla="*/ 1 h 468"/>
                    <a:gd name="T6" fmla="*/ 1 w 216"/>
                    <a:gd name="T7" fmla="*/ 1 h 468"/>
                    <a:gd name="T8" fmla="*/ 1 w 216"/>
                    <a:gd name="T9" fmla="*/ 1 h 468"/>
                    <a:gd name="T10" fmla="*/ 1 w 216"/>
                    <a:gd name="T11" fmla="*/ 1 h 468"/>
                    <a:gd name="T12" fmla="*/ 1 w 216"/>
                    <a:gd name="T13" fmla="*/ 1 h 468"/>
                    <a:gd name="T14" fmla="*/ 1 w 216"/>
                    <a:gd name="T15" fmla="*/ 1 h 468"/>
                    <a:gd name="T16" fmla="*/ 0 w 216"/>
                    <a:gd name="T17" fmla="*/ 0 h 4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6"/>
                    <a:gd name="T28" fmla="*/ 0 h 468"/>
                    <a:gd name="T29" fmla="*/ 216 w 216"/>
                    <a:gd name="T30" fmla="*/ 468 h 46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6" h="468">
                      <a:moveTo>
                        <a:pt x="0" y="0"/>
                      </a:moveTo>
                      <a:lnTo>
                        <a:pt x="212" y="100"/>
                      </a:lnTo>
                      <a:lnTo>
                        <a:pt x="216" y="468"/>
                      </a:lnTo>
                      <a:lnTo>
                        <a:pt x="198" y="454"/>
                      </a:lnTo>
                      <a:lnTo>
                        <a:pt x="196" y="402"/>
                      </a:lnTo>
                      <a:lnTo>
                        <a:pt x="22" y="298"/>
                      </a:lnTo>
                      <a:lnTo>
                        <a:pt x="20" y="350"/>
                      </a:lnTo>
                      <a:lnTo>
                        <a:pt x="4" y="340"/>
                      </a:lnTo>
                      <a:lnTo>
                        <a:pt x="0" y="0"/>
                      </a:lnTo>
                      <a:close/>
                    </a:path>
                  </a:pathLst>
                </a:custGeom>
                <a:solidFill>
                  <a:srgbClr val="C8C7C4"/>
                </a:solidFill>
                <a:ln w="9525">
                  <a:noFill/>
                  <a:round/>
                  <a:headEnd/>
                  <a:tailEnd/>
                </a:ln>
              </p:spPr>
              <p:txBody>
                <a:bodyPr/>
                <a:lstStyle/>
                <a:p>
                  <a:pPr algn="ctr" fontAlgn="auto">
                    <a:spcBef>
                      <a:spcPts val="0"/>
                    </a:spcBef>
                    <a:spcAft>
                      <a:spcPts val="0"/>
                    </a:spcAft>
                    <a:defRPr/>
                  </a:pPr>
                  <a:endParaRPr lang="en-US" kern="0">
                    <a:solidFill>
                      <a:sysClr val="windowText" lastClr="000000"/>
                    </a:solidFill>
                    <a:ea typeface="宋体" charset="-122"/>
                  </a:endParaRPr>
                </a:p>
              </p:txBody>
            </p:sp>
            <p:sp>
              <p:nvSpPr>
                <p:cNvPr id="61" name="Freeform 4262">
                  <a:extLst/>
                </p:cNvPr>
                <p:cNvSpPr>
                  <a:spLocks/>
                </p:cNvSpPr>
                <p:nvPr/>
              </p:nvSpPr>
              <p:spPr bwMode="auto">
                <a:xfrm flipH="1">
                  <a:off x="104" y="3390"/>
                  <a:ext cx="572" cy="118"/>
                </a:xfrm>
                <a:custGeom>
                  <a:avLst/>
                  <a:gdLst>
                    <a:gd name="T0" fmla="*/ 62 w 659"/>
                    <a:gd name="T1" fmla="*/ 0 h 133"/>
                    <a:gd name="T2" fmla="*/ 89 w 659"/>
                    <a:gd name="T3" fmla="*/ 12 h 133"/>
                    <a:gd name="T4" fmla="*/ 23 w 659"/>
                    <a:gd name="T5" fmla="*/ 25 h 133"/>
                    <a:gd name="T6" fmla="*/ 0 w 659"/>
                    <a:gd name="T7" fmla="*/ 11 h 133"/>
                    <a:gd name="T8" fmla="*/ 62 w 659"/>
                    <a:gd name="T9" fmla="*/ 0 h 133"/>
                    <a:gd name="T10" fmla="*/ 0 60000 65536"/>
                    <a:gd name="T11" fmla="*/ 0 60000 65536"/>
                    <a:gd name="T12" fmla="*/ 0 60000 65536"/>
                    <a:gd name="T13" fmla="*/ 0 60000 65536"/>
                    <a:gd name="T14" fmla="*/ 0 60000 65536"/>
                    <a:gd name="T15" fmla="*/ 0 w 659"/>
                    <a:gd name="T16" fmla="*/ 0 h 133"/>
                    <a:gd name="T17" fmla="*/ 659 w 659"/>
                    <a:gd name="T18" fmla="*/ 133 h 133"/>
                  </a:gdLst>
                  <a:ahLst/>
                  <a:cxnLst>
                    <a:cxn ang="T10">
                      <a:pos x="T0" y="T1"/>
                    </a:cxn>
                    <a:cxn ang="T11">
                      <a:pos x="T2" y="T3"/>
                    </a:cxn>
                    <a:cxn ang="T12">
                      <a:pos x="T4" y="T5"/>
                    </a:cxn>
                    <a:cxn ang="T13">
                      <a:pos x="T6" y="T7"/>
                    </a:cxn>
                    <a:cxn ang="T14">
                      <a:pos x="T8" y="T9"/>
                    </a:cxn>
                  </a:cxnLst>
                  <a:rect l="T15" t="T16" r="T17" b="T18"/>
                  <a:pathLst>
                    <a:path w="659" h="133">
                      <a:moveTo>
                        <a:pt x="465" y="0"/>
                      </a:moveTo>
                      <a:lnTo>
                        <a:pt x="659" y="64"/>
                      </a:lnTo>
                      <a:lnTo>
                        <a:pt x="168" y="133"/>
                      </a:lnTo>
                      <a:lnTo>
                        <a:pt x="0" y="55"/>
                      </a:lnTo>
                      <a:lnTo>
                        <a:pt x="465" y="0"/>
                      </a:lnTo>
                      <a:close/>
                    </a:path>
                  </a:pathLst>
                </a:custGeom>
                <a:solidFill>
                  <a:srgbClr val="CAAF8C"/>
                </a:solidFill>
                <a:ln w="9525">
                  <a:noFill/>
                  <a:round/>
                  <a:headEnd/>
                  <a:tailEnd/>
                </a:ln>
              </p:spPr>
              <p:txBody>
                <a:bodyPr/>
                <a:lstStyle/>
                <a:p>
                  <a:pPr algn="ctr" fontAlgn="auto">
                    <a:spcBef>
                      <a:spcPts val="0"/>
                    </a:spcBef>
                    <a:spcAft>
                      <a:spcPts val="0"/>
                    </a:spcAft>
                    <a:defRPr/>
                  </a:pPr>
                  <a:endParaRPr lang="en-US" kern="0">
                    <a:solidFill>
                      <a:sysClr val="windowText" lastClr="000000"/>
                    </a:solidFill>
                    <a:ea typeface="宋体" charset="-122"/>
                  </a:endParaRPr>
                </a:p>
              </p:txBody>
            </p:sp>
            <p:sp>
              <p:nvSpPr>
                <p:cNvPr id="62" name="Freeform 4263">
                  <a:extLst/>
                </p:cNvPr>
                <p:cNvSpPr>
                  <a:spLocks/>
                </p:cNvSpPr>
                <p:nvPr/>
              </p:nvSpPr>
              <p:spPr bwMode="auto">
                <a:xfrm flipH="1">
                  <a:off x="116" y="3457"/>
                  <a:ext cx="417" cy="275"/>
                </a:xfrm>
                <a:custGeom>
                  <a:avLst/>
                  <a:gdLst>
                    <a:gd name="T0" fmla="*/ 3 w 478"/>
                    <a:gd name="T1" fmla="*/ 54 h 313"/>
                    <a:gd name="T2" fmla="*/ 3 w 478"/>
                    <a:gd name="T3" fmla="*/ 54 h 313"/>
                    <a:gd name="T4" fmla="*/ 3 w 478"/>
                    <a:gd name="T5" fmla="*/ 18 h 313"/>
                    <a:gd name="T6" fmla="*/ 48 w 478"/>
                    <a:gd name="T7" fmla="*/ 10 h 313"/>
                    <a:gd name="T8" fmla="*/ 48 w 478"/>
                    <a:gd name="T9" fmla="*/ 43 h 313"/>
                    <a:gd name="T10" fmla="*/ 50 w 478"/>
                    <a:gd name="T11" fmla="*/ 42 h 313"/>
                    <a:gd name="T12" fmla="*/ 50 w 478"/>
                    <a:gd name="T13" fmla="*/ 38 h 313"/>
                    <a:gd name="T14" fmla="*/ 63 w 478"/>
                    <a:gd name="T15" fmla="*/ 34 h 313"/>
                    <a:gd name="T16" fmla="*/ 63 w 478"/>
                    <a:gd name="T17" fmla="*/ 38 h 313"/>
                    <a:gd name="T18" fmla="*/ 66 w 478"/>
                    <a:gd name="T19" fmla="*/ 38 h 313"/>
                    <a:gd name="T20" fmla="*/ 67 w 478"/>
                    <a:gd name="T21" fmla="*/ 0 h 313"/>
                    <a:gd name="T22" fmla="*/ 0 w 478"/>
                    <a:gd name="T23" fmla="*/ 11 h 313"/>
                    <a:gd name="T24" fmla="*/ 3 w 478"/>
                    <a:gd name="T25" fmla="*/ 54 h 3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78"/>
                    <a:gd name="T40" fmla="*/ 0 h 313"/>
                    <a:gd name="T41" fmla="*/ 478 w 478"/>
                    <a:gd name="T42" fmla="*/ 313 h 3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78" h="313">
                      <a:moveTo>
                        <a:pt x="4" y="313"/>
                      </a:moveTo>
                      <a:lnTo>
                        <a:pt x="19" y="310"/>
                      </a:lnTo>
                      <a:lnTo>
                        <a:pt x="22" y="102"/>
                      </a:lnTo>
                      <a:lnTo>
                        <a:pt x="346" y="57"/>
                      </a:lnTo>
                      <a:lnTo>
                        <a:pt x="346" y="250"/>
                      </a:lnTo>
                      <a:lnTo>
                        <a:pt x="361" y="246"/>
                      </a:lnTo>
                      <a:lnTo>
                        <a:pt x="361" y="221"/>
                      </a:lnTo>
                      <a:lnTo>
                        <a:pt x="459" y="201"/>
                      </a:lnTo>
                      <a:lnTo>
                        <a:pt x="462" y="223"/>
                      </a:lnTo>
                      <a:lnTo>
                        <a:pt x="474" y="221"/>
                      </a:lnTo>
                      <a:lnTo>
                        <a:pt x="478" y="0"/>
                      </a:lnTo>
                      <a:lnTo>
                        <a:pt x="0" y="67"/>
                      </a:lnTo>
                      <a:lnTo>
                        <a:pt x="4" y="313"/>
                      </a:lnTo>
                      <a:close/>
                    </a:path>
                  </a:pathLst>
                </a:custGeom>
                <a:solidFill>
                  <a:srgbClr val="AEACA8"/>
                </a:solidFill>
                <a:ln w="9525">
                  <a:noFill/>
                  <a:round/>
                  <a:headEnd/>
                  <a:tailEnd/>
                </a:ln>
              </p:spPr>
              <p:txBody>
                <a:bodyPr/>
                <a:lstStyle/>
                <a:p>
                  <a:pPr algn="ctr" fontAlgn="auto">
                    <a:spcBef>
                      <a:spcPts val="0"/>
                    </a:spcBef>
                    <a:spcAft>
                      <a:spcPts val="0"/>
                    </a:spcAft>
                    <a:defRPr/>
                  </a:pPr>
                  <a:endParaRPr lang="en-US" kern="0">
                    <a:solidFill>
                      <a:sysClr val="windowText" lastClr="000000"/>
                    </a:solidFill>
                    <a:ea typeface="宋体" charset="-122"/>
                  </a:endParaRPr>
                </a:p>
              </p:txBody>
            </p:sp>
            <p:sp>
              <p:nvSpPr>
                <p:cNvPr id="63" name="Freeform 4264">
                  <a:extLst/>
                </p:cNvPr>
                <p:cNvSpPr>
                  <a:spLocks/>
                </p:cNvSpPr>
                <p:nvPr/>
              </p:nvSpPr>
              <p:spPr bwMode="auto">
                <a:xfrm flipH="1">
                  <a:off x="531" y="3439"/>
                  <a:ext cx="145" cy="81"/>
                </a:xfrm>
                <a:custGeom>
                  <a:avLst/>
                  <a:gdLst>
                    <a:gd name="T0" fmla="*/ 1 w 248"/>
                    <a:gd name="T1" fmla="*/ 1 h 142"/>
                    <a:gd name="T2" fmla="*/ 1 w 248"/>
                    <a:gd name="T3" fmla="*/ 1 h 142"/>
                    <a:gd name="T4" fmla="*/ 1 w 248"/>
                    <a:gd name="T5" fmla="*/ 1 h 142"/>
                    <a:gd name="T6" fmla="*/ 0 w 248"/>
                    <a:gd name="T7" fmla="*/ 0 h 142"/>
                    <a:gd name="T8" fmla="*/ 1 w 248"/>
                    <a:gd name="T9" fmla="*/ 1 h 142"/>
                    <a:gd name="T10" fmla="*/ 0 60000 65536"/>
                    <a:gd name="T11" fmla="*/ 0 60000 65536"/>
                    <a:gd name="T12" fmla="*/ 0 60000 65536"/>
                    <a:gd name="T13" fmla="*/ 0 60000 65536"/>
                    <a:gd name="T14" fmla="*/ 0 60000 65536"/>
                    <a:gd name="T15" fmla="*/ 0 w 248"/>
                    <a:gd name="T16" fmla="*/ 0 h 142"/>
                    <a:gd name="T17" fmla="*/ 248 w 248"/>
                    <a:gd name="T18" fmla="*/ 142 h 142"/>
                  </a:gdLst>
                  <a:ahLst/>
                  <a:cxnLst>
                    <a:cxn ang="T10">
                      <a:pos x="T0" y="T1"/>
                    </a:cxn>
                    <a:cxn ang="T11">
                      <a:pos x="T2" y="T3"/>
                    </a:cxn>
                    <a:cxn ang="T12">
                      <a:pos x="T4" y="T5"/>
                    </a:cxn>
                    <a:cxn ang="T13">
                      <a:pos x="T6" y="T7"/>
                    </a:cxn>
                    <a:cxn ang="T14">
                      <a:pos x="T8" y="T9"/>
                    </a:cxn>
                  </a:cxnLst>
                  <a:rect l="T15" t="T16" r="T17" b="T18"/>
                  <a:pathLst>
                    <a:path w="248" h="142">
                      <a:moveTo>
                        <a:pt x="2" y="26"/>
                      </a:moveTo>
                      <a:lnTo>
                        <a:pt x="248" y="142"/>
                      </a:lnTo>
                      <a:lnTo>
                        <a:pt x="248" y="116"/>
                      </a:lnTo>
                      <a:lnTo>
                        <a:pt x="0" y="0"/>
                      </a:lnTo>
                      <a:lnTo>
                        <a:pt x="2" y="26"/>
                      </a:lnTo>
                      <a:close/>
                    </a:path>
                  </a:pathLst>
                </a:custGeom>
                <a:solidFill>
                  <a:srgbClr val="9E7A4A"/>
                </a:solidFill>
                <a:ln w="9525">
                  <a:noFill/>
                  <a:round/>
                  <a:headEnd/>
                  <a:tailEnd/>
                </a:ln>
              </p:spPr>
              <p:txBody>
                <a:bodyPr/>
                <a:lstStyle/>
                <a:p>
                  <a:pPr algn="ctr" fontAlgn="auto">
                    <a:spcBef>
                      <a:spcPts val="0"/>
                    </a:spcBef>
                    <a:spcAft>
                      <a:spcPts val="0"/>
                    </a:spcAft>
                    <a:defRPr/>
                  </a:pPr>
                  <a:endParaRPr lang="en-US" kern="0">
                    <a:solidFill>
                      <a:sysClr val="windowText" lastClr="000000"/>
                    </a:solidFill>
                    <a:ea typeface="宋体" charset="-122"/>
                  </a:endParaRPr>
                </a:p>
              </p:txBody>
            </p:sp>
            <p:sp>
              <p:nvSpPr>
                <p:cNvPr id="64" name="Freeform 4265">
                  <a:extLst/>
                </p:cNvPr>
                <p:cNvSpPr>
                  <a:spLocks/>
                </p:cNvSpPr>
                <p:nvPr/>
              </p:nvSpPr>
              <p:spPr bwMode="auto">
                <a:xfrm flipH="1">
                  <a:off x="104" y="3447"/>
                  <a:ext cx="431" cy="73"/>
                </a:xfrm>
                <a:custGeom>
                  <a:avLst/>
                  <a:gdLst>
                    <a:gd name="T0" fmla="*/ 1 w 496"/>
                    <a:gd name="T1" fmla="*/ 12 h 84"/>
                    <a:gd name="T2" fmla="*/ 65 w 496"/>
                    <a:gd name="T3" fmla="*/ 0 h 84"/>
                    <a:gd name="T4" fmla="*/ 64 w 496"/>
                    <a:gd name="T5" fmla="*/ 4 h 84"/>
                    <a:gd name="T6" fmla="*/ 0 w 496"/>
                    <a:gd name="T7" fmla="*/ 14 h 84"/>
                    <a:gd name="T8" fmla="*/ 0 w 496"/>
                    <a:gd name="T9" fmla="*/ 11 h 84"/>
                    <a:gd name="T10" fmla="*/ 1 w 496"/>
                    <a:gd name="T11" fmla="*/ 12 h 84"/>
                    <a:gd name="T12" fmla="*/ 0 60000 65536"/>
                    <a:gd name="T13" fmla="*/ 0 60000 65536"/>
                    <a:gd name="T14" fmla="*/ 0 60000 65536"/>
                    <a:gd name="T15" fmla="*/ 0 60000 65536"/>
                    <a:gd name="T16" fmla="*/ 0 60000 65536"/>
                    <a:gd name="T17" fmla="*/ 0 60000 65536"/>
                    <a:gd name="T18" fmla="*/ 0 w 496"/>
                    <a:gd name="T19" fmla="*/ 0 h 84"/>
                    <a:gd name="T20" fmla="*/ 496 w 496"/>
                    <a:gd name="T21" fmla="*/ 84 h 84"/>
                  </a:gdLst>
                  <a:ahLst/>
                  <a:cxnLst>
                    <a:cxn ang="T12">
                      <a:pos x="T0" y="T1"/>
                    </a:cxn>
                    <a:cxn ang="T13">
                      <a:pos x="T2" y="T3"/>
                    </a:cxn>
                    <a:cxn ang="T14">
                      <a:pos x="T4" y="T5"/>
                    </a:cxn>
                    <a:cxn ang="T15">
                      <a:pos x="T6" y="T7"/>
                    </a:cxn>
                    <a:cxn ang="T16">
                      <a:pos x="T8" y="T9"/>
                    </a:cxn>
                    <a:cxn ang="T17">
                      <a:pos x="T10" y="T11"/>
                    </a:cxn>
                  </a:cxnLst>
                  <a:rect l="T18" t="T19" r="T20" b="T21"/>
                  <a:pathLst>
                    <a:path w="496" h="84">
                      <a:moveTo>
                        <a:pt x="1" y="69"/>
                      </a:moveTo>
                      <a:lnTo>
                        <a:pt x="496" y="0"/>
                      </a:lnTo>
                      <a:lnTo>
                        <a:pt x="494" y="13"/>
                      </a:lnTo>
                      <a:lnTo>
                        <a:pt x="0" y="84"/>
                      </a:lnTo>
                      <a:cubicBezTo>
                        <a:pt x="0" y="79"/>
                        <a:pt x="0" y="70"/>
                        <a:pt x="0" y="68"/>
                      </a:cubicBezTo>
                      <a:lnTo>
                        <a:pt x="1" y="69"/>
                      </a:lnTo>
                      <a:close/>
                    </a:path>
                  </a:pathLst>
                </a:custGeom>
                <a:solidFill>
                  <a:srgbClr val="9E7A4A"/>
                </a:solidFill>
                <a:ln w="9525">
                  <a:noFill/>
                  <a:round/>
                  <a:headEnd/>
                  <a:tailEnd/>
                </a:ln>
              </p:spPr>
              <p:txBody>
                <a:bodyPr/>
                <a:lstStyle/>
                <a:p>
                  <a:pPr algn="ctr" fontAlgn="auto">
                    <a:spcBef>
                      <a:spcPts val="0"/>
                    </a:spcBef>
                    <a:spcAft>
                      <a:spcPts val="0"/>
                    </a:spcAft>
                    <a:defRPr/>
                  </a:pPr>
                  <a:endParaRPr lang="en-US" kern="0">
                    <a:solidFill>
                      <a:sysClr val="windowText" lastClr="000000"/>
                    </a:solidFill>
                    <a:ea typeface="宋体" charset="-122"/>
                  </a:endParaRPr>
                </a:p>
              </p:txBody>
            </p:sp>
            <p:sp>
              <p:nvSpPr>
                <p:cNvPr id="65" name="Freeform 4266">
                  <a:extLst/>
                </p:cNvPr>
                <p:cNvSpPr>
                  <a:spLocks/>
                </p:cNvSpPr>
                <p:nvPr/>
              </p:nvSpPr>
              <p:spPr bwMode="auto">
                <a:xfrm flipH="1">
                  <a:off x="390" y="3269"/>
                  <a:ext cx="160" cy="190"/>
                </a:xfrm>
                <a:custGeom>
                  <a:avLst/>
                  <a:gdLst>
                    <a:gd name="T0" fmla="*/ 1 w 282"/>
                    <a:gd name="T1" fmla="*/ 1 h 323"/>
                    <a:gd name="T2" fmla="*/ 0 w 282"/>
                    <a:gd name="T3" fmla="*/ 1 h 323"/>
                    <a:gd name="T4" fmla="*/ 1 w 282"/>
                    <a:gd name="T5" fmla="*/ 1 h 323"/>
                    <a:gd name="T6" fmla="*/ 1 w 282"/>
                    <a:gd name="T7" fmla="*/ 1 h 323"/>
                    <a:gd name="T8" fmla="*/ 1 w 282"/>
                    <a:gd name="T9" fmla="*/ 1 h 323"/>
                    <a:gd name="T10" fmla="*/ 1 w 282"/>
                    <a:gd name="T11" fmla="*/ 1 h 323"/>
                    <a:gd name="T12" fmla="*/ 1 w 282"/>
                    <a:gd name="T13" fmla="*/ 1 h 323"/>
                    <a:gd name="T14" fmla="*/ 1 w 282"/>
                    <a:gd name="T15" fmla="*/ 1 h 323"/>
                    <a:gd name="T16" fmla="*/ 1 w 282"/>
                    <a:gd name="T17" fmla="*/ 1 h 323"/>
                    <a:gd name="T18" fmla="*/ 1 w 282"/>
                    <a:gd name="T19" fmla="*/ 1 h 323"/>
                    <a:gd name="T20" fmla="*/ 1 w 282"/>
                    <a:gd name="T21" fmla="*/ 1 h 323"/>
                    <a:gd name="T22" fmla="*/ 1 w 282"/>
                    <a:gd name="T23" fmla="*/ 1 h 323"/>
                    <a:gd name="T24" fmla="*/ 1 w 282"/>
                    <a:gd name="T25" fmla="*/ 1 h 323"/>
                    <a:gd name="T26" fmla="*/ 1 w 282"/>
                    <a:gd name="T27" fmla="*/ 1 h 32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2"/>
                    <a:gd name="T43" fmla="*/ 0 h 323"/>
                    <a:gd name="T44" fmla="*/ 282 w 282"/>
                    <a:gd name="T45" fmla="*/ 323 h 32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2" h="323">
                      <a:moveTo>
                        <a:pt x="32" y="19"/>
                      </a:moveTo>
                      <a:cubicBezTo>
                        <a:pt x="1" y="22"/>
                        <a:pt x="4" y="43"/>
                        <a:pt x="0" y="81"/>
                      </a:cubicBezTo>
                      <a:cubicBezTo>
                        <a:pt x="4" y="139"/>
                        <a:pt x="4" y="190"/>
                        <a:pt x="16" y="217"/>
                      </a:cubicBezTo>
                      <a:cubicBezTo>
                        <a:pt x="28" y="244"/>
                        <a:pt x="69" y="234"/>
                        <a:pt x="72" y="241"/>
                      </a:cubicBezTo>
                      <a:cubicBezTo>
                        <a:pt x="58" y="251"/>
                        <a:pt x="51" y="247"/>
                        <a:pt x="36" y="257"/>
                      </a:cubicBezTo>
                      <a:cubicBezTo>
                        <a:pt x="34" y="263"/>
                        <a:pt x="18" y="281"/>
                        <a:pt x="46" y="301"/>
                      </a:cubicBezTo>
                      <a:cubicBezTo>
                        <a:pt x="76" y="304"/>
                        <a:pt x="192" y="323"/>
                        <a:pt x="214" y="273"/>
                      </a:cubicBezTo>
                      <a:cubicBezTo>
                        <a:pt x="211" y="252"/>
                        <a:pt x="207" y="248"/>
                        <a:pt x="186" y="245"/>
                      </a:cubicBezTo>
                      <a:cubicBezTo>
                        <a:pt x="198" y="242"/>
                        <a:pt x="207" y="237"/>
                        <a:pt x="218" y="233"/>
                      </a:cubicBezTo>
                      <a:cubicBezTo>
                        <a:pt x="230" y="227"/>
                        <a:pt x="249" y="219"/>
                        <a:pt x="266" y="215"/>
                      </a:cubicBezTo>
                      <a:cubicBezTo>
                        <a:pt x="270" y="202"/>
                        <a:pt x="266" y="203"/>
                        <a:pt x="272" y="203"/>
                      </a:cubicBezTo>
                      <a:cubicBezTo>
                        <a:pt x="266" y="181"/>
                        <a:pt x="282" y="62"/>
                        <a:pt x="268" y="31"/>
                      </a:cubicBezTo>
                      <a:cubicBezTo>
                        <a:pt x="254" y="0"/>
                        <a:pt x="227" y="19"/>
                        <a:pt x="188" y="17"/>
                      </a:cubicBezTo>
                      <a:lnTo>
                        <a:pt x="32" y="19"/>
                      </a:lnTo>
                      <a:close/>
                    </a:path>
                  </a:pathLst>
                </a:custGeom>
                <a:solidFill>
                  <a:srgbClr val="C0504D"/>
                </a:solidFill>
                <a:ln w="9525">
                  <a:noFill/>
                  <a:round/>
                  <a:headEnd/>
                  <a:tailEnd/>
                </a:ln>
              </p:spPr>
              <p:txBody>
                <a:bodyPr/>
                <a:lstStyle/>
                <a:p>
                  <a:pPr algn="ctr" fontAlgn="auto">
                    <a:spcBef>
                      <a:spcPts val="0"/>
                    </a:spcBef>
                    <a:spcAft>
                      <a:spcPts val="0"/>
                    </a:spcAft>
                    <a:defRPr/>
                  </a:pPr>
                  <a:endParaRPr lang="en-US" kern="0">
                    <a:solidFill>
                      <a:sysClr val="windowText" lastClr="000000"/>
                    </a:solidFill>
                    <a:ea typeface="宋体" charset="-122"/>
                  </a:endParaRPr>
                </a:p>
              </p:txBody>
            </p:sp>
            <p:sp>
              <p:nvSpPr>
                <p:cNvPr id="66" name="Freeform 4267">
                  <a:extLst/>
                </p:cNvPr>
                <p:cNvSpPr>
                  <a:spLocks/>
                </p:cNvSpPr>
                <p:nvPr/>
              </p:nvSpPr>
              <p:spPr bwMode="auto">
                <a:xfrm flipH="1">
                  <a:off x="398" y="3285"/>
                  <a:ext cx="137" cy="114"/>
                </a:xfrm>
                <a:custGeom>
                  <a:avLst/>
                  <a:gdLst>
                    <a:gd name="T0" fmla="*/ 1 w 234"/>
                    <a:gd name="T1" fmla="*/ 1 h 192"/>
                    <a:gd name="T2" fmla="*/ 1 w 234"/>
                    <a:gd name="T3" fmla="*/ 1 h 192"/>
                    <a:gd name="T4" fmla="*/ 1 w 234"/>
                    <a:gd name="T5" fmla="*/ 1 h 192"/>
                    <a:gd name="T6" fmla="*/ 1 w 234"/>
                    <a:gd name="T7" fmla="*/ 1 h 192"/>
                    <a:gd name="T8" fmla="*/ 1 w 234"/>
                    <a:gd name="T9" fmla="*/ 1 h 192"/>
                    <a:gd name="T10" fmla="*/ 1 w 234"/>
                    <a:gd name="T11" fmla="*/ 1 h 192"/>
                    <a:gd name="T12" fmla="*/ 0 60000 65536"/>
                    <a:gd name="T13" fmla="*/ 0 60000 65536"/>
                    <a:gd name="T14" fmla="*/ 0 60000 65536"/>
                    <a:gd name="T15" fmla="*/ 0 60000 65536"/>
                    <a:gd name="T16" fmla="*/ 0 60000 65536"/>
                    <a:gd name="T17" fmla="*/ 0 60000 65536"/>
                    <a:gd name="T18" fmla="*/ 0 w 234"/>
                    <a:gd name="T19" fmla="*/ 0 h 192"/>
                    <a:gd name="T20" fmla="*/ 234 w 234"/>
                    <a:gd name="T21" fmla="*/ 192 h 192"/>
                  </a:gdLst>
                  <a:ahLst/>
                  <a:cxnLst>
                    <a:cxn ang="T12">
                      <a:pos x="T0" y="T1"/>
                    </a:cxn>
                    <a:cxn ang="T13">
                      <a:pos x="T2" y="T3"/>
                    </a:cxn>
                    <a:cxn ang="T14">
                      <a:pos x="T4" y="T5"/>
                    </a:cxn>
                    <a:cxn ang="T15">
                      <a:pos x="T6" y="T7"/>
                    </a:cxn>
                    <a:cxn ang="T16">
                      <a:pos x="T8" y="T9"/>
                    </a:cxn>
                    <a:cxn ang="T17">
                      <a:pos x="T10" y="T11"/>
                    </a:cxn>
                  </a:cxnLst>
                  <a:rect l="T18" t="T19" r="T20" b="T21"/>
                  <a:pathLst>
                    <a:path w="234" h="192">
                      <a:moveTo>
                        <a:pt x="8" y="14"/>
                      </a:moveTo>
                      <a:cubicBezTo>
                        <a:pt x="4" y="36"/>
                        <a:pt x="0" y="164"/>
                        <a:pt x="20" y="192"/>
                      </a:cubicBezTo>
                      <a:lnTo>
                        <a:pt x="134" y="186"/>
                      </a:lnTo>
                      <a:lnTo>
                        <a:pt x="230" y="174"/>
                      </a:lnTo>
                      <a:cubicBezTo>
                        <a:pt x="232" y="71"/>
                        <a:pt x="234" y="60"/>
                        <a:pt x="232" y="10"/>
                      </a:cubicBezTo>
                      <a:cubicBezTo>
                        <a:pt x="228" y="0"/>
                        <a:pt x="14" y="8"/>
                        <a:pt x="8" y="14"/>
                      </a:cubicBezTo>
                      <a:close/>
                    </a:path>
                  </a:pathLst>
                </a:custGeom>
                <a:gradFill rotWithShape="1">
                  <a:gsLst>
                    <a:gs pos="0">
                      <a:srgbClr val="9ADBEA"/>
                    </a:gs>
                    <a:gs pos="100000">
                      <a:srgbClr val="9BD197"/>
                    </a:gs>
                  </a:gsLst>
                  <a:lin ang="5400000" scaled="1"/>
                </a:gradFill>
                <a:ln w="9525">
                  <a:noFill/>
                  <a:round/>
                  <a:headEnd/>
                  <a:tailEnd/>
                </a:ln>
              </p:spPr>
              <p:txBody>
                <a:bodyPr/>
                <a:lstStyle/>
                <a:p>
                  <a:pPr algn="ctr" fontAlgn="auto">
                    <a:spcBef>
                      <a:spcPts val="0"/>
                    </a:spcBef>
                    <a:spcAft>
                      <a:spcPts val="0"/>
                    </a:spcAft>
                    <a:defRPr/>
                  </a:pPr>
                  <a:endParaRPr lang="en-US" kern="0">
                    <a:solidFill>
                      <a:sysClr val="windowText" lastClr="000000"/>
                    </a:solidFill>
                    <a:ea typeface="宋体" charset="-122"/>
                  </a:endParaRPr>
                </a:p>
              </p:txBody>
            </p:sp>
            <p:sp>
              <p:nvSpPr>
                <p:cNvPr id="67" name="Freeform 4268">
                  <a:extLst/>
                </p:cNvPr>
                <p:cNvSpPr>
                  <a:spLocks/>
                </p:cNvSpPr>
                <p:nvPr/>
              </p:nvSpPr>
              <p:spPr bwMode="auto">
                <a:xfrm flipH="1">
                  <a:off x="453" y="3409"/>
                  <a:ext cx="19" cy="12"/>
                </a:xfrm>
                <a:custGeom>
                  <a:avLst/>
                  <a:gdLst>
                    <a:gd name="T0" fmla="*/ 1 w 30"/>
                    <a:gd name="T1" fmla="*/ 1 h 20"/>
                    <a:gd name="T2" fmla="*/ 1 w 30"/>
                    <a:gd name="T3" fmla="*/ 1 h 20"/>
                    <a:gd name="T4" fmla="*/ 1 w 30"/>
                    <a:gd name="T5" fmla="*/ 1 h 20"/>
                    <a:gd name="T6" fmla="*/ 0 60000 65536"/>
                    <a:gd name="T7" fmla="*/ 0 60000 65536"/>
                    <a:gd name="T8" fmla="*/ 0 60000 65536"/>
                    <a:gd name="T9" fmla="*/ 0 w 30"/>
                    <a:gd name="T10" fmla="*/ 0 h 20"/>
                    <a:gd name="T11" fmla="*/ 30 w 30"/>
                    <a:gd name="T12" fmla="*/ 20 h 20"/>
                  </a:gdLst>
                  <a:ahLst/>
                  <a:cxnLst>
                    <a:cxn ang="T6">
                      <a:pos x="T0" y="T1"/>
                    </a:cxn>
                    <a:cxn ang="T7">
                      <a:pos x="T2" y="T3"/>
                    </a:cxn>
                    <a:cxn ang="T8">
                      <a:pos x="T4" y="T5"/>
                    </a:cxn>
                  </a:cxnLst>
                  <a:rect l="T9" t="T10" r="T11" b="T12"/>
                  <a:pathLst>
                    <a:path w="30" h="20">
                      <a:moveTo>
                        <a:pt x="28" y="4"/>
                      </a:moveTo>
                      <a:cubicBezTo>
                        <a:pt x="30" y="14"/>
                        <a:pt x="2" y="20"/>
                        <a:pt x="4" y="6"/>
                      </a:cubicBezTo>
                      <a:cubicBezTo>
                        <a:pt x="0" y="0"/>
                        <a:pt x="28" y="0"/>
                        <a:pt x="28" y="4"/>
                      </a:cubicBezTo>
                      <a:close/>
                    </a:path>
                  </a:pathLst>
                </a:custGeom>
                <a:solidFill>
                  <a:srgbClr val="EEECE1"/>
                </a:solidFill>
                <a:ln w="9525">
                  <a:noFill/>
                  <a:round/>
                  <a:headEnd/>
                  <a:tailEnd/>
                </a:ln>
              </p:spPr>
              <p:txBody>
                <a:bodyPr/>
                <a:lstStyle/>
                <a:p>
                  <a:pPr algn="ctr" fontAlgn="auto">
                    <a:spcBef>
                      <a:spcPts val="0"/>
                    </a:spcBef>
                    <a:spcAft>
                      <a:spcPts val="0"/>
                    </a:spcAft>
                    <a:defRPr/>
                  </a:pPr>
                  <a:endParaRPr lang="en-US" kern="0">
                    <a:solidFill>
                      <a:sysClr val="windowText" lastClr="000000"/>
                    </a:solidFill>
                    <a:ea typeface="宋体" charset="-122"/>
                  </a:endParaRPr>
                </a:p>
              </p:txBody>
            </p:sp>
            <p:sp>
              <p:nvSpPr>
                <p:cNvPr id="68" name="Freeform 4269">
                  <a:extLst/>
                </p:cNvPr>
                <p:cNvSpPr>
                  <a:spLocks/>
                </p:cNvSpPr>
                <p:nvPr/>
              </p:nvSpPr>
              <p:spPr bwMode="auto">
                <a:xfrm flipH="1">
                  <a:off x="480" y="3402"/>
                  <a:ext cx="6" cy="9"/>
                </a:xfrm>
                <a:custGeom>
                  <a:avLst/>
                  <a:gdLst>
                    <a:gd name="T0" fmla="*/ 1 w 14"/>
                    <a:gd name="T1" fmla="*/ 1 h 16"/>
                    <a:gd name="T2" fmla="*/ 1 w 14"/>
                    <a:gd name="T3" fmla="*/ 1 h 16"/>
                    <a:gd name="T4" fmla="*/ 1 w 14"/>
                    <a:gd name="T5" fmla="*/ 1 h 16"/>
                    <a:gd name="T6" fmla="*/ 0 60000 65536"/>
                    <a:gd name="T7" fmla="*/ 0 60000 65536"/>
                    <a:gd name="T8" fmla="*/ 0 60000 65536"/>
                    <a:gd name="T9" fmla="*/ 0 w 14"/>
                    <a:gd name="T10" fmla="*/ 0 h 16"/>
                    <a:gd name="T11" fmla="*/ 14 w 14"/>
                    <a:gd name="T12" fmla="*/ 16 h 16"/>
                  </a:gdLst>
                  <a:ahLst/>
                  <a:cxnLst>
                    <a:cxn ang="T6">
                      <a:pos x="T0" y="T1"/>
                    </a:cxn>
                    <a:cxn ang="T7">
                      <a:pos x="T2" y="T3"/>
                    </a:cxn>
                    <a:cxn ang="T8">
                      <a:pos x="T4" y="T5"/>
                    </a:cxn>
                  </a:cxnLst>
                  <a:rect l="T9" t="T10" r="T11" b="T12"/>
                  <a:pathLst>
                    <a:path w="14" h="16">
                      <a:moveTo>
                        <a:pt x="14" y="8"/>
                      </a:moveTo>
                      <a:cubicBezTo>
                        <a:pt x="14" y="12"/>
                        <a:pt x="4" y="16"/>
                        <a:pt x="4" y="8"/>
                      </a:cubicBezTo>
                      <a:cubicBezTo>
                        <a:pt x="0" y="0"/>
                        <a:pt x="14" y="3"/>
                        <a:pt x="14" y="8"/>
                      </a:cubicBezTo>
                      <a:close/>
                    </a:path>
                  </a:pathLst>
                </a:custGeom>
                <a:solidFill>
                  <a:srgbClr val="EEECE1"/>
                </a:solidFill>
                <a:ln w="9525">
                  <a:noFill/>
                  <a:round/>
                  <a:headEnd/>
                  <a:tailEnd/>
                </a:ln>
              </p:spPr>
              <p:txBody>
                <a:bodyPr/>
                <a:lstStyle/>
                <a:p>
                  <a:pPr algn="ctr" fontAlgn="auto">
                    <a:spcBef>
                      <a:spcPts val="0"/>
                    </a:spcBef>
                    <a:spcAft>
                      <a:spcPts val="0"/>
                    </a:spcAft>
                    <a:defRPr/>
                  </a:pPr>
                  <a:endParaRPr lang="en-US" kern="0">
                    <a:solidFill>
                      <a:sysClr val="windowText" lastClr="000000"/>
                    </a:solidFill>
                    <a:ea typeface="宋体" charset="-122"/>
                  </a:endParaRPr>
                </a:p>
              </p:txBody>
            </p:sp>
            <p:sp>
              <p:nvSpPr>
                <p:cNvPr id="69" name="Freeform 4270">
                  <a:extLst/>
                </p:cNvPr>
                <p:cNvSpPr>
                  <a:spLocks/>
                </p:cNvSpPr>
                <p:nvPr/>
              </p:nvSpPr>
              <p:spPr bwMode="auto">
                <a:xfrm flipH="1">
                  <a:off x="438" y="3401"/>
                  <a:ext cx="6" cy="8"/>
                </a:xfrm>
                <a:custGeom>
                  <a:avLst/>
                  <a:gdLst>
                    <a:gd name="T0" fmla="*/ 1 w 14"/>
                    <a:gd name="T1" fmla="*/ 0 h 16"/>
                    <a:gd name="T2" fmla="*/ 1 w 14"/>
                    <a:gd name="T3" fmla="*/ 0 h 16"/>
                    <a:gd name="T4" fmla="*/ 1 w 14"/>
                    <a:gd name="T5" fmla="*/ 0 h 16"/>
                    <a:gd name="T6" fmla="*/ 0 60000 65536"/>
                    <a:gd name="T7" fmla="*/ 0 60000 65536"/>
                    <a:gd name="T8" fmla="*/ 0 60000 65536"/>
                    <a:gd name="T9" fmla="*/ 0 w 14"/>
                    <a:gd name="T10" fmla="*/ 0 h 16"/>
                    <a:gd name="T11" fmla="*/ 14 w 14"/>
                    <a:gd name="T12" fmla="*/ 16 h 16"/>
                  </a:gdLst>
                  <a:ahLst/>
                  <a:cxnLst>
                    <a:cxn ang="T6">
                      <a:pos x="T0" y="T1"/>
                    </a:cxn>
                    <a:cxn ang="T7">
                      <a:pos x="T2" y="T3"/>
                    </a:cxn>
                    <a:cxn ang="T8">
                      <a:pos x="T4" y="T5"/>
                    </a:cxn>
                  </a:cxnLst>
                  <a:rect l="T9" t="T10" r="T11" b="T12"/>
                  <a:pathLst>
                    <a:path w="14" h="16">
                      <a:moveTo>
                        <a:pt x="14" y="8"/>
                      </a:moveTo>
                      <a:cubicBezTo>
                        <a:pt x="14" y="12"/>
                        <a:pt x="4" y="16"/>
                        <a:pt x="4" y="8"/>
                      </a:cubicBezTo>
                      <a:cubicBezTo>
                        <a:pt x="0" y="0"/>
                        <a:pt x="14" y="3"/>
                        <a:pt x="14" y="8"/>
                      </a:cubicBezTo>
                      <a:close/>
                    </a:path>
                  </a:pathLst>
                </a:custGeom>
                <a:solidFill>
                  <a:srgbClr val="EEECE1"/>
                </a:solidFill>
                <a:ln w="9525">
                  <a:noFill/>
                  <a:round/>
                  <a:headEnd/>
                  <a:tailEnd/>
                </a:ln>
              </p:spPr>
              <p:txBody>
                <a:bodyPr/>
                <a:lstStyle/>
                <a:p>
                  <a:pPr algn="ctr" fontAlgn="auto">
                    <a:spcBef>
                      <a:spcPts val="0"/>
                    </a:spcBef>
                    <a:spcAft>
                      <a:spcPts val="0"/>
                    </a:spcAft>
                    <a:defRPr/>
                  </a:pPr>
                  <a:endParaRPr lang="en-US" kern="0">
                    <a:solidFill>
                      <a:sysClr val="windowText" lastClr="000000"/>
                    </a:solidFill>
                    <a:ea typeface="宋体" charset="-122"/>
                  </a:endParaRPr>
                </a:p>
              </p:txBody>
            </p:sp>
            <p:sp>
              <p:nvSpPr>
                <p:cNvPr id="70" name="Freeform 4271">
                  <a:extLst/>
                </p:cNvPr>
                <p:cNvSpPr>
                  <a:spLocks/>
                </p:cNvSpPr>
                <p:nvPr/>
              </p:nvSpPr>
              <p:spPr bwMode="auto">
                <a:xfrm flipH="1">
                  <a:off x="438" y="3413"/>
                  <a:ext cx="93" cy="16"/>
                </a:xfrm>
                <a:custGeom>
                  <a:avLst/>
                  <a:gdLst>
                    <a:gd name="T0" fmla="*/ 1 w 160"/>
                    <a:gd name="T1" fmla="*/ 1 h 27"/>
                    <a:gd name="T2" fmla="*/ 1 w 160"/>
                    <a:gd name="T3" fmla="*/ 1 h 27"/>
                    <a:gd name="T4" fmla="*/ 1 w 160"/>
                    <a:gd name="T5" fmla="*/ 0 h 27"/>
                    <a:gd name="T6" fmla="*/ 1 w 160"/>
                    <a:gd name="T7" fmla="*/ 1 h 27"/>
                    <a:gd name="T8" fmla="*/ 1 w 160"/>
                    <a:gd name="T9" fmla="*/ 1 h 27"/>
                    <a:gd name="T10" fmla="*/ 1 w 160"/>
                    <a:gd name="T11" fmla="*/ 1 h 27"/>
                    <a:gd name="T12" fmla="*/ 1 w 160"/>
                    <a:gd name="T13" fmla="*/ 1 h 27"/>
                    <a:gd name="T14" fmla="*/ 0 60000 65536"/>
                    <a:gd name="T15" fmla="*/ 0 60000 65536"/>
                    <a:gd name="T16" fmla="*/ 0 60000 65536"/>
                    <a:gd name="T17" fmla="*/ 0 60000 65536"/>
                    <a:gd name="T18" fmla="*/ 0 60000 65536"/>
                    <a:gd name="T19" fmla="*/ 0 60000 65536"/>
                    <a:gd name="T20" fmla="*/ 0 60000 65536"/>
                    <a:gd name="T21" fmla="*/ 0 w 160"/>
                    <a:gd name="T22" fmla="*/ 0 h 27"/>
                    <a:gd name="T23" fmla="*/ 160 w 160"/>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0" h="27">
                      <a:moveTo>
                        <a:pt x="154" y="4"/>
                      </a:moveTo>
                      <a:cubicBezTo>
                        <a:pt x="158" y="2"/>
                        <a:pt x="150" y="6"/>
                        <a:pt x="122" y="14"/>
                      </a:cubicBezTo>
                      <a:cubicBezTo>
                        <a:pt x="94" y="12"/>
                        <a:pt x="54" y="0"/>
                        <a:pt x="36" y="0"/>
                      </a:cubicBezTo>
                      <a:cubicBezTo>
                        <a:pt x="32" y="11"/>
                        <a:pt x="18" y="11"/>
                        <a:pt x="8" y="14"/>
                      </a:cubicBezTo>
                      <a:cubicBezTo>
                        <a:pt x="0" y="27"/>
                        <a:pt x="19" y="15"/>
                        <a:pt x="28" y="14"/>
                      </a:cubicBezTo>
                      <a:cubicBezTo>
                        <a:pt x="50" y="17"/>
                        <a:pt x="70" y="24"/>
                        <a:pt x="92" y="26"/>
                      </a:cubicBezTo>
                      <a:cubicBezTo>
                        <a:pt x="99" y="26"/>
                        <a:pt x="160" y="22"/>
                        <a:pt x="154" y="4"/>
                      </a:cubicBezTo>
                      <a:close/>
                    </a:path>
                  </a:pathLst>
                </a:custGeom>
                <a:solidFill>
                  <a:srgbClr val="1F497D"/>
                </a:solidFill>
                <a:ln w="9525">
                  <a:noFill/>
                  <a:round/>
                  <a:headEnd/>
                  <a:tailEnd/>
                </a:ln>
              </p:spPr>
              <p:txBody>
                <a:bodyPr/>
                <a:lstStyle/>
                <a:p>
                  <a:pPr algn="ctr" fontAlgn="auto">
                    <a:spcBef>
                      <a:spcPts val="0"/>
                    </a:spcBef>
                    <a:spcAft>
                      <a:spcPts val="0"/>
                    </a:spcAft>
                    <a:defRPr/>
                  </a:pPr>
                  <a:endParaRPr lang="en-US" kern="0">
                    <a:solidFill>
                      <a:sysClr val="windowText" lastClr="000000"/>
                    </a:solidFill>
                    <a:ea typeface="宋体" charset="-122"/>
                  </a:endParaRPr>
                </a:p>
              </p:txBody>
            </p:sp>
            <p:sp>
              <p:nvSpPr>
                <p:cNvPr id="71" name="Freeform 4272">
                  <a:extLst/>
                </p:cNvPr>
                <p:cNvSpPr>
                  <a:spLocks/>
                </p:cNvSpPr>
                <p:nvPr/>
              </p:nvSpPr>
              <p:spPr bwMode="auto">
                <a:xfrm flipH="1">
                  <a:off x="432" y="3425"/>
                  <a:ext cx="105" cy="36"/>
                </a:xfrm>
                <a:custGeom>
                  <a:avLst/>
                  <a:gdLst>
                    <a:gd name="T0" fmla="*/ 1 w 183"/>
                    <a:gd name="T1" fmla="*/ 1 h 60"/>
                    <a:gd name="T2" fmla="*/ 1 w 183"/>
                    <a:gd name="T3" fmla="*/ 1 h 60"/>
                    <a:gd name="T4" fmla="*/ 1 w 183"/>
                    <a:gd name="T5" fmla="*/ 1 h 60"/>
                    <a:gd name="T6" fmla="*/ 1 w 183"/>
                    <a:gd name="T7" fmla="*/ 1 h 60"/>
                    <a:gd name="T8" fmla="*/ 1 w 183"/>
                    <a:gd name="T9" fmla="*/ 1 h 60"/>
                    <a:gd name="T10" fmla="*/ 1 w 183"/>
                    <a:gd name="T11" fmla="*/ 1 h 60"/>
                    <a:gd name="T12" fmla="*/ 1 w 183"/>
                    <a:gd name="T13" fmla="*/ 1 h 60"/>
                    <a:gd name="T14" fmla="*/ 1 w 183"/>
                    <a:gd name="T15" fmla="*/ 1 h 60"/>
                    <a:gd name="T16" fmla="*/ 1 w 183"/>
                    <a:gd name="T17" fmla="*/ 1 h 60"/>
                    <a:gd name="T18" fmla="*/ 1 w 183"/>
                    <a:gd name="T19" fmla="*/ 1 h 60"/>
                    <a:gd name="T20" fmla="*/ 1 w 183"/>
                    <a:gd name="T21" fmla="*/ 1 h 60"/>
                    <a:gd name="T22" fmla="*/ 1 w 183"/>
                    <a:gd name="T23" fmla="*/ 0 h 60"/>
                    <a:gd name="T24" fmla="*/ 1 w 183"/>
                    <a:gd name="T25" fmla="*/ 1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3"/>
                    <a:gd name="T40" fmla="*/ 0 h 60"/>
                    <a:gd name="T41" fmla="*/ 183 w 183"/>
                    <a:gd name="T42" fmla="*/ 60 h 6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3" h="60">
                      <a:moveTo>
                        <a:pt x="21" y="8"/>
                      </a:moveTo>
                      <a:cubicBezTo>
                        <a:pt x="19" y="11"/>
                        <a:pt x="15" y="16"/>
                        <a:pt x="15" y="20"/>
                      </a:cubicBezTo>
                      <a:cubicBezTo>
                        <a:pt x="15" y="47"/>
                        <a:pt x="82" y="48"/>
                        <a:pt x="99" y="50"/>
                      </a:cubicBezTo>
                      <a:cubicBezTo>
                        <a:pt x="117" y="49"/>
                        <a:pt x="135" y="50"/>
                        <a:pt x="153" y="48"/>
                      </a:cubicBezTo>
                      <a:cubicBezTo>
                        <a:pt x="164" y="47"/>
                        <a:pt x="183" y="34"/>
                        <a:pt x="183" y="34"/>
                      </a:cubicBezTo>
                      <a:cubicBezTo>
                        <a:pt x="183" y="34"/>
                        <a:pt x="175" y="39"/>
                        <a:pt x="171" y="42"/>
                      </a:cubicBezTo>
                      <a:cubicBezTo>
                        <a:pt x="161" y="49"/>
                        <a:pt x="155" y="52"/>
                        <a:pt x="143" y="54"/>
                      </a:cubicBezTo>
                      <a:cubicBezTo>
                        <a:pt x="115" y="60"/>
                        <a:pt x="77" y="52"/>
                        <a:pt x="51" y="50"/>
                      </a:cubicBezTo>
                      <a:cubicBezTo>
                        <a:pt x="40" y="49"/>
                        <a:pt x="30" y="46"/>
                        <a:pt x="19" y="42"/>
                      </a:cubicBezTo>
                      <a:cubicBezTo>
                        <a:pt x="17" y="41"/>
                        <a:pt x="13" y="40"/>
                        <a:pt x="13" y="40"/>
                      </a:cubicBezTo>
                      <a:cubicBezTo>
                        <a:pt x="0" y="27"/>
                        <a:pt x="8" y="17"/>
                        <a:pt x="17" y="4"/>
                      </a:cubicBezTo>
                      <a:cubicBezTo>
                        <a:pt x="19" y="0"/>
                        <a:pt x="29" y="0"/>
                        <a:pt x="29" y="0"/>
                      </a:cubicBezTo>
                      <a:cubicBezTo>
                        <a:pt x="29" y="0"/>
                        <a:pt x="21" y="17"/>
                        <a:pt x="21" y="8"/>
                      </a:cubicBezTo>
                      <a:close/>
                    </a:path>
                  </a:pathLst>
                </a:custGeom>
                <a:solidFill>
                  <a:srgbClr val="1F497D"/>
                </a:solidFill>
                <a:ln w="9525">
                  <a:noFill/>
                  <a:round/>
                  <a:headEnd/>
                  <a:tailEnd/>
                </a:ln>
              </p:spPr>
              <p:txBody>
                <a:bodyPr/>
                <a:lstStyle/>
                <a:p>
                  <a:pPr algn="ctr" fontAlgn="auto">
                    <a:spcBef>
                      <a:spcPts val="0"/>
                    </a:spcBef>
                    <a:spcAft>
                      <a:spcPts val="0"/>
                    </a:spcAft>
                    <a:defRPr/>
                  </a:pPr>
                  <a:endParaRPr lang="en-US" kern="0">
                    <a:solidFill>
                      <a:sysClr val="windowText" lastClr="000000"/>
                    </a:solidFill>
                    <a:ea typeface="宋体" charset="-122"/>
                  </a:endParaRPr>
                </a:p>
              </p:txBody>
            </p:sp>
            <p:sp>
              <p:nvSpPr>
                <p:cNvPr id="72" name="Freeform 4273">
                  <a:extLst/>
                </p:cNvPr>
                <p:cNvSpPr>
                  <a:spLocks/>
                </p:cNvSpPr>
                <p:nvPr/>
              </p:nvSpPr>
              <p:spPr bwMode="auto">
                <a:xfrm>
                  <a:off x="344" y="3526"/>
                  <a:ext cx="168" cy="101"/>
                </a:xfrm>
                <a:custGeom>
                  <a:avLst/>
                  <a:gdLst>
                    <a:gd name="T0" fmla="*/ 169 w 169"/>
                    <a:gd name="T1" fmla="*/ 104 h 104"/>
                    <a:gd name="T2" fmla="*/ 169 w 169"/>
                    <a:gd name="T3" fmla="*/ 22 h 104"/>
                    <a:gd name="T4" fmla="*/ 0 w 169"/>
                    <a:gd name="T5" fmla="*/ 0 h 104"/>
                    <a:gd name="T6" fmla="*/ 2 w 169"/>
                    <a:gd name="T7" fmla="*/ 74 h 104"/>
                    <a:gd name="T8" fmla="*/ 169 w 169"/>
                    <a:gd name="T9" fmla="*/ 104 h 104"/>
                    <a:gd name="T10" fmla="*/ 0 60000 65536"/>
                    <a:gd name="T11" fmla="*/ 0 60000 65536"/>
                    <a:gd name="T12" fmla="*/ 0 60000 65536"/>
                    <a:gd name="T13" fmla="*/ 0 60000 65536"/>
                    <a:gd name="T14" fmla="*/ 0 60000 65536"/>
                    <a:gd name="T15" fmla="*/ 0 w 169"/>
                    <a:gd name="T16" fmla="*/ 0 h 104"/>
                    <a:gd name="T17" fmla="*/ 169 w 169"/>
                    <a:gd name="T18" fmla="*/ 104 h 104"/>
                  </a:gdLst>
                  <a:ahLst/>
                  <a:cxnLst>
                    <a:cxn ang="T10">
                      <a:pos x="T0" y="T1"/>
                    </a:cxn>
                    <a:cxn ang="T11">
                      <a:pos x="T2" y="T3"/>
                    </a:cxn>
                    <a:cxn ang="T12">
                      <a:pos x="T4" y="T5"/>
                    </a:cxn>
                    <a:cxn ang="T13">
                      <a:pos x="T6" y="T7"/>
                    </a:cxn>
                    <a:cxn ang="T14">
                      <a:pos x="T8" y="T9"/>
                    </a:cxn>
                  </a:cxnLst>
                  <a:rect l="T15" t="T16" r="T17" b="T18"/>
                  <a:pathLst>
                    <a:path w="169" h="104">
                      <a:moveTo>
                        <a:pt x="169" y="104"/>
                      </a:moveTo>
                      <a:lnTo>
                        <a:pt x="169" y="22"/>
                      </a:lnTo>
                      <a:lnTo>
                        <a:pt x="0" y="0"/>
                      </a:lnTo>
                      <a:lnTo>
                        <a:pt x="2" y="74"/>
                      </a:lnTo>
                      <a:lnTo>
                        <a:pt x="169" y="104"/>
                      </a:lnTo>
                      <a:close/>
                    </a:path>
                  </a:pathLst>
                </a:custGeom>
                <a:solidFill>
                  <a:srgbClr val="837A71"/>
                </a:solidFill>
                <a:ln w="9525">
                  <a:noFill/>
                  <a:round/>
                  <a:headEnd/>
                  <a:tailEnd/>
                </a:ln>
              </p:spPr>
              <p:txBody>
                <a:bodyPr/>
                <a:lstStyle/>
                <a:p>
                  <a:pPr algn="ctr" fontAlgn="auto">
                    <a:spcBef>
                      <a:spcPts val="0"/>
                    </a:spcBef>
                    <a:spcAft>
                      <a:spcPts val="0"/>
                    </a:spcAft>
                    <a:defRPr/>
                  </a:pPr>
                  <a:endParaRPr lang="en-US" kern="0">
                    <a:solidFill>
                      <a:sysClr val="windowText" lastClr="000000"/>
                    </a:solidFill>
                    <a:ea typeface="宋体" charset="-122"/>
                  </a:endParaRPr>
                </a:p>
              </p:txBody>
            </p:sp>
            <p:grpSp>
              <p:nvGrpSpPr>
                <p:cNvPr id="101452" name="Group 4274"/>
                <p:cNvGrpSpPr>
                  <a:grpSpLocks/>
                </p:cNvGrpSpPr>
                <p:nvPr/>
              </p:nvGrpSpPr>
              <p:grpSpPr bwMode="auto">
                <a:xfrm flipH="1">
                  <a:off x="397" y="3285"/>
                  <a:ext cx="138" cy="109"/>
                  <a:chOff x="354" y="3150"/>
                  <a:chExt cx="1030" cy="875"/>
                </a:xfrm>
              </p:grpSpPr>
              <p:sp>
                <p:nvSpPr>
                  <p:cNvPr id="81" name="Freeform 4275">
                    <a:extLst/>
                  </p:cNvPr>
                  <p:cNvSpPr>
                    <a:spLocks/>
                  </p:cNvSpPr>
                  <p:nvPr/>
                </p:nvSpPr>
                <p:spPr bwMode="auto">
                  <a:xfrm rot="-99815">
                    <a:off x="479" y="3707"/>
                    <a:ext cx="110" cy="160"/>
                  </a:xfrm>
                  <a:custGeom>
                    <a:avLst/>
                    <a:gdLst>
                      <a:gd name="T0" fmla="*/ 327680 w 56"/>
                      <a:gd name="T1" fmla="*/ 28809 h 84"/>
                      <a:gd name="T2" fmla="*/ 32768 w 56"/>
                      <a:gd name="T3" fmla="*/ 610461 h 84"/>
                      <a:gd name="T4" fmla="*/ 458752 w 56"/>
                      <a:gd name="T5" fmla="*/ 1134505 h 84"/>
                      <a:gd name="T6" fmla="*/ 819200 w 56"/>
                      <a:gd name="T7" fmla="*/ 496864 h 84"/>
                      <a:gd name="T8" fmla="*/ 327680 w 56"/>
                      <a:gd name="T9" fmla="*/ 28809 h 84"/>
                      <a:gd name="T10" fmla="*/ 0 60000 65536"/>
                      <a:gd name="T11" fmla="*/ 0 60000 65536"/>
                      <a:gd name="T12" fmla="*/ 0 60000 65536"/>
                      <a:gd name="T13" fmla="*/ 0 60000 65536"/>
                      <a:gd name="T14" fmla="*/ 0 60000 65536"/>
                      <a:gd name="T15" fmla="*/ 0 w 56"/>
                      <a:gd name="T16" fmla="*/ 0 h 84"/>
                      <a:gd name="T17" fmla="*/ 56 w 56"/>
                      <a:gd name="T18" fmla="*/ 84 h 84"/>
                    </a:gdLst>
                    <a:ahLst/>
                    <a:cxnLst>
                      <a:cxn ang="T10">
                        <a:pos x="T0" y="T1"/>
                      </a:cxn>
                      <a:cxn ang="T11">
                        <a:pos x="T2" y="T3"/>
                      </a:cxn>
                      <a:cxn ang="T12">
                        <a:pos x="T4" y="T5"/>
                      </a:cxn>
                      <a:cxn ang="T13">
                        <a:pos x="T6" y="T7"/>
                      </a:cxn>
                      <a:cxn ang="T14">
                        <a:pos x="T8" y="T9"/>
                      </a:cxn>
                    </a:cxnLst>
                    <a:rect l="T15" t="T16" r="T17" b="T18"/>
                    <a:pathLst>
                      <a:path w="56" h="84">
                        <a:moveTo>
                          <a:pt x="20" y="2"/>
                        </a:moveTo>
                        <a:cubicBezTo>
                          <a:pt x="0" y="6"/>
                          <a:pt x="2" y="31"/>
                          <a:pt x="2" y="44"/>
                        </a:cubicBezTo>
                        <a:cubicBezTo>
                          <a:pt x="4" y="58"/>
                          <a:pt x="6" y="84"/>
                          <a:pt x="28" y="82"/>
                        </a:cubicBezTo>
                        <a:cubicBezTo>
                          <a:pt x="56" y="76"/>
                          <a:pt x="52" y="54"/>
                          <a:pt x="50" y="36"/>
                        </a:cubicBezTo>
                        <a:cubicBezTo>
                          <a:pt x="48" y="22"/>
                          <a:pt x="48" y="0"/>
                          <a:pt x="20" y="2"/>
                        </a:cubicBezTo>
                        <a:close/>
                      </a:path>
                    </a:pathLst>
                  </a:custGeom>
                  <a:solidFill>
                    <a:srgbClr val="4F81BD"/>
                  </a:solid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82" name="Freeform 4276">
                    <a:extLst/>
                  </p:cNvPr>
                  <p:cNvSpPr>
                    <a:spLocks/>
                  </p:cNvSpPr>
                  <p:nvPr/>
                </p:nvSpPr>
                <p:spPr bwMode="auto">
                  <a:xfrm rot="462291">
                    <a:off x="510" y="3430"/>
                    <a:ext cx="864" cy="341"/>
                  </a:xfrm>
                  <a:custGeom>
                    <a:avLst/>
                    <a:gdLst>
                      <a:gd name="T0" fmla="*/ 287217 w 428"/>
                      <a:gd name="T1" fmla="*/ 2596689 h 172"/>
                      <a:gd name="T2" fmla="*/ 0 w 428"/>
                      <a:gd name="T3" fmla="*/ 1390984 h 172"/>
                      <a:gd name="T4" fmla="*/ 6786137 w 428"/>
                      <a:gd name="T5" fmla="*/ 0 h 172"/>
                      <a:gd name="T6" fmla="*/ 0 60000 65536"/>
                      <a:gd name="T7" fmla="*/ 0 60000 65536"/>
                      <a:gd name="T8" fmla="*/ 0 60000 65536"/>
                      <a:gd name="T9" fmla="*/ 0 w 428"/>
                      <a:gd name="T10" fmla="*/ 0 h 172"/>
                      <a:gd name="T11" fmla="*/ 428 w 428"/>
                      <a:gd name="T12" fmla="*/ 172 h 172"/>
                    </a:gdLst>
                    <a:ahLst/>
                    <a:cxnLst>
                      <a:cxn ang="T6">
                        <a:pos x="T0" y="T1"/>
                      </a:cxn>
                      <a:cxn ang="T7">
                        <a:pos x="T2" y="T3"/>
                      </a:cxn>
                      <a:cxn ang="T8">
                        <a:pos x="T4" y="T5"/>
                      </a:cxn>
                    </a:cxnLst>
                    <a:rect l="T9" t="T10" r="T11" b="T12"/>
                    <a:pathLst>
                      <a:path w="428" h="172">
                        <a:moveTo>
                          <a:pt x="18" y="172"/>
                        </a:moveTo>
                        <a:cubicBezTo>
                          <a:pt x="15" y="146"/>
                          <a:pt x="0" y="117"/>
                          <a:pt x="0" y="92"/>
                        </a:cubicBezTo>
                        <a:lnTo>
                          <a:pt x="428" y="0"/>
                        </a:lnTo>
                      </a:path>
                    </a:pathLst>
                  </a:cu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83" name="Freeform 4277">
                    <a:extLst/>
                  </p:cNvPr>
                  <p:cNvSpPr>
                    <a:spLocks/>
                  </p:cNvSpPr>
                  <p:nvPr/>
                </p:nvSpPr>
                <p:spPr bwMode="auto">
                  <a:xfrm rot="462291">
                    <a:off x="432" y="3643"/>
                    <a:ext cx="204" cy="277"/>
                  </a:xfrm>
                  <a:custGeom>
                    <a:avLst/>
                    <a:gdLst>
                      <a:gd name="T0" fmla="*/ 458752 w 108"/>
                      <a:gd name="T1" fmla="*/ 180061 h 140"/>
                      <a:gd name="T2" fmla="*/ 1474560 w 108"/>
                      <a:gd name="T3" fmla="*/ 887694 h 140"/>
                      <a:gd name="T4" fmla="*/ 1081344 w 108"/>
                      <a:gd name="T5" fmla="*/ 1955085 h 140"/>
                      <a:gd name="T6" fmla="*/ 131072 w 108"/>
                      <a:gd name="T7" fmla="*/ 1303659 h 140"/>
                      <a:gd name="T8" fmla="*/ 458752 w 108"/>
                      <a:gd name="T9" fmla="*/ 180061 h 140"/>
                      <a:gd name="T10" fmla="*/ 0 60000 65536"/>
                      <a:gd name="T11" fmla="*/ 0 60000 65536"/>
                      <a:gd name="T12" fmla="*/ 0 60000 65536"/>
                      <a:gd name="T13" fmla="*/ 0 60000 65536"/>
                      <a:gd name="T14" fmla="*/ 0 60000 65536"/>
                      <a:gd name="T15" fmla="*/ 0 w 108"/>
                      <a:gd name="T16" fmla="*/ 0 h 140"/>
                      <a:gd name="T17" fmla="*/ 108 w 108"/>
                      <a:gd name="T18" fmla="*/ 140 h 140"/>
                    </a:gdLst>
                    <a:ahLst/>
                    <a:cxnLst>
                      <a:cxn ang="T10">
                        <a:pos x="T0" y="T1"/>
                      </a:cxn>
                      <a:cxn ang="T11">
                        <a:pos x="T2" y="T3"/>
                      </a:cxn>
                      <a:cxn ang="T12">
                        <a:pos x="T4" y="T5"/>
                      </a:cxn>
                      <a:cxn ang="T13">
                        <a:pos x="T6" y="T7"/>
                      </a:cxn>
                      <a:cxn ang="T14">
                        <a:pos x="T8" y="T9"/>
                      </a:cxn>
                    </a:cxnLst>
                    <a:rect l="T15" t="T16" r="T17" b="T18"/>
                    <a:pathLst>
                      <a:path w="108" h="140">
                        <a:moveTo>
                          <a:pt x="28" y="12"/>
                        </a:moveTo>
                        <a:cubicBezTo>
                          <a:pt x="66" y="0"/>
                          <a:pt x="87" y="40"/>
                          <a:pt x="90" y="60"/>
                        </a:cubicBezTo>
                        <a:cubicBezTo>
                          <a:pt x="108" y="112"/>
                          <a:pt x="77" y="122"/>
                          <a:pt x="66" y="132"/>
                        </a:cubicBezTo>
                        <a:cubicBezTo>
                          <a:pt x="30" y="140"/>
                          <a:pt x="14" y="114"/>
                          <a:pt x="8" y="88"/>
                        </a:cubicBezTo>
                        <a:cubicBezTo>
                          <a:pt x="0" y="62"/>
                          <a:pt x="2" y="20"/>
                          <a:pt x="28" y="12"/>
                        </a:cubicBezTo>
                        <a:close/>
                      </a:path>
                    </a:pathLst>
                  </a:cu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84" name="Line 4278">
                    <a:extLst/>
                  </p:cNvPr>
                  <p:cNvSpPr>
                    <a:spLocks noChangeShapeType="1"/>
                  </p:cNvSpPr>
                  <p:nvPr/>
                </p:nvSpPr>
                <p:spPr bwMode="auto">
                  <a:xfrm rot="462291">
                    <a:off x="1327" y="3515"/>
                    <a:ext cx="47" cy="299"/>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85" name="Freeform 4279">
                    <a:extLst/>
                  </p:cNvPr>
                  <p:cNvSpPr>
                    <a:spLocks/>
                  </p:cNvSpPr>
                  <p:nvPr/>
                </p:nvSpPr>
                <p:spPr bwMode="auto">
                  <a:xfrm rot="462291">
                    <a:off x="369" y="3547"/>
                    <a:ext cx="141" cy="21"/>
                  </a:xfrm>
                  <a:custGeom>
                    <a:avLst/>
                    <a:gdLst>
                      <a:gd name="T0" fmla="*/ 0 w 64"/>
                      <a:gd name="T1" fmla="*/ 47005 h 14"/>
                      <a:gd name="T2" fmla="*/ 840788 w 64"/>
                      <a:gd name="T3" fmla="*/ 0 h 14"/>
                      <a:gd name="T4" fmla="*/ 0 60000 65536"/>
                      <a:gd name="T5" fmla="*/ 0 60000 65536"/>
                      <a:gd name="T6" fmla="*/ 0 w 64"/>
                      <a:gd name="T7" fmla="*/ 0 h 14"/>
                      <a:gd name="T8" fmla="*/ 64 w 64"/>
                      <a:gd name="T9" fmla="*/ 14 h 14"/>
                    </a:gdLst>
                    <a:ahLst/>
                    <a:cxnLst>
                      <a:cxn ang="T4">
                        <a:pos x="T0" y="T1"/>
                      </a:cxn>
                      <a:cxn ang="T5">
                        <a:pos x="T2" y="T3"/>
                      </a:cxn>
                    </a:cxnLst>
                    <a:rect l="T6" t="T7" r="T8" b="T9"/>
                    <a:pathLst>
                      <a:path w="64" h="14">
                        <a:moveTo>
                          <a:pt x="0" y="14"/>
                        </a:moveTo>
                        <a:lnTo>
                          <a:pt x="64" y="0"/>
                        </a:lnTo>
                      </a:path>
                    </a:pathLst>
                  </a:cu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86" name="Line 4280">
                    <a:extLst/>
                  </p:cNvPr>
                  <p:cNvSpPr>
                    <a:spLocks noChangeShapeType="1"/>
                  </p:cNvSpPr>
                  <p:nvPr/>
                </p:nvSpPr>
                <p:spPr bwMode="auto">
                  <a:xfrm rot="462291" flipV="1">
                    <a:off x="510" y="3558"/>
                    <a:ext cx="314" cy="75"/>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87" name="Line 4281">
                    <a:extLst/>
                  </p:cNvPr>
                  <p:cNvSpPr>
                    <a:spLocks noChangeShapeType="1"/>
                  </p:cNvSpPr>
                  <p:nvPr/>
                </p:nvSpPr>
                <p:spPr bwMode="auto">
                  <a:xfrm rot="462291">
                    <a:off x="605" y="3601"/>
                    <a:ext cx="94" cy="395"/>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88" name="Line 4282">
                    <a:extLst/>
                  </p:cNvPr>
                  <p:cNvSpPr>
                    <a:spLocks noChangeShapeType="1"/>
                  </p:cNvSpPr>
                  <p:nvPr/>
                </p:nvSpPr>
                <p:spPr bwMode="auto">
                  <a:xfrm rot="462291">
                    <a:off x="353" y="3569"/>
                    <a:ext cx="94" cy="448"/>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89" name="Line 4283">
                    <a:extLst/>
                  </p:cNvPr>
                  <p:cNvSpPr>
                    <a:spLocks noChangeShapeType="1"/>
                  </p:cNvSpPr>
                  <p:nvPr/>
                </p:nvSpPr>
                <p:spPr bwMode="auto">
                  <a:xfrm rot="462291">
                    <a:off x="746" y="3238"/>
                    <a:ext cx="157" cy="715"/>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90" name="Line 4284">
                    <a:extLst/>
                  </p:cNvPr>
                  <p:cNvSpPr>
                    <a:spLocks noChangeShapeType="1"/>
                  </p:cNvSpPr>
                  <p:nvPr/>
                </p:nvSpPr>
                <p:spPr bwMode="auto">
                  <a:xfrm rot="462291">
                    <a:off x="762" y="3601"/>
                    <a:ext cx="79" cy="363"/>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91" name="Line 4285">
                    <a:extLst/>
                  </p:cNvPr>
                  <p:cNvSpPr>
                    <a:spLocks noChangeShapeType="1"/>
                  </p:cNvSpPr>
                  <p:nvPr/>
                </p:nvSpPr>
                <p:spPr bwMode="auto">
                  <a:xfrm rot="462291">
                    <a:off x="715" y="3579"/>
                    <a:ext cx="79" cy="405"/>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92" name="Line 4286">
                    <a:extLst/>
                  </p:cNvPr>
                  <p:cNvSpPr>
                    <a:spLocks noChangeShapeType="1"/>
                  </p:cNvSpPr>
                  <p:nvPr/>
                </p:nvSpPr>
                <p:spPr bwMode="auto">
                  <a:xfrm rot="462291">
                    <a:off x="652" y="3611"/>
                    <a:ext cx="94" cy="384"/>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93" name="Line 4287">
                    <a:extLst/>
                  </p:cNvPr>
                  <p:cNvSpPr>
                    <a:spLocks noChangeShapeType="1"/>
                  </p:cNvSpPr>
                  <p:nvPr/>
                </p:nvSpPr>
                <p:spPr bwMode="auto">
                  <a:xfrm rot="462291" flipV="1">
                    <a:off x="825" y="3558"/>
                    <a:ext cx="550" cy="139"/>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94" name="Line 4288">
                    <a:extLst/>
                  </p:cNvPr>
                  <p:cNvSpPr>
                    <a:spLocks noChangeShapeType="1"/>
                  </p:cNvSpPr>
                  <p:nvPr/>
                </p:nvSpPr>
                <p:spPr bwMode="auto">
                  <a:xfrm rot="462291" flipV="1">
                    <a:off x="715" y="3611"/>
                    <a:ext cx="660" cy="139"/>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95" name="Line 4289">
                    <a:extLst/>
                  </p:cNvPr>
                  <p:cNvSpPr>
                    <a:spLocks noChangeShapeType="1"/>
                  </p:cNvSpPr>
                  <p:nvPr/>
                </p:nvSpPr>
                <p:spPr bwMode="auto">
                  <a:xfrm rot="462291" flipV="1">
                    <a:off x="730" y="3633"/>
                    <a:ext cx="644" cy="171"/>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96" name="Line 4290">
                    <a:extLst/>
                  </p:cNvPr>
                  <p:cNvSpPr>
                    <a:spLocks noChangeShapeType="1"/>
                  </p:cNvSpPr>
                  <p:nvPr/>
                </p:nvSpPr>
                <p:spPr bwMode="auto">
                  <a:xfrm rot="462291" flipV="1">
                    <a:off x="730" y="3675"/>
                    <a:ext cx="628" cy="149"/>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97" name="Line 4291">
                    <a:extLst/>
                  </p:cNvPr>
                  <p:cNvSpPr>
                    <a:spLocks noChangeShapeType="1"/>
                  </p:cNvSpPr>
                  <p:nvPr/>
                </p:nvSpPr>
                <p:spPr bwMode="auto">
                  <a:xfrm rot="462291" flipV="1">
                    <a:off x="715" y="3729"/>
                    <a:ext cx="628" cy="139"/>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98" name="Line 4292">
                    <a:extLst/>
                  </p:cNvPr>
                  <p:cNvSpPr>
                    <a:spLocks noChangeShapeType="1"/>
                  </p:cNvSpPr>
                  <p:nvPr/>
                </p:nvSpPr>
                <p:spPr bwMode="auto">
                  <a:xfrm rot="462291" flipV="1">
                    <a:off x="605" y="3750"/>
                    <a:ext cx="754" cy="181"/>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99" name="Line 4293">
                    <a:extLst/>
                  </p:cNvPr>
                  <p:cNvSpPr>
                    <a:spLocks noChangeShapeType="1"/>
                  </p:cNvSpPr>
                  <p:nvPr/>
                </p:nvSpPr>
                <p:spPr bwMode="auto">
                  <a:xfrm rot="462291" flipV="1">
                    <a:off x="683" y="3803"/>
                    <a:ext cx="660" cy="149"/>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00" name="Line 4294">
                    <a:extLst/>
                  </p:cNvPr>
                  <p:cNvSpPr>
                    <a:spLocks noChangeShapeType="1"/>
                  </p:cNvSpPr>
                  <p:nvPr/>
                </p:nvSpPr>
                <p:spPr bwMode="auto">
                  <a:xfrm rot="462291" flipV="1">
                    <a:off x="683" y="3835"/>
                    <a:ext cx="660" cy="160"/>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01" name="Line 4295">
                    <a:extLst/>
                  </p:cNvPr>
                  <p:cNvSpPr>
                    <a:spLocks noChangeShapeType="1"/>
                  </p:cNvSpPr>
                  <p:nvPr/>
                </p:nvSpPr>
                <p:spPr bwMode="auto">
                  <a:xfrm rot="462291" flipV="1">
                    <a:off x="385" y="3377"/>
                    <a:ext cx="974" cy="203"/>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02" name="Line 4296">
                    <a:extLst/>
                  </p:cNvPr>
                  <p:cNvSpPr>
                    <a:spLocks noChangeShapeType="1"/>
                  </p:cNvSpPr>
                  <p:nvPr/>
                </p:nvSpPr>
                <p:spPr bwMode="auto">
                  <a:xfrm rot="462291" flipV="1">
                    <a:off x="699" y="3867"/>
                    <a:ext cx="644" cy="160"/>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03" name="Line 4297">
                    <a:extLst/>
                  </p:cNvPr>
                  <p:cNvSpPr>
                    <a:spLocks noChangeShapeType="1"/>
                  </p:cNvSpPr>
                  <p:nvPr/>
                </p:nvSpPr>
                <p:spPr bwMode="auto">
                  <a:xfrm rot="462291">
                    <a:off x="369" y="3846"/>
                    <a:ext cx="31" cy="171"/>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04" name="Line 4298">
                    <a:extLst/>
                  </p:cNvPr>
                  <p:cNvSpPr>
                    <a:spLocks noChangeShapeType="1"/>
                  </p:cNvSpPr>
                  <p:nvPr/>
                </p:nvSpPr>
                <p:spPr bwMode="auto">
                  <a:xfrm rot="462291">
                    <a:off x="840" y="3654"/>
                    <a:ext cx="110" cy="331"/>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05" name="Line 4299">
                    <a:extLst/>
                  </p:cNvPr>
                  <p:cNvSpPr>
                    <a:spLocks noChangeShapeType="1"/>
                  </p:cNvSpPr>
                  <p:nvPr/>
                </p:nvSpPr>
                <p:spPr bwMode="auto">
                  <a:xfrm rot="462291">
                    <a:off x="840" y="3227"/>
                    <a:ext cx="173" cy="757"/>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06" name="Line 4300">
                    <a:extLst/>
                  </p:cNvPr>
                  <p:cNvSpPr>
                    <a:spLocks noChangeShapeType="1"/>
                  </p:cNvSpPr>
                  <p:nvPr/>
                </p:nvSpPr>
                <p:spPr bwMode="auto">
                  <a:xfrm rot="462291">
                    <a:off x="950" y="3515"/>
                    <a:ext cx="79" cy="469"/>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07" name="Line 4301">
                    <a:extLst/>
                  </p:cNvPr>
                  <p:cNvSpPr>
                    <a:spLocks noChangeShapeType="1"/>
                  </p:cNvSpPr>
                  <p:nvPr/>
                </p:nvSpPr>
                <p:spPr bwMode="auto">
                  <a:xfrm rot="462291">
                    <a:off x="966" y="3227"/>
                    <a:ext cx="141" cy="736"/>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08" name="Line 4302">
                    <a:extLst/>
                  </p:cNvPr>
                  <p:cNvSpPr>
                    <a:spLocks noChangeShapeType="1"/>
                  </p:cNvSpPr>
                  <p:nvPr/>
                </p:nvSpPr>
                <p:spPr bwMode="auto">
                  <a:xfrm rot="462291">
                    <a:off x="1044" y="3515"/>
                    <a:ext cx="94" cy="448"/>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09" name="Line 4303">
                    <a:extLst/>
                  </p:cNvPr>
                  <p:cNvSpPr>
                    <a:spLocks noChangeShapeType="1"/>
                  </p:cNvSpPr>
                  <p:nvPr/>
                </p:nvSpPr>
                <p:spPr bwMode="auto">
                  <a:xfrm rot="462291">
                    <a:off x="1044" y="3195"/>
                    <a:ext cx="157" cy="768"/>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10" name="Line 4304">
                    <a:extLst/>
                  </p:cNvPr>
                  <p:cNvSpPr>
                    <a:spLocks noChangeShapeType="1"/>
                  </p:cNvSpPr>
                  <p:nvPr/>
                </p:nvSpPr>
                <p:spPr bwMode="auto">
                  <a:xfrm rot="462291">
                    <a:off x="1139" y="3515"/>
                    <a:ext cx="79" cy="448"/>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11" name="Line 4305">
                    <a:extLst/>
                  </p:cNvPr>
                  <p:cNvSpPr>
                    <a:spLocks noChangeShapeType="1"/>
                  </p:cNvSpPr>
                  <p:nvPr/>
                </p:nvSpPr>
                <p:spPr bwMode="auto">
                  <a:xfrm rot="462291">
                    <a:off x="1201" y="3622"/>
                    <a:ext cx="47" cy="341"/>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12" name="Line 4306">
                    <a:extLst/>
                  </p:cNvPr>
                  <p:cNvSpPr>
                    <a:spLocks noChangeShapeType="1"/>
                  </p:cNvSpPr>
                  <p:nvPr/>
                </p:nvSpPr>
                <p:spPr bwMode="auto">
                  <a:xfrm rot="462291">
                    <a:off x="1217" y="3515"/>
                    <a:ext cx="94" cy="448"/>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13" name="Line 4307">
                    <a:extLst/>
                  </p:cNvPr>
                  <p:cNvSpPr>
                    <a:spLocks noChangeShapeType="1"/>
                  </p:cNvSpPr>
                  <p:nvPr/>
                </p:nvSpPr>
                <p:spPr bwMode="auto">
                  <a:xfrm rot="462291">
                    <a:off x="1233" y="3195"/>
                    <a:ext cx="141" cy="757"/>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14" name="Line 4308">
                    <a:extLst/>
                  </p:cNvPr>
                  <p:cNvSpPr>
                    <a:spLocks noChangeShapeType="1"/>
                  </p:cNvSpPr>
                  <p:nvPr/>
                </p:nvSpPr>
                <p:spPr bwMode="auto">
                  <a:xfrm rot="462291">
                    <a:off x="1374" y="3505"/>
                    <a:ext cx="16" cy="53"/>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15" name="Line 4309">
                    <a:extLst/>
                  </p:cNvPr>
                  <p:cNvSpPr>
                    <a:spLocks noChangeShapeType="1"/>
                  </p:cNvSpPr>
                  <p:nvPr/>
                </p:nvSpPr>
                <p:spPr bwMode="auto">
                  <a:xfrm rot="462291">
                    <a:off x="448" y="3217"/>
                    <a:ext cx="79" cy="299"/>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16" name="Line 4310">
                    <a:extLst/>
                  </p:cNvPr>
                  <p:cNvSpPr>
                    <a:spLocks noChangeShapeType="1"/>
                  </p:cNvSpPr>
                  <p:nvPr/>
                </p:nvSpPr>
                <p:spPr bwMode="auto">
                  <a:xfrm rot="462291">
                    <a:off x="605" y="3238"/>
                    <a:ext cx="31" cy="267"/>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17" name="Line 4311">
                    <a:extLst/>
                  </p:cNvPr>
                  <p:cNvSpPr>
                    <a:spLocks noChangeShapeType="1"/>
                  </p:cNvSpPr>
                  <p:nvPr/>
                </p:nvSpPr>
                <p:spPr bwMode="auto">
                  <a:xfrm rot="462291">
                    <a:off x="542" y="3217"/>
                    <a:ext cx="63" cy="288"/>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18" name="Line 4312">
                    <a:extLst/>
                  </p:cNvPr>
                  <p:cNvSpPr>
                    <a:spLocks noChangeShapeType="1"/>
                  </p:cNvSpPr>
                  <p:nvPr/>
                </p:nvSpPr>
                <p:spPr bwMode="auto">
                  <a:xfrm rot="462291">
                    <a:off x="510" y="3217"/>
                    <a:ext cx="47" cy="288"/>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19" name="Freeform 4313">
                    <a:extLst/>
                  </p:cNvPr>
                  <p:cNvSpPr>
                    <a:spLocks/>
                  </p:cNvSpPr>
                  <p:nvPr/>
                </p:nvSpPr>
                <p:spPr bwMode="auto">
                  <a:xfrm rot="462291">
                    <a:off x="400" y="3217"/>
                    <a:ext cx="220" cy="43"/>
                  </a:xfrm>
                  <a:custGeom>
                    <a:avLst/>
                    <a:gdLst>
                      <a:gd name="T0" fmla="*/ 0 w 78"/>
                      <a:gd name="T1" fmla="*/ 25904044 h 17"/>
                      <a:gd name="T2" fmla="*/ 147627684 w 78"/>
                      <a:gd name="T3" fmla="*/ 0 h 17"/>
                      <a:gd name="T4" fmla="*/ 0 60000 65536"/>
                      <a:gd name="T5" fmla="*/ 0 60000 65536"/>
                      <a:gd name="T6" fmla="*/ 0 w 78"/>
                      <a:gd name="T7" fmla="*/ 0 h 17"/>
                      <a:gd name="T8" fmla="*/ 78 w 78"/>
                      <a:gd name="T9" fmla="*/ 17 h 17"/>
                    </a:gdLst>
                    <a:ahLst/>
                    <a:cxnLst>
                      <a:cxn ang="T4">
                        <a:pos x="T0" y="T1"/>
                      </a:cxn>
                      <a:cxn ang="T5">
                        <a:pos x="T2" y="T3"/>
                      </a:cxn>
                    </a:cxnLst>
                    <a:rect l="T6" t="T7" r="T8" b="T9"/>
                    <a:pathLst>
                      <a:path w="78" h="17">
                        <a:moveTo>
                          <a:pt x="0" y="17"/>
                        </a:moveTo>
                        <a:lnTo>
                          <a:pt x="78" y="0"/>
                        </a:lnTo>
                      </a:path>
                    </a:pathLst>
                  </a:cu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20" name="Freeform 4314">
                    <a:extLst/>
                  </p:cNvPr>
                  <p:cNvSpPr>
                    <a:spLocks/>
                  </p:cNvSpPr>
                  <p:nvPr/>
                </p:nvSpPr>
                <p:spPr bwMode="auto">
                  <a:xfrm rot="462291">
                    <a:off x="400" y="3259"/>
                    <a:ext cx="204" cy="53"/>
                  </a:xfrm>
                  <a:custGeom>
                    <a:avLst/>
                    <a:gdLst>
                      <a:gd name="T0" fmla="*/ 0 w 77"/>
                      <a:gd name="T1" fmla="*/ 33749191 h 14"/>
                      <a:gd name="T2" fmla="*/ 153605606 w 77"/>
                      <a:gd name="T3" fmla="*/ 0 h 14"/>
                      <a:gd name="T4" fmla="*/ 0 60000 65536"/>
                      <a:gd name="T5" fmla="*/ 0 60000 65536"/>
                      <a:gd name="T6" fmla="*/ 0 w 77"/>
                      <a:gd name="T7" fmla="*/ 0 h 14"/>
                      <a:gd name="T8" fmla="*/ 77 w 77"/>
                      <a:gd name="T9" fmla="*/ 14 h 14"/>
                    </a:gdLst>
                    <a:ahLst/>
                    <a:cxnLst>
                      <a:cxn ang="T4">
                        <a:pos x="T0" y="T1"/>
                      </a:cxn>
                      <a:cxn ang="T5">
                        <a:pos x="T2" y="T3"/>
                      </a:cxn>
                    </a:cxnLst>
                    <a:rect l="T6" t="T7" r="T8" b="T9"/>
                    <a:pathLst>
                      <a:path w="77" h="14">
                        <a:moveTo>
                          <a:pt x="0" y="14"/>
                        </a:moveTo>
                        <a:lnTo>
                          <a:pt x="77" y="0"/>
                        </a:lnTo>
                      </a:path>
                    </a:pathLst>
                  </a:cu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21" name="Freeform 4315">
                    <a:extLst/>
                  </p:cNvPr>
                  <p:cNvSpPr>
                    <a:spLocks/>
                  </p:cNvSpPr>
                  <p:nvPr/>
                </p:nvSpPr>
                <p:spPr bwMode="auto">
                  <a:xfrm rot="462291">
                    <a:off x="385" y="3291"/>
                    <a:ext cx="220" cy="43"/>
                  </a:xfrm>
                  <a:custGeom>
                    <a:avLst/>
                    <a:gdLst>
                      <a:gd name="T0" fmla="*/ 0 w 77"/>
                      <a:gd name="T1" fmla="*/ 22657049 h 16"/>
                      <a:gd name="T2" fmla="*/ 153605606 w 77"/>
                      <a:gd name="T3" fmla="*/ 0 h 16"/>
                      <a:gd name="T4" fmla="*/ 0 60000 65536"/>
                      <a:gd name="T5" fmla="*/ 0 60000 65536"/>
                      <a:gd name="T6" fmla="*/ 0 w 77"/>
                      <a:gd name="T7" fmla="*/ 0 h 16"/>
                      <a:gd name="T8" fmla="*/ 77 w 77"/>
                      <a:gd name="T9" fmla="*/ 16 h 16"/>
                    </a:gdLst>
                    <a:ahLst/>
                    <a:cxnLst>
                      <a:cxn ang="T4">
                        <a:pos x="T0" y="T1"/>
                      </a:cxn>
                      <a:cxn ang="T5">
                        <a:pos x="T2" y="T3"/>
                      </a:cxn>
                    </a:cxnLst>
                    <a:rect l="T6" t="T7" r="T8" b="T9"/>
                    <a:pathLst>
                      <a:path w="77" h="16">
                        <a:moveTo>
                          <a:pt x="0" y="16"/>
                        </a:moveTo>
                        <a:lnTo>
                          <a:pt x="77" y="0"/>
                        </a:lnTo>
                      </a:path>
                    </a:pathLst>
                  </a:cu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22" name="Line 4316">
                    <a:extLst/>
                  </p:cNvPr>
                  <p:cNvSpPr>
                    <a:spLocks noChangeShapeType="1"/>
                  </p:cNvSpPr>
                  <p:nvPr/>
                </p:nvSpPr>
                <p:spPr bwMode="auto">
                  <a:xfrm rot="462291" flipV="1">
                    <a:off x="385" y="3313"/>
                    <a:ext cx="424" cy="75"/>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23" name="Line 4317">
                    <a:extLst/>
                  </p:cNvPr>
                  <p:cNvSpPr>
                    <a:spLocks noChangeShapeType="1"/>
                  </p:cNvSpPr>
                  <p:nvPr/>
                </p:nvSpPr>
                <p:spPr bwMode="auto">
                  <a:xfrm rot="462291" flipV="1">
                    <a:off x="385" y="3366"/>
                    <a:ext cx="236" cy="53"/>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24" name="Line 4318">
                    <a:extLst/>
                  </p:cNvPr>
                  <p:cNvSpPr>
                    <a:spLocks noChangeShapeType="1"/>
                  </p:cNvSpPr>
                  <p:nvPr/>
                </p:nvSpPr>
                <p:spPr bwMode="auto">
                  <a:xfrm rot="462291" flipV="1">
                    <a:off x="385" y="3409"/>
                    <a:ext cx="236" cy="43"/>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25" name="Line 4319">
                    <a:extLst/>
                  </p:cNvPr>
                  <p:cNvSpPr>
                    <a:spLocks noChangeShapeType="1"/>
                  </p:cNvSpPr>
                  <p:nvPr/>
                </p:nvSpPr>
                <p:spPr bwMode="auto">
                  <a:xfrm rot="462291" flipV="1">
                    <a:off x="385" y="3419"/>
                    <a:ext cx="424" cy="96"/>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26" name="Line 4320">
                    <a:extLst/>
                  </p:cNvPr>
                  <p:cNvSpPr>
                    <a:spLocks noChangeShapeType="1"/>
                  </p:cNvSpPr>
                  <p:nvPr/>
                </p:nvSpPr>
                <p:spPr bwMode="auto">
                  <a:xfrm rot="462291" flipV="1">
                    <a:off x="809" y="3366"/>
                    <a:ext cx="550" cy="107"/>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27" name="Line 4321">
                    <a:extLst/>
                  </p:cNvPr>
                  <p:cNvSpPr>
                    <a:spLocks noChangeShapeType="1"/>
                  </p:cNvSpPr>
                  <p:nvPr/>
                </p:nvSpPr>
                <p:spPr bwMode="auto">
                  <a:xfrm rot="462291" flipV="1">
                    <a:off x="809" y="3313"/>
                    <a:ext cx="550" cy="117"/>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28" name="Line 4322">
                    <a:extLst/>
                  </p:cNvPr>
                  <p:cNvSpPr>
                    <a:spLocks noChangeShapeType="1"/>
                  </p:cNvSpPr>
                  <p:nvPr/>
                </p:nvSpPr>
                <p:spPr bwMode="auto">
                  <a:xfrm rot="462291" flipV="1">
                    <a:off x="809" y="3259"/>
                    <a:ext cx="550" cy="107"/>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29" name="Line 4323">
                    <a:extLst/>
                  </p:cNvPr>
                  <p:cNvSpPr>
                    <a:spLocks noChangeShapeType="1"/>
                  </p:cNvSpPr>
                  <p:nvPr/>
                </p:nvSpPr>
                <p:spPr bwMode="auto">
                  <a:xfrm rot="462291" flipV="1">
                    <a:off x="809" y="3195"/>
                    <a:ext cx="534" cy="128"/>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130" name="Line 4324">
                    <a:extLst/>
                  </p:cNvPr>
                  <p:cNvSpPr>
                    <a:spLocks noChangeShapeType="1"/>
                  </p:cNvSpPr>
                  <p:nvPr/>
                </p:nvSpPr>
                <p:spPr bwMode="auto">
                  <a:xfrm rot="462291" flipV="1">
                    <a:off x="809" y="3153"/>
                    <a:ext cx="534" cy="107"/>
                  </a:xfrm>
                  <a:prstGeom prst="line">
                    <a:avLst/>
                  </a:prstGeom>
                  <a:noFill/>
                  <a:ln w="3175">
                    <a:solidFill>
                      <a:srgbClr val="788474"/>
                    </a:solid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grpSp>
            <p:sp>
              <p:nvSpPr>
                <p:cNvPr id="74" name="Freeform 4325">
                  <a:extLst/>
                </p:cNvPr>
                <p:cNvSpPr>
                  <a:spLocks/>
                </p:cNvSpPr>
                <p:nvPr/>
              </p:nvSpPr>
              <p:spPr bwMode="auto">
                <a:xfrm flipH="1">
                  <a:off x="392" y="3285"/>
                  <a:ext cx="139" cy="12"/>
                </a:xfrm>
                <a:custGeom>
                  <a:avLst/>
                  <a:gdLst>
                    <a:gd name="T0" fmla="*/ 1 w 237"/>
                    <a:gd name="T1" fmla="*/ 1 h 18"/>
                    <a:gd name="T2" fmla="*/ 1 w 237"/>
                    <a:gd name="T3" fmla="*/ 1 h 18"/>
                    <a:gd name="T4" fmla="*/ 1 w 237"/>
                    <a:gd name="T5" fmla="*/ 1 h 18"/>
                    <a:gd name="T6" fmla="*/ 1 w 237"/>
                    <a:gd name="T7" fmla="*/ 1 h 18"/>
                    <a:gd name="T8" fmla="*/ 1 w 237"/>
                    <a:gd name="T9" fmla="*/ 1 h 18"/>
                    <a:gd name="T10" fmla="*/ 1 w 237"/>
                    <a:gd name="T11" fmla="*/ 1 h 18"/>
                    <a:gd name="T12" fmla="*/ 0 60000 65536"/>
                    <a:gd name="T13" fmla="*/ 0 60000 65536"/>
                    <a:gd name="T14" fmla="*/ 0 60000 65536"/>
                    <a:gd name="T15" fmla="*/ 0 60000 65536"/>
                    <a:gd name="T16" fmla="*/ 0 60000 65536"/>
                    <a:gd name="T17" fmla="*/ 0 60000 65536"/>
                    <a:gd name="T18" fmla="*/ 0 w 237"/>
                    <a:gd name="T19" fmla="*/ 0 h 18"/>
                    <a:gd name="T20" fmla="*/ 237 w 23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37" h="18">
                      <a:moveTo>
                        <a:pt x="13" y="8"/>
                      </a:moveTo>
                      <a:cubicBezTo>
                        <a:pt x="0" y="12"/>
                        <a:pt x="3" y="5"/>
                        <a:pt x="3" y="18"/>
                      </a:cubicBezTo>
                      <a:cubicBezTo>
                        <a:pt x="83" y="12"/>
                        <a:pt x="165" y="15"/>
                        <a:pt x="201" y="12"/>
                      </a:cubicBezTo>
                      <a:cubicBezTo>
                        <a:pt x="237" y="9"/>
                        <a:pt x="223" y="4"/>
                        <a:pt x="219" y="2"/>
                      </a:cubicBezTo>
                      <a:cubicBezTo>
                        <a:pt x="215" y="0"/>
                        <a:pt x="211" y="1"/>
                        <a:pt x="177" y="2"/>
                      </a:cubicBezTo>
                      <a:lnTo>
                        <a:pt x="13" y="8"/>
                      </a:lnTo>
                      <a:close/>
                    </a:path>
                  </a:pathLst>
                </a:custGeom>
                <a:solidFill>
                  <a:srgbClr val="FFFFFF"/>
                </a:solidFill>
                <a:ln w="9525">
                  <a:noFill/>
                  <a:round/>
                  <a:headEnd/>
                  <a:tailEnd/>
                </a:ln>
              </p:spPr>
              <p:txBody>
                <a:bodyPr/>
                <a:lstStyle/>
                <a:p>
                  <a:pPr algn="ctr" fontAlgn="auto">
                    <a:spcBef>
                      <a:spcPts val="0"/>
                    </a:spcBef>
                    <a:spcAft>
                      <a:spcPts val="0"/>
                    </a:spcAft>
                    <a:defRPr/>
                  </a:pPr>
                  <a:endParaRPr lang="en-US" kern="0">
                    <a:solidFill>
                      <a:sysClr val="windowText" lastClr="000000"/>
                    </a:solidFill>
                    <a:ea typeface="宋体" charset="-122"/>
                  </a:endParaRPr>
                </a:p>
              </p:txBody>
            </p:sp>
            <p:sp>
              <p:nvSpPr>
                <p:cNvPr id="75" name="Freeform 4326">
                  <a:extLst/>
                </p:cNvPr>
                <p:cNvSpPr>
                  <a:spLocks/>
                </p:cNvSpPr>
                <p:nvPr/>
              </p:nvSpPr>
              <p:spPr bwMode="auto">
                <a:xfrm flipH="1">
                  <a:off x="302" y="3443"/>
                  <a:ext cx="189" cy="49"/>
                </a:xfrm>
                <a:custGeom>
                  <a:avLst/>
                  <a:gdLst>
                    <a:gd name="T0" fmla="*/ 3 w 215"/>
                    <a:gd name="T1" fmla="*/ 4 h 56"/>
                    <a:gd name="T2" fmla="*/ 3 w 215"/>
                    <a:gd name="T3" fmla="*/ 5 h 56"/>
                    <a:gd name="T4" fmla="*/ 9 w 215"/>
                    <a:gd name="T5" fmla="*/ 9 h 56"/>
                    <a:gd name="T6" fmla="*/ 29 w 215"/>
                    <a:gd name="T7" fmla="*/ 6 h 56"/>
                    <a:gd name="T8" fmla="*/ 32 w 215"/>
                    <a:gd name="T9" fmla="*/ 4 h 56"/>
                    <a:gd name="T10" fmla="*/ 24 w 215"/>
                    <a:gd name="T11" fmla="*/ 2 h 56"/>
                    <a:gd name="T12" fmla="*/ 21 w 215"/>
                    <a:gd name="T13" fmla="*/ 3 h 56"/>
                    <a:gd name="T14" fmla="*/ 3 w 215"/>
                    <a:gd name="T15" fmla="*/ 4 h 56"/>
                    <a:gd name="T16" fmla="*/ 0 60000 65536"/>
                    <a:gd name="T17" fmla="*/ 0 60000 65536"/>
                    <a:gd name="T18" fmla="*/ 0 60000 65536"/>
                    <a:gd name="T19" fmla="*/ 0 60000 65536"/>
                    <a:gd name="T20" fmla="*/ 0 60000 65536"/>
                    <a:gd name="T21" fmla="*/ 0 60000 65536"/>
                    <a:gd name="T22" fmla="*/ 0 60000 65536"/>
                    <a:gd name="T23" fmla="*/ 0 60000 65536"/>
                    <a:gd name="T24" fmla="*/ 0 w 215"/>
                    <a:gd name="T25" fmla="*/ 0 h 56"/>
                    <a:gd name="T26" fmla="*/ 215 w 215"/>
                    <a:gd name="T27" fmla="*/ 56 h 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5" h="56">
                      <a:moveTo>
                        <a:pt x="9" y="21"/>
                      </a:moveTo>
                      <a:cubicBezTo>
                        <a:pt x="0" y="23"/>
                        <a:pt x="3" y="24"/>
                        <a:pt x="5" y="33"/>
                      </a:cubicBezTo>
                      <a:cubicBezTo>
                        <a:pt x="27" y="42"/>
                        <a:pt x="39" y="56"/>
                        <a:pt x="57" y="56"/>
                      </a:cubicBezTo>
                      <a:cubicBezTo>
                        <a:pt x="91" y="56"/>
                        <a:pt x="164" y="41"/>
                        <a:pt x="189" y="36"/>
                      </a:cubicBezTo>
                      <a:cubicBezTo>
                        <a:pt x="214" y="31"/>
                        <a:pt x="215" y="32"/>
                        <a:pt x="209" y="26"/>
                      </a:cubicBezTo>
                      <a:cubicBezTo>
                        <a:pt x="205" y="24"/>
                        <a:pt x="173" y="6"/>
                        <a:pt x="155" y="2"/>
                      </a:cubicBezTo>
                      <a:cubicBezTo>
                        <a:pt x="150" y="6"/>
                        <a:pt x="163" y="0"/>
                        <a:pt x="140" y="3"/>
                      </a:cubicBezTo>
                      <a:lnTo>
                        <a:pt x="9" y="21"/>
                      </a:lnTo>
                      <a:close/>
                    </a:path>
                  </a:pathLst>
                </a:custGeom>
                <a:solidFill>
                  <a:srgbClr val="C0504D"/>
                </a:solidFill>
                <a:ln w="9525">
                  <a:noFill/>
                  <a:round/>
                  <a:headEnd/>
                  <a:tailEnd/>
                </a:ln>
              </p:spPr>
              <p:txBody>
                <a:bodyPr/>
                <a:lstStyle/>
                <a:p>
                  <a:pPr algn="ctr" fontAlgn="auto">
                    <a:spcBef>
                      <a:spcPts val="0"/>
                    </a:spcBef>
                    <a:spcAft>
                      <a:spcPts val="0"/>
                    </a:spcAft>
                    <a:defRPr/>
                  </a:pPr>
                  <a:endParaRPr lang="en-US" kern="0">
                    <a:solidFill>
                      <a:sysClr val="windowText" lastClr="000000"/>
                    </a:solidFill>
                    <a:ea typeface="宋体" charset="-122"/>
                  </a:endParaRPr>
                </a:p>
              </p:txBody>
            </p:sp>
            <p:sp>
              <p:nvSpPr>
                <p:cNvPr id="76" name="Freeform 4327">
                  <a:extLst/>
                </p:cNvPr>
                <p:cNvSpPr>
                  <a:spLocks/>
                </p:cNvSpPr>
                <p:nvPr/>
              </p:nvSpPr>
              <p:spPr bwMode="auto">
                <a:xfrm>
                  <a:off x="354" y="3453"/>
                  <a:ext cx="124" cy="32"/>
                </a:xfrm>
                <a:custGeom>
                  <a:avLst/>
                  <a:gdLst>
                    <a:gd name="T0" fmla="*/ 106 w 123"/>
                    <a:gd name="T1" fmla="*/ 8 h 33"/>
                    <a:gd name="T2" fmla="*/ 118 w 123"/>
                    <a:gd name="T3" fmla="*/ 11 h 33"/>
                    <a:gd name="T4" fmla="*/ 112 w 123"/>
                    <a:gd name="T5" fmla="*/ 16 h 33"/>
                    <a:gd name="T6" fmla="*/ 84 w 123"/>
                    <a:gd name="T7" fmla="*/ 33 h 33"/>
                    <a:gd name="T8" fmla="*/ 0 w 123"/>
                    <a:gd name="T9" fmla="*/ 19 h 33"/>
                    <a:gd name="T10" fmla="*/ 41 w 123"/>
                    <a:gd name="T11" fmla="*/ 0 h 33"/>
                    <a:gd name="T12" fmla="*/ 106 w 123"/>
                    <a:gd name="T13" fmla="*/ 8 h 33"/>
                    <a:gd name="T14" fmla="*/ 0 60000 65536"/>
                    <a:gd name="T15" fmla="*/ 0 60000 65536"/>
                    <a:gd name="T16" fmla="*/ 0 60000 65536"/>
                    <a:gd name="T17" fmla="*/ 0 60000 65536"/>
                    <a:gd name="T18" fmla="*/ 0 60000 65536"/>
                    <a:gd name="T19" fmla="*/ 0 60000 65536"/>
                    <a:gd name="T20" fmla="*/ 0 60000 65536"/>
                    <a:gd name="T21" fmla="*/ 0 w 123"/>
                    <a:gd name="T22" fmla="*/ 0 h 33"/>
                    <a:gd name="T23" fmla="*/ 123 w 12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3" h="33">
                      <a:moveTo>
                        <a:pt x="106" y="8"/>
                      </a:moveTo>
                      <a:cubicBezTo>
                        <a:pt x="110" y="10"/>
                        <a:pt x="114" y="8"/>
                        <a:pt x="118" y="11"/>
                      </a:cubicBezTo>
                      <a:cubicBezTo>
                        <a:pt x="123" y="15"/>
                        <a:pt x="112" y="16"/>
                        <a:pt x="112" y="16"/>
                      </a:cubicBezTo>
                      <a:lnTo>
                        <a:pt x="84" y="33"/>
                      </a:lnTo>
                      <a:lnTo>
                        <a:pt x="0" y="19"/>
                      </a:lnTo>
                      <a:lnTo>
                        <a:pt x="41" y="0"/>
                      </a:lnTo>
                      <a:lnTo>
                        <a:pt x="106" y="8"/>
                      </a:lnTo>
                      <a:close/>
                    </a:path>
                  </a:pathLst>
                </a:custGeom>
                <a:solidFill>
                  <a:srgbClr val="6E6E6E"/>
                </a:solidFill>
                <a:ln w="9525">
                  <a:noFill/>
                  <a:round/>
                  <a:headEnd/>
                  <a:tailEnd/>
                </a:ln>
              </p:spPr>
              <p:txBody>
                <a:bodyPr/>
                <a:lstStyle/>
                <a:p>
                  <a:pPr algn="ctr" fontAlgn="auto">
                    <a:spcBef>
                      <a:spcPts val="0"/>
                    </a:spcBef>
                    <a:spcAft>
                      <a:spcPts val="0"/>
                    </a:spcAft>
                    <a:defRPr/>
                  </a:pPr>
                  <a:endParaRPr lang="en-US" kern="0">
                    <a:solidFill>
                      <a:sysClr val="windowText" lastClr="000000"/>
                    </a:solidFill>
                    <a:ea typeface="宋体" charset="-122"/>
                  </a:endParaRPr>
                </a:p>
              </p:txBody>
            </p:sp>
            <p:sp>
              <p:nvSpPr>
                <p:cNvPr id="77" name="Freeform 4328">
                  <a:extLst/>
                </p:cNvPr>
                <p:cNvSpPr>
                  <a:spLocks/>
                </p:cNvSpPr>
                <p:nvPr/>
              </p:nvSpPr>
              <p:spPr bwMode="auto">
                <a:xfrm flipH="1">
                  <a:off x="127" y="3467"/>
                  <a:ext cx="80" cy="49"/>
                </a:xfrm>
                <a:custGeom>
                  <a:avLst/>
                  <a:gdLst>
                    <a:gd name="T0" fmla="*/ 11 w 92"/>
                    <a:gd name="T1" fmla="*/ 6 h 60"/>
                    <a:gd name="T2" fmla="*/ 1 w 92"/>
                    <a:gd name="T3" fmla="*/ 8 h 60"/>
                    <a:gd name="T4" fmla="*/ 1 w 92"/>
                    <a:gd name="T5" fmla="*/ 3 h 60"/>
                    <a:gd name="T6" fmla="*/ 11 w 92"/>
                    <a:gd name="T7" fmla="*/ 0 h 60"/>
                    <a:gd name="T8" fmla="*/ 11 w 92"/>
                    <a:gd name="T9" fmla="*/ 6 h 60"/>
                    <a:gd name="T10" fmla="*/ 0 60000 65536"/>
                    <a:gd name="T11" fmla="*/ 0 60000 65536"/>
                    <a:gd name="T12" fmla="*/ 0 60000 65536"/>
                    <a:gd name="T13" fmla="*/ 0 60000 65536"/>
                    <a:gd name="T14" fmla="*/ 0 60000 65536"/>
                    <a:gd name="T15" fmla="*/ 0 w 92"/>
                    <a:gd name="T16" fmla="*/ 0 h 60"/>
                    <a:gd name="T17" fmla="*/ 92 w 92"/>
                    <a:gd name="T18" fmla="*/ 60 h 60"/>
                  </a:gdLst>
                  <a:ahLst/>
                  <a:cxnLst>
                    <a:cxn ang="T10">
                      <a:pos x="T0" y="T1"/>
                    </a:cxn>
                    <a:cxn ang="T11">
                      <a:pos x="T2" y="T3"/>
                    </a:cxn>
                    <a:cxn ang="T12">
                      <a:pos x="T4" y="T5"/>
                    </a:cxn>
                    <a:cxn ang="T13">
                      <a:pos x="T6" y="T7"/>
                    </a:cxn>
                    <a:cxn ang="T14">
                      <a:pos x="T8" y="T9"/>
                    </a:cxn>
                  </a:cxnLst>
                  <a:rect l="T15" t="T16" r="T17" b="T18"/>
                  <a:pathLst>
                    <a:path w="92" h="60">
                      <a:moveTo>
                        <a:pt x="91" y="44"/>
                      </a:moveTo>
                      <a:cubicBezTo>
                        <a:pt x="63" y="48"/>
                        <a:pt x="31" y="56"/>
                        <a:pt x="1" y="60"/>
                      </a:cubicBezTo>
                      <a:cubicBezTo>
                        <a:pt x="0" y="51"/>
                        <a:pt x="1" y="24"/>
                        <a:pt x="1" y="14"/>
                      </a:cubicBezTo>
                      <a:lnTo>
                        <a:pt x="92" y="0"/>
                      </a:lnTo>
                      <a:lnTo>
                        <a:pt x="91" y="44"/>
                      </a:lnTo>
                      <a:close/>
                    </a:path>
                  </a:pathLst>
                </a:custGeom>
                <a:solidFill>
                  <a:srgbClr val="BABABA"/>
                </a:solidFill>
                <a:ln w="9525">
                  <a:noFill/>
                  <a:round/>
                  <a:headEnd/>
                  <a:tailEnd/>
                </a:ln>
              </p:spPr>
              <p:txBody>
                <a:bodyPr/>
                <a:lstStyle/>
                <a:p>
                  <a:pPr algn="ctr" fontAlgn="auto">
                    <a:spcBef>
                      <a:spcPts val="0"/>
                    </a:spcBef>
                    <a:spcAft>
                      <a:spcPts val="0"/>
                    </a:spcAft>
                    <a:defRPr/>
                  </a:pPr>
                  <a:endParaRPr lang="en-US" kern="0">
                    <a:solidFill>
                      <a:sysClr val="windowText" lastClr="000000"/>
                    </a:solidFill>
                    <a:ea typeface="宋体" charset="-122"/>
                  </a:endParaRPr>
                </a:p>
              </p:txBody>
            </p:sp>
            <p:sp>
              <p:nvSpPr>
                <p:cNvPr id="78" name="Freeform 4329">
                  <a:extLst/>
                </p:cNvPr>
                <p:cNvSpPr>
                  <a:spLocks/>
                </p:cNvSpPr>
                <p:nvPr/>
              </p:nvSpPr>
              <p:spPr bwMode="auto">
                <a:xfrm flipH="1">
                  <a:off x="127" y="3518"/>
                  <a:ext cx="93" cy="60"/>
                </a:xfrm>
                <a:custGeom>
                  <a:avLst/>
                  <a:gdLst>
                    <a:gd name="T0" fmla="*/ 13 w 107"/>
                    <a:gd name="T1" fmla="*/ 11 h 68"/>
                    <a:gd name="T2" fmla="*/ 3 w 107"/>
                    <a:gd name="T3" fmla="*/ 14 h 68"/>
                    <a:gd name="T4" fmla="*/ 2 w 107"/>
                    <a:gd name="T5" fmla="*/ 11 h 68"/>
                    <a:gd name="T6" fmla="*/ 2 w 107"/>
                    <a:gd name="T7" fmla="*/ 4 h 68"/>
                    <a:gd name="T8" fmla="*/ 3 w 107"/>
                    <a:gd name="T9" fmla="*/ 4 h 68"/>
                    <a:gd name="T10" fmla="*/ 13 w 107"/>
                    <a:gd name="T11" fmla="*/ 0 h 68"/>
                    <a:gd name="T12" fmla="*/ 13 w 107"/>
                    <a:gd name="T13" fmla="*/ 11 h 68"/>
                    <a:gd name="T14" fmla="*/ 0 60000 65536"/>
                    <a:gd name="T15" fmla="*/ 0 60000 65536"/>
                    <a:gd name="T16" fmla="*/ 0 60000 65536"/>
                    <a:gd name="T17" fmla="*/ 0 60000 65536"/>
                    <a:gd name="T18" fmla="*/ 0 60000 65536"/>
                    <a:gd name="T19" fmla="*/ 0 60000 65536"/>
                    <a:gd name="T20" fmla="*/ 0 60000 65536"/>
                    <a:gd name="T21" fmla="*/ 0 w 107"/>
                    <a:gd name="T22" fmla="*/ 0 h 68"/>
                    <a:gd name="T23" fmla="*/ 107 w 107"/>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7" h="68">
                      <a:moveTo>
                        <a:pt x="107" y="48"/>
                      </a:moveTo>
                      <a:cubicBezTo>
                        <a:pt x="72" y="55"/>
                        <a:pt x="40" y="61"/>
                        <a:pt x="3" y="68"/>
                      </a:cubicBezTo>
                      <a:cubicBezTo>
                        <a:pt x="2" y="56"/>
                        <a:pt x="2" y="54"/>
                        <a:pt x="2" y="46"/>
                      </a:cubicBezTo>
                      <a:cubicBezTo>
                        <a:pt x="2" y="38"/>
                        <a:pt x="0" y="23"/>
                        <a:pt x="2" y="18"/>
                      </a:cubicBezTo>
                      <a:lnTo>
                        <a:pt x="14" y="18"/>
                      </a:lnTo>
                      <a:lnTo>
                        <a:pt x="107" y="0"/>
                      </a:lnTo>
                      <a:lnTo>
                        <a:pt x="107" y="48"/>
                      </a:lnTo>
                      <a:close/>
                    </a:path>
                  </a:pathLst>
                </a:custGeom>
                <a:solidFill>
                  <a:srgbClr val="BABABA"/>
                </a:solidFill>
                <a:ln w="9525">
                  <a:noFill/>
                  <a:round/>
                  <a:headEnd/>
                  <a:tailEnd/>
                </a:ln>
              </p:spPr>
              <p:txBody>
                <a:bodyPr/>
                <a:lstStyle/>
                <a:p>
                  <a:pPr algn="ctr" fontAlgn="auto">
                    <a:spcBef>
                      <a:spcPts val="0"/>
                    </a:spcBef>
                    <a:spcAft>
                      <a:spcPts val="0"/>
                    </a:spcAft>
                    <a:defRPr/>
                  </a:pPr>
                  <a:endParaRPr lang="en-US" kern="0">
                    <a:solidFill>
                      <a:sysClr val="windowText" lastClr="000000"/>
                    </a:solidFill>
                    <a:ea typeface="宋体" charset="-122"/>
                  </a:endParaRPr>
                </a:p>
              </p:txBody>
            </p:sp>
            <p:sp>
              <p:nvSpPr>
                <p:cNvPr id="79" name="Freeform 4330">
                  <a:extLst/>
                </p:cNvPr>
                <p:cNvSpPr>
                  <a:spLocks/>
                </p:cNvSpPr>
                <p:nvPr/>
              </p:nvSpPr>
              <p:spPr bwMode="auto">
                <a:xfrm flipH="1">
                  <a:off x="127" y="3574"/>
                  <a:ext cx="93" cy="61"/>
                </a:xfrm>
                <a:custGeom>
                  <a:avLst/>
                  <a:gdLst>
                    <a:gd name="T0" fmla="*/ 13 w 107"/>
                    <a:gd name="T1" fmla="*/ 8 h 72"/>
                    <a:gd name="T2" fmla="*/ 3 w 107"/>
                    <a:gd name="T3" fmla="*/ 11 h 72"/>
                    <a:gd name="T4" fmla="*/ 2 w 107"/>
                    <a:gd name="T5" fmla="*/ 7 h 72"/>
                    <a:gd name="T6" fmla="*/ 2 w 107"/>
                    <a:gd name="T7" fmla="*/ 4 h 72"/>
                    <a:gd name="T8" fmla="*/ 3 w 107"/>
                    <a:gd name="T9" fmla="*/ 4 h 72"/>
                    <a:gd name="T10" fmla="*/ 13 w 107"/>
                    <a:gd name="T11" fmla="*/ 0 h 72"/>
                    <a:gd name="T12" fmla="*/ 13 w 107"/>
                    <a:gd name="T13" fmla="*/ 8 h 72"/>
                    <a:gd name="T14" fmla="*/ 0 60000 65536"/>
                    <a:gd name="T15" fmla="*/ 0 60000 65536"/>
                    <a:gd name="T16" fmla="*/ 0 60000 65536"/>
                    <a:gd name="T17" fmla="*/ 0 60000 65536"/>
                    <a:gd name="T18" fmla="*/ 0 60000 65536"/>
                    <a:gd name="T19" fmla="*/ 0 60000 65536"/>
                    <a:gd name="T20" fmla="*/ 0 60000 65536"/>
                    <a:gd name="T21" fmla="*/ 0 w 107"/>
                    <a:gd name="T22" fmla="*/ 0 h 72"/>
                    <a:gd name="T23" fmla="*/ 107 w 107"/>
                    <a:gd name="T24" fmla="*/ 72 h 7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7" h="72">
                      <a:moveTo>
                        <a:pt x="105" y="53"/>
                      </a:moveTo>
                      <a:cubicBezTo>
                        <a:pt x="70" y="60"/>
                        <a:pt x="40" y="65"/>
                        <a:pt x="3" y="72"/>
                      </a:cubicBezTo>
                      <a:cubicBezTo>
                        <a:pt x="2" y="60"/>
                        <a:pt x="2" y="55"/>
                        <a:pt x="2" y="46"/>
                      </a:cubicBezTo>
                      <a:cubicBezTo>
                        <a:pt x="2" y="37"/>
                        <a:pt x="0" y="23"/>
                        <a:pt x="2" y="18"/>
                      </a:cubicBezTo>
                      <a:lnTo>
                        <a:pt x="14" y="18"/>
                      </a:lnTo>
                      <a:lnTo>
                        <a:pt x="107" y="0"/>
                      </a:lnTo>
                      <a:lnTo>
                        <a:pt x="105" y="53"/>
                      </a:lnTo>
                      <a:close/>
                    </a:path>
                  </a:pathLst>
                </a:custGeom>
                <a:solidFill>
                  <a:srgbClr val="BABABA"/>
                </a:solidFill>
                <a:ln w="9525">
                  <a:noFill/>
                  <a:round/>
                  <a:headEnd/>
                  <a:tailEnd/>
                </a:ln>
              </p:spPr>
              <p:txBody>
                <a:bodyPr/>
                <a:lstStyle/>
                <a:p>
                  <a:pPr algn="ctr" fontAlgn="auto">
                    <a:spcBef>
                      <a:spcPts val="0"/>
                    </a:spcBef>
                    <a:spcAft>
                      <a:spcPts val="0"/>
                    </a:spcAft>
                    <a:defRPr/>
                  </a:pPr>
                  <a:endParaRPr lang="en-US" kern="0">
                    <a:solidFill>
                      <a:sysClr val="windowText" lastClr="000000"/>
                    </a:solidFill>
                    <a:ea typeface="宋体" charset="-122"/>
                  </a:endParaRPr>
                </a:p>
              </p:txBody>
            </p:sp>
            <p:sp>
              <p:nvSpPr>
                <p:cNvPr id="80" name="Freeform 4331">
                  <a:extLst/>
                </p:cNvPr>
                <p:cNvSpPr>
                  <a:spLocks/>
                </p:cNvSpPr>
                <p:nvPr/>
              </p:nvSpPr>
              <p:spPr bwMode="auto">
                <a:xfrm>
                  <a:off x="314" y="3447"/>
                  <a:ext cx="67" cy="24"/>
                </a:xfrm>
                <a:custGeom>
                  <a:avLst/>
                  <a:gdLst>
                    <a:gd name="T0" fmla="*/ 68 w 68"/>
                    <a:gd name="T1" fmla="*/ 3 h 23"/>
                    <a:gd name="T2" fmla="*/ 30 w 68"/>
                    <a:gd name="T3" fmla="*/ 23 h 23"/>
                    <a:gd name="T4" fmla="*/ 0 w 68"/>
                    <a:gd name="T5" fmla="*/ 17 h 23"/>
                    <a:gd name="T6" fmla="*/ 41 w 68"/>
                    <a:gd name="T7" fmla="*/ 0 h 23"/>
                    <a:gd name="T8" fmla="*/ 68 w 68"/>
                    <a:gd name="T9" fmla="*/ 3 h 23"/>
                    <a:gd name="T10" fmla="*/ 0 60000 65536"/>
                    <a:gd name="T11" fmla="*/ 0 60000 65536"/>
                    <a:gd name="T12" fmla="*/ 0 60000 65536"/>
                    <a:gd name="T13" fmla="*/ 0 60000 65536"/>
                    <a:gd name="T14" fmla="*/ 0 60000 65536"/>
                    <a:gd name="T15" fmla="*/ 0 w 68"/>
                    <a:gd name="T16" fmla="*/ 0 h 23"/>
                    <a:gd name="T17" fmla="*/ 68 w 68"/>
                    <a:gd name="T18" fmla="*/ 23 h 23"/>
                  </a:gdLst>
                  <a:ahLst/>
                  <a:cxnLst>
                    <a:cxn ang="T10">
                      <a:pos x="T0" y="T1"/>
                    </a:cxn>
                    <a:cxn ang="T11">
                      <a:pos x="T2" y="T3"/>
                    </a:cxn>
                    <a:cxn ang="T12">
                      <a:pos x="T4" y="T5"/>
                    </a:cxn>
                    <a:cxn ang="T13">
                      <a:pos x="T6" y="T7"/>
                    </a:cxn>
                    <a:cxn ang="T14">
                      <a:pos x="T8" y="T9"/>
                    </a:cxn>
                  </a:cxnLst>
                  <a:rect l="T15" t="T16" r="T17" b="T18"/>
                  <a:pathLst>
                    <a:path w="68" h="23">
                      <a:moveTo>
                        <a:pt x="68" y="3"/>
                      </a:moveTo>
                      <a:lnTo>
                        <a:pt x="30" y="23"/>
                      </a:lnTo>
                      <a:lnTo>
                        <a:pt x="0" y="17"/>
                      </a:lnTo>
                      <a:lnTo>
                        <a:pt x="41" y="0"/>
                      </a:lnTo>
                      <a:lnTo>
                        <a:pt x="68" y="3"/>
                      </a:lnTo>
                      <a:close/>
                    </a:path>
                  </a:pathLst>
                </a:custGeom>
                <a:solidFill>
                  <a:srgbClr val="6E6E6E"/>
                </a:solidFill>
                <a:ln w="9525">
                  <a:noFill/>
                  <a:round/>
                  <a:headEnd/>
                  <a:tailEnd/>
                </a:ln>
              </p:spPr>
              <p:txBody>
                <a:bodyPr/>
                <a:lstStyle/>
                <a:p>
                  <a:pPr algn="ctr" fontAlgn="auto">
                    <a:spcBef>
                      <a:spcPts val="0"/>
                    </a:spcBef>
                    <a:spcAft>
                      <a:spcPts val="0"/>
                    </a:spcAft>
                    <a:defRPr/>
                  </a:pPr>
                  <a:endParaRPr lang="en-US" kern="0">
                    <a:solidFill>
                      <a:sysClr val="windowText" lastClr="000000"/>
                    </a:solidFill>
                    <a:ea typeface="宋体" charset="-122"/>
                  </a:endParaRPr>
                </a:p>
              </p:txBody>
            </p:sp>
          </p:grpSp>
          <p:grpSp>
            <p:nvGrpSpPr>
              <p:cNvPr id="101422" name="Group 4332"/>
              <p:cNvGrpSpPr>
                <a:grpSpLocks/>
              </p:cNvGrpSpPr>
              <p:nvPr/>
            </p:nvGrpSpPr>
            <p:grpSpPr bwMode="auto">
              <a:xfrm>
                <a:off x="1048" y="2780"/>
                <a:ext cx="219" cy="378"/>
                <a:chOff x="1048" y="2780"/>
                <a:chExt cx="219" cy="378"/>
              </a:xfrm>
            </p:grpSpPr>
            <p:sp>
              <p:nvSpPr>
                <p:cNvPr id="44" name="Freeform 4333">
                  <a:extLst/>
                </p:cNvPr>
                <p:cNvSpPr>
                  <a:spLocks/>
                </p:cNvSpPr>
                <p:nvPr/>
              </p:nvSpPr>
              <p:spPr bwMode="auto">
                <a:xfrm>
                  <a:off x="1198" y="2847"/>
                  <a:ext cx="69" cy="79"/>
                </a:xfrm>
                <a:custGeom>
                  <a:avLst/>
                  <a:gdLst>
                    <a:gd name="T0" fmla="*/ 11 w 70"/>
                    <a:gd name="T1" fmla="*/ 13 h 82"/>
                    <a:gd name="T2" fmla="*/ 21 w 70"/>
                    <a:gd name="T3" fmla="*/ 0 h 82"/>
                    <a:gd name="T4" fmla="*/ 24 w 70"/>
                    <a:gd name="T5" fmla="*/ 4 h 82"/>
                    <a:gd name="T6" fmla="*/ 36 w 70"/>
                    <a:gd name="T7" fmla="*/ 13 h 82"/>
                    <a:gd name="T8" fmla="*/ 23 w 70"/>
                    <a:gd name="T9" fmla="*/ 48 h 82"/>
                    <a:gd name="T10" fmla="*/ 17 w 70"/>
                    <a:gd name="T11" fmla="*/ 45 h 82"/>
                    <a:gd name="T12" fmla="*/ 9 w 70"/>
                    <a:gd name="T13" fmla="*/ 32 h 82"/>
                    <a:gd name="T14" fmla="*/ 11 w 70"/>
                    <a:gd name="T15" fmla="*/ 13 h 82"/>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82"/>
                    <a:gd name="T26" fmla="*/ 70 w 70"/>
                    <a:gd name="T27" fmla="*/ 82 h 8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82">
                      <a:moveTo>
                        <a:pt x="23" y="16"/>
                      </a:moveTo>
                      <a:cubicBezTo>
                        <a:pt x="25" y="7"/>
                        <a:pt x="26" y="3"/>
                        <a:pt x="35" y="0"/>
                      </a:cubicBezTo>
                      <a:cubicBezTo>
                        <a:pt x="37" y="1"/>
                        <a:pt x="41" y="4"/>
                        <a:pt x="41" y="4"/>
                      </a:cubicBezTo>
                      <a:cubicBezTo>
                        <a:pt x="70" y="15"/>
                        <a:pt x="67" y="5"/>
                        <a:pt x="67" y="24"/>
                      </a:cubicBezTo>
                      <a:cubicBezTo>
                        <a:pt x="58" y="43"/>
                        <a:pt x="51" y="63"/>
                        <a:pt x="39" y="80"/>
                      </a:cubicBezTo>
                      <a:cubicBezTo>
                        <a:pt x="37" y="82"/>
                        <a:pt x="31" y="76"/>
                        <a:pt x="31" y="76"/>
                      </a:cubicBezTo>
                      <a:cubicBezTo>
                        <a:pt x="7" y="65"/>
                        <a:pt x="0" y="70"/>
                        <a:pt x="9" y="52"/>
                      </a:cubicBezTo>
                      <a:lnTo>
                        <a:pt x="23" y="16"/>
                      </a:lnTo>
                      <a:close/>
                    </a:path>
                  </a:pathLst>
                </a:custGeom>
                <a:solidFill>
                  <a:srgbClr val="735229"/>
                </a:solidFill>
                <a:ln w="12700">
                  <a:no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45" name="Freeform 4334">
                  <a:extLst/>
                </p:cNvPr>
                <p:cNvSpPr>
                  <a:spLocks/>
                </p:cNvSpPr>
                <p:nvPr/>
              </p:nvSpPr>
              <p:spPr bwMode="auto">
                <a:xfrm>
                  <a:off x="1196" y="2847"/>
                  <a:ext cx="63" cy="79"/>
                </a:xfrm>
                <a:custGeom>
                  <a:avLst/>
                  <a:gdLst>
                    <a:gd name="T0" fmla="*/ 0 w 62"/>
                    <a:gd name="T1" fmla="*/ 43 h 80"/>
                    <a:gd name="T2" fmla="*/ 31 w 62"/>
                    <a:gd name="T3" fmla="*/ 48 h 80"/>
                    <a:gd name="T4" fmla="*/ 48 w 62"/>
                    <a:gd name="T5" fmla="*/ 17 h 80"/>
                    <a:gd name="T6" fmla="*/ 30 w 62"/>
                    <a:gd name="T7" fmla="*/ 7 h 80"/>
                    <a:gd name="T8" fmla="*/ 0 w 62"/>
                    <a:gd name="T9" fmla="*/ 43 h 80"/>
                    <a:gd name="T10" fmla="*/ 0 60000 65536"/>
                    <a:gd name="T11" fmla="*/ 0 60000 65536"/>
                    <a:gd name="T12" fmla="*/ 0 60000 65536"/>
                    <a:gd name="T13" fmla="*/ 0 60000 65536"/>
                    <a:gd name="T14" fmla="*/ 0 60000 65536"/>
                    <a:gd name="T15" fmla="*/ 0 w 62"/>
                    <a:gd name="T16" fmla="*/ 0 h 80"/>
                    <a:gd name="T17" fmla="*/ 62 w 62"/>
                    <a:gd name="T18" fmla="*/ 80 h 80"/>
                  </a:gdLst>
                  <a:ahLst/>
                  <a:cxnLst>
                    <a:cxn ang="T10">
                      <a:pos x="T0" y="T1"/>
                    </a:cxn>
                    <a:cxn ang="T11">
                      <a:pos x="T2" y="T3"/>
                    </a:cxn>
                    <a:cxn ang="T12">
                      <a:pos x="T4" y="T5"/>
                    </a:cxn>
                    <a:cxn ang="T13">
                      <a:pos x="T6" y="T7"/>
                    </a:cxn>
                    <a:cxn ang="T14">
                      <a:pos x="T8" y="T9"/>
                    </a:cxn>
                  </a:cxnLst>
                  <a:rect l="T15" t="T16" r="T17" b="T18"/>
                  <a:pathLst>
                    <a:path w="62" h="80">
                      <a:moveTo>
                        <a:pt x="0" y="57"/>
                      </a:moveTo>
                      <a:cubicBezTo>
                        <a:pt x="39" y="67"/>
                        <a:pt x="38" y="80"/>
                        <a:pt x="38" y="65"/>
                      </a:cubicBezTo>
                      <a:lnTo>
                        <a:pt x="62" y="17"/>
                      </a:lnTo>
                      <a:cubicBezTo>
                        <a:pt x="62" y="19"/>
                        <a:pt x="40" y="0"/>
                        <a:pt x="30" y="7"/>
                      </a:cubicBezTo>
                      <a:lnTo>
                        <a:pt x="0" y="57"/>
                      </a:lnTo>
                      <a:close/>
                    </a:path>
                  </a:pathLst>
                </a:custGeom>
                <a:solidFill>
                  <a:srgbClr val="F7F7F7"/>
                </a:solidFill>
                <a:ln w="12700">
                  <a:no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46" name="Freeform 4335">
                  <a:extLst/>
                </p:cNvPr>
                <p:cNvSpPr>
                  <a:spLocks/>
                </p:cNvSpPr>
                <p:nvPr/>
              </p:nvSpPr>
              <p:spPr bwMode="auto">
                <a:xfrm>
                  <a:off x="1058" y="2799"/>
                  <a:ext cx="204" cy="148"/>
                </a:xfrm>
                <a:custGeom>
                  <a:avLst/>
                  <a:gdLst>
                    <a:gd name="T0" fmla="*/ 83 w 202"/>
                    <a:gd name="T1" fmla="*/ 52 h 151"/>
                    <a:gd name="T2" fmla="*/ 95 w 202"/>
                    <a:gd name="T3" fmla="*/ 39 h 151"/>
                    <a:gd name="T4" fmla="*/ 99 w 202"/>
                    <a:gd name="T5" fmla="*/ 23 h 151"/>
                    <a:gd name="T6" fmla="*/ 87 w 202"/>
                    <a:gd name="T7" fmla="*/ 0 h 151"/>
                    <a:gd name="T8" fmla="*/ 50 w 202"/>
                    <a:gd name="T9" fmla="*/ 27 h 151"/>
                    <a:gd name="T10" fmla="*/ 31 w 202"/>
                    <a:gd name="T11" fmla="*/ 62 h 151"/>
                    <a:gd name="T12" fmla="*/ 0 w 202"/>
                    <a:gd name="T13" fmla="*/ 101 h 151"/>
                    <a:gd name="T14" fmla="*/ 34 w 202"/>
                    <a:gd name="T15" fmla="*/ 145 h 151"/>
                    <a:gd name="T16" fmla="*/ 50 w 202"/>
                    <a:gd name="T17" fmla="*/ 151 h 151"/>
                    <a:gd name="T18" fmla="*/ 54 w 202"/>
                    <a:gd name="T19" fmla="*/ 128 h 151"/>
                    <a:gd name="T20" fmla="*/ 36 w 202"/>
                    <a:gd name="T21" fmla="*/ 128 h 151"/>
                    <a:gd name="T22" fmla="*/ 20 w 202"/>
                    <a:gd name="T23" fmla="*/ 102 h 151"/>
                    <a:gd name="T24" fmla="*/ 47 w 202"/>
                    <a:gd name="T25" fmla="*/ 79 h 151"/>
                    <a:gd name="T26" fmla="*/ 93 w 202"/>
                    <a:gd name="T27" fmla="*/ 99 h 151"/>
                    <a:gd name="T28" fmla="*/ 120 w 202"/>
                    <a:gd name="T29" fmla="*/ 138 h 151"/>
                    <a:gd name="T30" fmla="*/ 168 w 202"/>
                    <a:gd name="T31" fmla="*/ 113 h 151"/>
                    <a:gd name="T32" fmla="*/ 190 w 202"/>
                    <a:gd name="T33" fmla="*/ 110 h 151"/>
                    <a:gd name="T34" fmla="*/ 201 w 202"/>
                    <a:gd name="T35" fmla="*/ 97 h 151"/>
                    <a:gd name="T36" fmla="*/ 197 w 202"/>
                    <a:gd name="T37" fmla="*/ 81 h 151"/>
                    <a:gd name="T38" fmla="*/ 194 w 202"/>
                    <a:gd name="T39" fmla="*/ 87 h 151"/>
                    <a:gd name="T40" fmla="*/ 180 w 202"/>
                    <a:gd name="T41" fmla="*/ 97 h 151"/>
                    <a:gd name="T42" fmla="*/ 168 w 202"/>
                    <a:gd name="T43" fmla="*/ 87 h 151"/>
                    <a:gd name="T44" fmla="*/ 162 w 202"/>
                    <a:gd name="T45" fmla="*/ 102 h 151"/>
                    <a:gd name="T46" fmla="*/ 124 w 202"/>
                    <a:gd name="T47" fmla="*/ 113 h 151"/>
                    <a:gd name="T48" fmla="*/ 99 w 202"/>
                    <a:gd name="T49" fmla="*/ 73 h 151"/>
                    <a:gd name="T50" fmla="*/ 83 w 202"/>
                    <a:gd name="T51" fmla="*/ 52 h 1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02"/>
                    <a:gd name="T79" fmla="*/ 0 h 151"/>
                    <a:gd name="T80" fmla="*/ 202 w 202"/>
                    <a:gd name="T81" fmla="*/ 151 h 15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02" h="151">
                      <a:moveTo>
                        <a:pt x="83" y="52"/>
                      </a:moveTo>
                      <a:cubicBezTo>
                        <a:pt x="95" y="57"/>
                        <a:pt x="93" y="43"/>
                        <a:pt x="95" y="39"/>
                      </a:cubicBezTo>
                      <a:cubicBezTo>
                        <a:pt x="97" y="34"/>
                        <a:pt x="99" y="23"/>
                        <a:pt x="99" y="23"/>
                      </a:cubicBezTo>
                      <a:cubicBezTo>
                        <a:pt x="95" y="16"/>
                        <a:pt x="96" y="9"/>
                        <a:pt x="87" y="0"/>
                      </a:cubicBezTo>
                      <a:cubicBezTo>
                        <a:pt x="45" y="4"/>
                        <a:pt x="48" y="0"/>
                        <a:pt x="50" y="27"/>
                      </a:cubicBezTo>
                      <a:cubicBezTo>
                        <a:pt x="53" y="49"/>
                        <a:pt x="48" y="57"/>
                        <a:pt x="31" y="62"/>
                      </a:cubicBezTo>
                      <a:cubicBezTo>
                        <a:pt x="22" y="74"/>
                        <a:pt x="0" y="87"/>
                        <a:pt x="0" y="101"/>
                      </a:cubicBezTo>
                      <a:cubicBezTo>
                        <a:pt x="2" y="118"/>
                        <a:pt x="26" y="136"/>
                        <a:pt x="34" y="145"/>
                      </a:cubicBezTo>
                      <a:cubicBezTo>
                        <a:pt x="39" y="149"/>
                        <a:pt x="46" y="148"/>
                        <a:pt x="50" y="151"/>
                      </a:cubicBezTo>
                      <a:cubicBezTo>
                        <a:pt x="61" y="144"/>
                        <a:pt x="58" y="141"/>
                        <a:pt x="54" y="128"/>
                      </a:cubicBezTo>
                      <a:cubicBezTo>
                        <a:pt x="36" y="130"/>
                        <a:pt x="47" y="139"/>
                        <a:pt x="36" y="128"/>
                      </a:cubicBezTo>
                      <a:cubicBezTo>
                        <a:pt x="35" y="124"/>
                        <a:pt x="19" y="106"/>
                        <a:pt x="20" y="102"/>
                      </a:cubicBezTo>
                      <a:cubicBezTo>
                        <a:pt x="20" y="96"/>
                        <a:pt x="41" y="86"/>
                        <a:pt x="47" y="79"/>
                      </a:cubicBezTo>
                      <a:cubicBezTo>
                        <a:pt x="68" y="82"/>
                        <a:pt x="74" y="89"/>
                        <a:pt x="93" y="99"/>
                      </a:cubicBezTo>
                      <a:cubicBezTo>
                        <a:pt x="100" y="112"/>
                        <a:pt x="106" y="130"/>
                        <a:pt x="120" y="138"/>
                      </a:cubicBezTo>
                      <a:cubicBezTo>
                        <a:pt x="132" y="134"/>
                        <a:pt x="156" y="118"/>
                        <a:pt x="168" y="113"/>
                      </a:cubicBezTo>
                      <a:cubicBezTo>
                        <a:pt x="178" y="111"/>
                        <a:pt x="174" y="112"/>
                        <a:pt x="190" y="110"/>
                      </a:cubicBezTo>
                      <a:cubicBezTo>
                        <a:pt x="197" y="104"/>
                        <a:pt x="195" y="102"/>
                        <a:pt x="201" y="97"/>
                      </a:cubicBezTo>
                      <a:cubicBezTo>
                        <a:pt x="199" y="92"/>
                        <a:pt x="202" y="85"/>
                        <a:pt x="197" y="81"/>
                      </a:cubicBezTo>
                      <a:cubicBezTo>
                        <a:pt x="195" y="80"/>
                        <a:pt x="195" y="86"/>
                        <a:pt x="194" y="87"/>
                      </a:cubicBezTo>
                      <a:cubicBezTo>
                        <a:pt x="192" y="89"/>
                        <a:pt x="182" y="95"/>
                        <a:pt x="180" y="97"/>
                      </a:cubicBezTo>
                      <a:cubicBezTo>
                        <a:pt x="170" y="73"/>
                        <a:pt x="180" y="85"/>
                        <a:pt x="168" y="87"/>
                      </a:cubicBezTo>
                      <a:cubicBezTo>
                        <a:pt x="166" y="106"/>
                        <a:pt x="167" y="95"/>
                        <a:pt x="162" y="102"/>
                      </a:cubicBezTo>
                      <a:cubicBezTo>
                        <a:pt x="151" y="108"/>
                        <a:pt x="128" y="115"/>
                        <a:pt x="124" y="113"/>
                      </a:cubicBezTo>
                      <a:cubicBezTo>
                        <a:pt x="117" y="105"/>
                        <a:pt x="105" y="84"/>
                        <a:pt x="99" y="73"/>
                      </a:cubicBezTo>
                      <a:cubicBezTo>
                        <a:pt x="88" y="58"/>
                        <a:pt x="64" y="64"/>
                        <a:pt x="83" y="52"/>
                      </a:cubicBezTo>
                      <a:close/>
                    </a:path>
                  </a:pathLst>
                </a:custGeom>
                <a:solidFill>
                  <a:srgbClr val="A86A3C"/>
                </a:solidFill>
                <a:ln w="12700">
                  <a:no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47" name="Freeform 4336">
                  <a:extLst/>
                </p:cNvPr>
                <p:cNvSpPr>
                  <a:spLocks/>
                </p:cNvSpPr>
                <p:nvPr/>
              </p:nvSpPr>
              <p:spPr bwMode="auto">
                <a:xfrm>
                  <a:off x="1098" y="2786"/>
                  <a:ext cx="54" cy="64"/>
                </a:xfrm>
                <a:custGeom>
                  <a:avLst/>
                  <a:gdLst>
                    <a:gd name="T0" fmla="*/ 52 w 55"/>
                    <a:gd name="T1" fmla="*/ 22 h 64"/>
                    <a:gd name="T2" fmla="*/ 40 w 55"/>
                    <a:gd name="T3" fmla="*/ 22 h 64"/>
                    <a:gd name="T4" fmla="*/ 37 w 55"/>
                    <a:gd name="T5" fmla="*/ 38 h 64"/>
                    <a:gd name="T6" fmla="*/ 26 w 55"/>
                    <a:gd name="T7" fmla="*/ 52 h 64"/>
                    <a:gd name="T8" fmla="*/ 11 w 55"/>
                    <a:gd name="T9" fmla="*/ 51 h 64"/>
                    <a:gd name="T10" fmla="*/ 9 w 55"/>
                    <a:gd name="T11" fmla="*/ 17 h 64"/>
                    <a:gd name="T12" fmla="*/ 21 w 55"/>
                    <a:gd name="T13" fmla="*/ 8 h 64"/>
                    <a:gd name="T14" fmla="*/ 50 w 55"/>
                    <a:gd name="T15" fmla="*/ 12 h 64"/>
                    <a:gd name="T16" fmla="*/ 52 w 55"/>
                    <a:gd name="T17" fmla="*/ 22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
                    <a:gd name="T28" fmla="*/ 0 h 64"/>
                    <a:gd name="T29" fmla="*/ 55 w 55"/>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 h="64">
                      <a:moveTo>
                        <a:pt x="52" y="22"/>
                      </a:moveTo>
                      <a:cubicBezTo>
                        <a:pt x="55" y="29"/>
                        <a:pt x="48" y="17"/>
                        <a:pt x="40" y="22"/>
                      </a:cubicBezTo>
                      <a:cubicBezTo>
                        <a:pt x="46" y="35"/>
                        <a:pt x="45" y="44"/>
                        <a:pt x="37" y="38"/>
                      </a:cubicBezTo>
                      <a:cubicBezTo>
                        <a:pt x="30" y="48"/>
                        <a:pt x="40" y="49"/>
                        <a:pt x="26" y="52"/>
                      </a:cubicBezTo>
                      <a:cubicBezTo>
                        <a:pt x="20" y="59"/>
                        <a:pt x="6" y="64"/>
                        <a:pt x="11" y="51"/>
                      </a:cubicBezTo>
                      <a:cubicBezTo>
                        <a:pt x="7" y="43"/>
                        <a:pt x="0" y="24"/>
                        <a:pt x="9" y="17"/>
                      </a:cubicBezTo>
                      <a:cubicBezTo>
                        <a:pt x="13" y="13"/>
                        <a:pt x="11" y="8"/>
                        <a:pt x="21" y="8"/>
                      </a:cubicBezTo>
                      <a:cubicBezTo>
                        <a:pt x="25" y="3"/>
                        <a:pt x="32" y="0"/>
                        <a:pt x="50" y="12"/>
                      </a:cubicBezTo>
                      <a:cubicBezTo>
                        <a:pt x="52" y="15"/>
                        <a:pt x="48" y="36"/>
                        <a:pt x="52" y="22"/>
                      </a:cubicBezTo>
                      <a:close/>
                    </a:path>
                  </a:pathLst>
                </a:custGeom>
                <a:solidFill>
                  <a:srgbClr val="584536"/>
                </a:solidFill>
                <a:ln w="12700">
                  <a:no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48" name="Freeform 4337">
                  <a:extLst/>
                </p:cNvPr>
                <p:cNvSpPr>
                  <a:spLocks/>
                </p:cNvSpPr>
                <p:nvPr/>
              </p:nvSpPr>
              <p:spPr bwMode="auto">
                <a:xfrm>
                  <a:off x="1152" y="3135"/>
                  <a:ext cx="68" cy="23"/>
                </a:xfrm>
                <a:custGeom>
                  <a:avLst/>
                  <a:gdLst>
                    <a:gd name="T0" fmla="*/ 0 w 71"/>
                    <a:gd name="T1" fmla="*/ 13 h 26"/>
                    <a:gd name="T2" fmla="*/ 11 w 71"/>
                    <a:gd name="T3" fmla="*/ 13 h 26"/>
                    <a:gd name="T4" fmla="*/ 30 w 71"/>
                    <a:gd name="T5" fmla="*/ 13 h 26"/>
                    <a:gd name="T6" fmla="*/ 14 w 71"/>
                    <a:gd name="T7" fmla="*/ 0 h 26"/>
                    <a:gd name="T8" fmla="*/ 0 w 71"/>
                    <a:gd name="T9" fmla="*/ 13 h 26"/>
                    <a:gd name="T10" fmla="*/ 0 60000 65536"/>
                    <a:gd name="T11" fmla="*/ 0 60000 65536"/>
                    <a:gd name="T12" fmla="*/ 0 60000 65536"/>
                    <a:gd name="T13" fmla="*/ 0 60000 65536"/>
                    <a:gd name="T14" fmla="*/ 0 60000 65536"/>
                    <a:gd name="T15" fmla="*/ 0 w 71"/>
                    <a:gd name="T16" fmla="*/ 0 h 26"/>
                    <a:gd name="T17" fmla="*/ 71 w 71"/>
                    <a:gd name="T18" fmla="*/ 26 h 26"/>
                  </a:gdLst>
                  <a:ahLst/>
                  <a:cxnLst>
                    <a:cxn ang="T10">
                      <a:pos x="T0" y="T1"/>
                    </a:cxn>
                    <a:cxn ang="T11">
                      <a:pos x="T2" y="T3"/>
                    </a:cxn>
                    <a:cxn ang="T12">
                      <a:pos x="T4" y="T5"/>
                    </a:cxn>
                    <a:cxn ang="T13">
                      <a:pos x="T6" y="T7"/>
                    </a:cxn>
                    <a:cxn ang="T14">
                      <a:pos x="T8" y="T9"/>
                    </a:cxn>
                  </a:cxnLst>
                  <a:rect l="T15" t="T16" r="T17" b="T18"/>
                  <a:pathLst>
                    <a:path w="71" h="26">
                      <a:moveTo>
                        <a:pt x="0" y="18"/>
                      </a:moveTo>
                      <a:cubicBezTo>
                        <a:pt x="0" y="26"/>
                        <a:pt x="8" y="25"/>
                        <a:pt x="22" y="24"/>
                      </a:cubicBezTo>
                      <a:cubicBezTo>
                        <a:pt x="22" y="20"/>
                        <a:pt x="52" y="20"/>
                        <a:pt x="54" y="18"/>
                      </a:cubicBezTo>
                      <a:cubicBezTo>
                        <a:pt x="71" y="6"/>
                        <a:pt x="35" y="2"/>
                        <a:pt x="28" y="0"/>
                      </a:cubicBezTo>
                      <a:cubicBezTo>
                        <a:pt x="19" y="3"/>
                        <a:pt x="4" y="10"/>
                        <a:pt x="0" y="18"/>
                      </a:cubicBezTo>
                      <a:close/>
                    </a:path>
                  </a:pathLst>
                </a:custGeom>
                <a:solidFill>
                  <a:srgbClr val="7F5C3D"/>
                </a:solidFill>
                <a:ln w="12700">
                  <a:no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49" name="Freeform 4338">
                  <a:extLst/>
                </p:cNvPr>
                <p:cNvSpPr>
                  <a:spLocks/>
                </p:cNvSpPr>
                <p:nvPr/>
              </p:nvSpPr>
              <p:spPr bwMode="auto">
                <a:xfrm>
                  <a:off x="1097" y="3117"/>
                  <a:ext cx="46" cy="35"/>
                </a:xfrm>
                <a:custGeom>
                  <a:avLst/>
                  <a:gdLst>
                    <a:gd name="T0" fmla="*/ 0 w 48"/>
                    <a:gd name="T1" fmla="*/ 32 h 40"/>
                    <a:gd name="T2" fmla="*/ 12 w 48"/>
                    <a:gd name="T3" fmla="*/ 38 h 40"/>
                    <a:gd name="T4" fmla="*/ 27 w 48"/>
                    <a:gd name="T5" fmla="*/ 16 h 40"/>
                    <a:gd name="T6" fmla="*/ 12 w 48"/>
                    <a:gd name="T7" fmla="*/ 8 h 40"/>
                    <a:gd name="T8" fmla="*/ 0 w 48"/>
                    <a:gd name="T9" fmla="*/ 32 h 40"/>
                    <a:gd name="T10" fmla="*/ 0 60000 65536"/>
                    <a:gd name="T11" fmla="*/ 0 60000 65536"/>
                    <a:gd name="T12" fmla="*/ 0 60000 65536"/>
                    <a:gd name="T13" fmla="*/ 0 60000 65536"/>
                    <a:gd name="T14" fmla="*/ 0 60000 65536"/>
                    <a:gd name="T15" fmla="*/ 0 w 48"/>
                    <a:gd name="T16" fmla="*/ 0 h 40"/>
                    <a:gd name="T17" fmla="*/ 48 w 48"/>
                    <a:gd name="T18" fmla="*/ 40 h 40"/>
                  </a:gdLst>
                  <a:ahLst/>
                  <a:cxnLst>
                    <a:cxn ang="T10">
                      <a:pos x="T0" y="T1"/>
                    </a:cxn>
                    <a:cxn ang="T11">
                      <a:pos x="T2" y="T3"/>
                    </a:cxn>
                    <a:cxn ang="T12">
                      <a:pos x="T4" y="T5"/>
                    </a:cxn>
                    <a:cxn ang="T13">
                      <a:pos x="T6" y="T7"/>
                    </a:cxn>
                    <a:cxn ang="T14">
                      <a:pos x="T8" y="T9"/>
                    </a:cxn>
                  </a:cxnLst>
                  <a:rect l="T15" t="T16" r="T17" b="T18"/>
                  <a:pathLst>
                    <a:path w="48" h="40">
                      <a:moveTo>
                        <a:pt x="0" y="32"/>
                      </a:moveTo>
                      <a:cubicBezTo>
                        <a:pt x="0" y="40"/>
                        <a:pt x="8" y="39"/>
                        <a:pt x="22" y="38"/>
                      </a:cubicBezTo>
                      <a:cubicBezTo>
                        <a:pt x="22" y="28"/>
                        <a:pt x="44" y="32"/>
                        <a:pt x="46" y="16"/>
                      </a:cubicBezTo>
                      <a:cubicBezTo>
                        <a:pt x="48" y="0"/>
                        <a:pt x="27" y="10"/>
                        <a:pt x="20" y="8"/>
                      </a:cubicBezTo>
                      <a:cubicBezTo>
                        <a:pt x="11" y="11"/>
                        <a:pt x="4" y="24"/>
                        <a:pt x="0" y="32"/>
                      </a:cubicBezTo>
                      <a:close/>
                    </a:path>
                  </a:pathLst>
                </a:custGeom>
                <a:solidFill>
                  <a:srgbClr val="7F5C3D"/>
                </a:solidFill>
                <a:ln w="12700">
                  <a:no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50" name="Freeform 4339">
                  <a:extLst/>
                </p:cNvPr>
                <p:cNvSpPr>
                  <a:spLocks/>
                </p:cNvSpPr>
                <p:nvPr/>
              </p:nvSpPr>
              <p:spPr bwMode="auto">
                <a:xfrm>
                  <a:off x="1087" y="2953"/>
                  <a:ext cx="101" cy="199"/>
                </a:xfrm>
                <a:custGeom>
                  <a:avLst/>
                  <a:gdLst>
                    <a:gd name="T0" fmla="*/ 7 w 109"/>
                    <a:gd name="T1" fmla="*/ 0 h 214"/>
                    <a:gd name="T2" fmla="*/ 5 w 109"/>
                    <a:gd name="T3" fmla="*/ 12 h 214"/>
                    <a:gd name="T4" fmla="*/ 5 w 109"/>
                    <a:gd name="T5" fmla="*/ 21 h 214"/>
                    <a:gd name="T6" fmla="*/ 3 w 109"/>
                    <a:gd name="T7" fmla="*/ 44 h 214"/>
                    <a:gd name="T8" fmla="*/ 7 w 109"/>
                    <a:gd name="T9" fmla="*/ 79 h 214"/>
                    <a:gd name="T10" fmla="*/ 14 w 109"/>
                    <a:gd name="T11" fmla="*/ 79 h 214"/>
                    <a:gd name="T12" fmla="*/ 18 w 109"/>
                    <a:gd name="T13" fmla="*/ 68 h 214"/>
                    <a:gd name="T14" fmla="*/ 19 w 109"/>
                    <a:gd name="T15" fmla="*/ 30 h 214"/>
                    <a:gd name="T16" fmla="*/ 24 w 109"/>
                    <a:gd name="T17" fmla="*/ 48 h 214"/>
                    <a:gd name="T18" fmla="*/ 28 w 109"/>
                    <a:gd name="T19" fmla="*/ 83 h 214"/>
                    <a:gd name="T20" fmla="*/ 43 w 109"/>
                    <a:gd name="T21" fmla="*/ 77 h 214"/>
                    <a:gd name="T22" fmla="*/ 39 w 109"/>
                    <a:gd name="T23" fmla="*/ 68 h 214"/>
                    <a:gd name="T24" fmla="*/ 38 w 109"/>
                    <a:gd name="T25" fmla="*/ 40 h 214"/>
                    <a:gd name="T26" fmla="*/ 32 w 109"/>
                    <a:gd name="T27" fmla="*/ 13 h 214"/>
                    <a:gd name="T28" fmla="*/ 27 w 109"/>
                    <a:gd name="T29" fmla="*/ 6 h 214"/>
                    <a:gd name="T30" fmla="*/ 10 w 109"/>
                    <a:gd name="T31" fmla="*/ 7 h 214"/>
                    <a:gd name="T32" fmla="*/ 7 w 109"/>
                    <a:gd name="T33" fmla="*/ 0 h 2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9"/>
                    <a:gd name="T52" fmla="*/ 0 h 214"/>
                    <a:gd name="T53" fmla="*/ 109 w 109"/>
                    <a:gd name="T54" fmla="*/ 214 h 2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9" h="214">
                      <a:moveTo>
                        <a:pt x="17" y="0"/>
                      </a:moveTo>
                      <a:cubicBezTo>
                        <a:pt x="11" y="18"/>
                        <a:pt x="9" y="11"/>
                        <a:pt x="5" y="31"/>
                      </a:cubicBezTo>
                      <a:cubicBezTo>
                        <a:pt x="7" y="42"/>
                        <a:pt x="1" y="41"/>
                        <a:pt x="5" y="54"/>
                      </a:cubicBezTo>
                      <a:cubicBezTo>
                        <a:pt x="5" y="68"/>
                        <a:pt x="3" y="115"/>
                        <a:pt x="3" y="115"/>
                      </a:cubicBezTo>
                      <a:cubicBezTo>
                        <a:pt x="0" y="161"/>
                        <a:pt x="7" y="158"/>
                        <a:pt x="8" y="205"/>
                      </a:cubicBezTo>
                      <a:cubicBezTo>
                        <a:pt x="18" y="210"/>
                        <a:pt x="32" y="208"/>
                        <a:pt x="34" y="204"/>
                      </a:cubicBezTo>
                      <a:cubicBezTo>
                        <a:pt x="39" y="192"/>
                        <a:pt x="55" y="184"/>
                        <a:pt x="44" y="176"/>
                      </a:cubicBezTo>
                      <a:cubicBezTo>
                        <a:pt x="34" y="155"/>
                        <a:pt x="46" y="104"/>
                        <a:pt x="46" y="77"/>
                      </a:cubicBezTo>
                      <a:cubicBezTo>
                        <a:pt x="50" y="91"/>
                        <a:pt x="51" y="112"/>
                        <a:pt x="62" y="124"/>
                      </a:cubicBezTo>
                      <a:cubicBezTo>
                        <a:pt x="64" y="158"/>
                        <a:pt x="62" y="199"/>
                        <a:pt x="71" y="214"/>
                      </a:cubicBezTo>
                      <a:cubicBezTo>
                        <a:pt x="82" y="211"/>
                        <a:pt x="101" y="211"/>
                        <a:pt x="109" y="199"/>
                      </a:cubicBezTo>
                      <a:cubicBezTo>
                        <a:pt x="104" y="183"/>
                        <a:pt x="107" y="189"/>
                        <a:pt x="100" y="176"/>
                      </a:cubicBezTo>
                      <a:cubicBezTo>
                        <a:pt x="98" y="148"/>
                        <a:pt x="100" y="128"/>
                        <a:pt x="96" y="102"/>
                      </a:cubicBezTo>
                      <a:cubicBezTo>
                        <a:pt x="92" y="76"/>
                        <a:pt x="83" y="49"/>
                        <a:pt x="80" y="32"/>
                      </a:cubicBezTo>
                      <a:cubicBezTo>
                        <a:pt x="79" y="26"/>
                        <a:pt x="68" y="6"/>
                        <a:pt x="68" y="6"/>
                      </a:cubicBezTo>
                      <a:cubicBezTo>
                        <a:pt x="50" y="11"/>
                        <a:pt x="44" y="14"/>
                        <a:pt x="26" y="11"/>
                      </a:cubicBezTo>
                      <a:cubicBezTo>
                        <a:pt x="15" y="5"/>
                        <a:pt x="17" y="10"/>
                        <a:pt x="17" y="0"/>
                      </a:cubicBezTo>
                      <a:close/>
                    </a:path>
                  </a:pathLst>
                </a:custGeom>
                <a:solidFill>
                  <a:srgbClr val="2F4057"/>
                </a:solidFill>
                <a:ln w="12700">
                  <a:no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51" name="Freeform 4340">
                  <a:extLst/>
                </p:cNvPr>
                <p:cNvSpPr>
                  <a:spLocks/>
                </p:cNvSpPr>
                <p:nvPr/>
              </p:nvSpPr>
              <p:spPr bwMode="auto">
                <a:xfrm>
                  <a:off x="1048" y="2839"/>
                  <a:ext cx="135" cy="131"/>
                </a:xfrm>
                <a:custGeom>
                  <a:avLst/>
                  <a:gdLst>
                    <a:gd name="T0" fmla="*/ 53 w 145"/>
                    <a:gd name="T1" fmla="*/ 27 h 140"/>
                    <a:gd name="T2" fmla="*/ 44 w 145"/>
                    <a:gd name="T3" fmla="*/ 32 h 140"/>
                    <a:gd name="T4" fmla="*/ 43 w 145"/>
                    <a:gd name="T5" fmla="*/ 46 h 140"/>
                    <a:gd name="T6" fmla="*/ 35 w 145"/>
                    <a:gd name="T7" fmla="*/ 50 h 140"/>
                    <a:gd name="T8" fmla="*/ 22 w 145"/>
                    <a:gd name="T9" fmla="*/ 46 h 140"/>
                    <a:gd name="T10" fmla="*/ 19 w 145"/>
                    <a:gd name="T11" fmla="*/ 46 h 140"/>
                    <a:gd name="T12" fmla="*/ 18 w 145"/>
                    <a:gd name="T13" fmla="*/ 37 h 140"/>
                    <a:gd name="T14" fmla="*/ 18 w 145"/>
                    <a:gd name="T15" fmla="*/ 30 h 140"/>
                    <a:gd name="T16" fmla="*/ 17 w 145"/>
                    <a:gd name="T17" fmla="*/ 23 h 140"/>
                    <a:gd name="T18" fmla="*/ 9 w 145"/>
                    <a:gd name="T19" fmla="*/ 25 h 140"/>
                    <a:gd name="T20" fmla="*/ 7 w 145"/>
                    <a:gd name="T21" fmla="*/ 18 h 140"/>
                    <a:gd name="T22" fmla="*/ 16 w 145"/>
                    <a:gd name="T23" fmla="*/ 9 h 140"/>
                    <a:gd name="T24" fmla="*/ 20 w 145"/>
                    <a:gd name="T25" fmla="*/ 6 h 140"/>
                    <a:gd name="T26" fmla="*/ 24 w 145"/>
                    <a:gd name="T27" fmla="*/ 5 h 140"/>
                    <a:gd name="T28" fmla="*/ 32 w 145"/>
                    <a:gd name="T29" fmla="*/ 6 h 140"/>
                    <a:gd name="T30" fmla="*/ 42 w 145"/>
                    <a:gd name="T31" fmla="*/ 11 h 140"/>
                    <a:gd name="T32" fmla="*/ 48 w 145"/>
                    <a:gd name="T33" fmla="*/ 18 h 140"/>
                    <a:gd name="T34" fmla="*/ 53 w 145"/>
                    <a:gd name="T35" fmla="*/ 27 h 14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5"/>
                    <a:gd name="T55" fmla="*/ 0 h 140"/>
                    <a:gd name="T56" fmla="*/ 145 w 145"/>
                    <a:gd name="T57" fmla="*/ 140 h 14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5" h="140">
                      <a:moveTo>
                        <a:pt x="145" y="76"/>
                      </a:moveTo>
                      <a:cubicBezTo>
                        <a:pt x="141" y="88"/>
                        <a:pt x="132" y="89"/>
                        <a:pt x="120" y="92"/>
                      </a:cubicBezTo>
                      <a:cubicBezTo>
                        <a:pt x="114" y="82"/>
                        <a:pt x="112" y="109"/>
                        <a:pt x="116" y="128"/>
                      </a:cubicBezTo>
                      <a:cubicBezTo>
                        <a:pt x="110" y="136"/>
                        <a:pt x="113" y="139"/>
                        <a:pt x="97" y="140"/>
                      </a:cubicBezTo>
                      <a:cubicBezTo>
                        <a:pt x="87" y="137"/>
                        <a:pt x="71" y="137"/>
                        <a:pt x="60" y="134"/>
                      </a:cubicBezTo>
                      <a:cubicBezTo>
                        <a:pt x="57" y="133"/>
                        <a:pt x="52" y="132"/>
                        <a:pt x="52" y="132"/>
                      </a:cubicBezTo>
                      <a:cubicBezTo>
                        <a:pt x="48" y="120"/>
                        <a:pt x="43" y="122"/>
                        <a:pt x="48" y="107"/>
                      </a:cubicBezTo>
                      <a:cubicBezTo>
                        <a:pt x="49" y="103"/>
                        <a:pt x="52" y="99"/>
                        <a:pt x="48" y="85"/>
                      </a:cubicBezTo>
                      <a:cubicBezTo>
                        <a:pt x="46" y="69"/>
                        <a:pt x="48" y="80"/>
                        <a:pt x="46" y="65"/>
                      </a:cubicBezTo>
                      <a:cubicBezTo>
                        <a:pt x="30" y="69"/>
                        <a:pt x="44" y="73"/>
                        <a:pt x="25" y="69"/>
                      </a:cubicBezTo>
                      <a:cubicBezTo>
                        <a:pt x="13" y="64"/>
                        <a:pt x="0" y="62"/>
                        <a:pt x="17" y="51"/>
                      </a:cubicBezTo>
                      <a:cubicBezTo>
                        <a:pt x="23" y="38"/>
                        <a:pt x="29" y="32"/>
                        <a:pt x="41" y="26"/>
                      </a:cubicBezTo>
                      <a:cubicBezTo>
                        <a:pt x="52" y="5"/>
                        <a:pt x="37" y="29"/>
                        <a:pt x="56" y="16"/>
                      </a:cubicBezTo>
                      <a:cubicBezTo>
                        <a:pt x="79" y="0"/>
                        <a:pt x="45" y="12"/>
                        <a:pt x="66" y="5"/>
                      </a:cubicBezTo>
                      <a:cubicBezTo>
                        <a:pt x="81" y="8"/>
                        <a:pt x="76" y="6"/>
                        <a:pt x="87" y="13"/>
                      </a:cubicBezTo>
                      <a:cubicBezTo>
                        <a:pt x="94" y="19"/>
                        <a:pt x="105" y="28"/>
                        <a:pt x="114" y="30"/>
                      </a:cubicBezTo>
                      <a:cubicBezTo>
                        <a:pt x="120" y="36"/>
                        <a:pt x="125" y="44"/>
                        <a:pt x="131" y="51"/>
                      </a:cubicBezTo>
                      <a:cubicBezTo>
                        <a:pt x="133" y="60"/>
                        <a:pt x="138" y="68"/>
                        <a:pt x="145" y="76"/>
                      </a:cubicBezTo>
                      <a:close/>
                    </a:path>
                  </a:pathLst>
                </a:custGeom>
                <a:solidFill>
                  <a:srgbClr val="D1F5FD"/>
                </a:solidFill>
                <a:ln w="12700">
                  <a:no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52" name="Freeform 4341">
                  <a:extLst/>
                </p:cNvPr>
                <p:cNvSpPr>
                  <a:spLocks/>
                </p:cNvSpPr>
                <p:nvPr/>
              </p:nvSpPr>
              <p:spPr bwMode="auto">
                <a:xfrm>
                  <a:off x="1068" y="2866"/>
                  <a:ext cx="27" cy="41"/>
                </a:xfrm>
                <a:custGeom>
                  <a:avLst/>
                  <a:gdLst>
                    <a:gd name="T0" fmla="*/ 14 w 28"/>
                    <a:gd name="T1" fmla="*/ 12 h 44"/>
                    <a:gd name="T2" fmla="*/ 14 w 28"/>
                    <a:gd name="T3" fmla="*/ 22 h 44"/>
                    <a:gd name="T4" fmla="*/ 0 w 28"/>
                    <a:gd name="T5" fmla="*/ 24 h 44"/>
                    <a:gd name="T6" fmla="*/ 14 w 28"/>
                    <a:gd name="T7" fmla="*/ 8 h 44"/>
                    <a:gd name="T8" fmla="*/ 14 w 28"/>
                    <a:gd name="T9" fmla="*/ 0 h 44"/>
                    <a:gd name="T10" fmla="*/ 14 w 28"/>
                    <a:gd name="T11" fmla="*/ 12 h 44"/>
                    <a:gd name="T12" fmla="*/ 0 60000 65536"/>
                    <a:gd name="T13" fmla="*/ 0 60000 65536"/>
                    <a:gd name="T14" fmla="*/ 0 60000 65536"/>
                    <a:gd name="T15" fmla="*/ 0 60000 65536"/>
                    <a:gd name="T16" fmla="*/ 0 60000 65536"/>
                    <a:gd name="T17" fmla="*/ 0 60000 65536"/>
                    <a:gd name="T18" fmla="*/ 0 w 28"/>
                    <a:gd name="T19" fmla="*/ 0 h 44"/>
                    <a:gd name="T20" fmla="*/ 28 w 28"/>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28" h="44">
                      <a:moveTo>
                        <a:pt x="28" y="12"/>
                      </a:moveTo>
                      <a:cubicBezTo>
                        <a:pt x="23" y="20"/>
                        <a:pt x="21" y="25"/>
                        <a:pt x="24" y="34"/>
                      </a:cubicBezTo>
                      <a:cubicBezTo>
                        <a:pt x="14" y="44"/>
                        <a:pt x="11" y="40"/>
                        <a:pt x="0" y="38"/>
                      </a:cubicBezTo>
                      <a:cubicBezTo>
                        <a:pt x="20" y="34"/>
                        <a:pt x="16" y="20"/>
                        <a:pt x="24" y="8"/>
                      </a:cubicBezTo>
                      <a:cubicBezTo>
                        <a:pt x="25" y="5"/>
                        <a:pt x="26" y="0"/>
                        <a:pt x="26" y="0"/>
                      </a:cubicBezTo>
                      <a:lnTo>
                        <a:pt x="28" y="12"/>
                      </a:lnTo>
                      <a:close/>
                    </a:path>
                  </a:pathLst>
                </a:custGeom>
                <a:solidFill>
                  <a:srgbClr val="AEE0F2"/>
                </a:solidFill>
                <a:ln w="12700">
                  <a:no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53" name="Freeform 4342">
                  <a:extLst/>
                </p:cNvPr>
                <p:cNvSpPr>
                  <a:spLocks/>
                </p:cNvSpPr>
                <p:nvPr/>
              </p:nvSpPr>
              <p:spPr bwMode="auto">
                <a:xfrm>
                  <a:off x="1124" y="2866"/>
                  <a:ext cx="35" cy="86"/>
                </a:xfrm>
                <a:custGeom>
                  <a:avLst/>
                  <a:gdLst>
                    <a:gd name="T0" fmla="*/ 9 w 39"/>
                    <a:gd name="T1" fmla="*/ 6 h 92"/>
                    <a:gd name="T2" fmla="*/ 9 w 39"/>
                    <a:gd name="T3" fmla="*/ 11 h 92"/>
                    <a:gd name="T4" fmla="*/ 20 w 39"/>
                    <a:gd name="T5" fmla="*/ 31 h 92"/>
                    <a:gd name="T6" fmla="*/ 9 w 39"/>
                    <a:gd name="T7" fmla="*/ 50 h 92"/>
                    <a:gd name="T8" fmla="*/ 7 w 39"/>
                    <a:gd name="T9" fmla="*/ 48 h 92"/>
                    <a:gd name="T10" fmla="*/ 9 w 39"/>
                    <a:gd name="T11" fmla="*/ 47 h 92"/>
                    <a:gd name="T12" fmla="*/ 9 w 39"/>
                    <a:gd name="T13" fmla="*/ 43 h 92"/>
                    <a:gd name="T14" fmla="*/ 11 w 39"/>
                    <a:gd name="T15" fmla="*/ 39 h 92"/>
                    <a:gd name="T16" fmla="*/ 9 w 39"/>
                    <a:gd name="T17" fmla="*/ 40 h 92"/>
                    <a:gd name="T18" fmla="*/ 9 w 39"/>
                    <a:gd name="T19" fmla="*/ 39 h 92"/>
                    <a:gd name="T20" fmla="*/ 11 w 39"/>
                    <a:gd name="T21" fmla="*/ 30 h 92"/>
                    <a:gd name="T22" fmla="*/ 9 w 39"/>
                    <a:gd name="T23" fmla="*/ 16 h 92"/>
                    <a:gd name="T24" fmla="*/ 9 w 39"/>
                    <a:gd name="T25" fmla="*/ 10 h 92"/>
                    <a:gd name="T26" fmla="*/ 9 w 39"/>
                    <a:gd name="T27" fmla="*/ 6 h 9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92"/>
                    <a:gd name="T44" fmla="*/ 39 w 39"/>
                    <a:gd name="T45" fmla="*/ 92 h 9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92">
                      <a:moveTo>
                        <a:pt x="23" y="6"/>
                      </a:moveTo>
                      <a:cubicBezTo>
                        <a:pt x="20" y="11"/>
                        <a:pt x="14" y="14"/>
                        <a:pt x="13" y="20"/>
                      </a:cubicBezTo>
                      <a:cubicBezTo>
                        <a:pt x="10" y="34"/>
                        <a:pt x="31" y="48"/>
                        <a:pt x="39" y="56"/>
                      </a:cubicBezTo>
                      <a:cubicBezTo>
                        <a:pt x="30" y="70"/>
                        <a:pt x="32" y="87"/>
                        <a:pt x="13" y="92"/>
                      </a:cubicBezTo>
                      <a:cubicBezTo>
                        <a:pt x="11" y="91"/>
                        <a:pt x="6" y="90"/>
                        <a:pt x="7" y="88"/>
                      </a:cubicBezTo>
                      <a:cubicBezTo>
                        <a:pt x="8" y="85"/>
                        <a:pt x="13" y="88"/>
                        <a:pt x="15" y="86"/>
                      </a:cubicBezTo>
                      <a:cubicBezTo>
                        <a:pt x="17" y="84"/>
                        <a:pt x="17" y="80"/>
                        <a:pt x="19" y="78"/>
                      </a:cubicBezTo>
                      <a:cubicBezTo>
                        <a:pt x="21" y="76"/>
                        <a:pt x="26" y="75"/>
                        <a:pt x="25" y="72"/>
                      </a:cubicBezTo>
                      <a:cubicBezTo>
                        <a:pt x="24" y="70"/>
                        <a:pt x="20" y="73"/>
                        <a:pt x="17" y="74"/>
                      </a:cubicBezTo>
                      <a:cubicBezTo>
                        <a:pt x="6" y="85"/>
                        <a:pt x="0" y="81"/>
                        <a:pt x="13" y="72"/>
                      </a:cubicBezTo>
                      <a:cubicBezTo>
                        <a:pt x="17" y="66"/>
                        <a:pt x="25" y="54"/>
                        <a:pt x="25" y="54"/>
                      </a:cubicBezTo>
                      <a:cubicBezTo>
                        <a:pt x="22" y="45"/>
                        <a:pt x="18" y="37"/>
                        <a:pt x="11" y="30"/>
                      </a:cubicBezTo>
                      <a:cubicBezTo>
                        <a:pt x="8" y="22"/>
                        <a:pt x="7" y="20"/>
                        <a:pt x="11" y="10"/>
                      </a:cubicBezTo>
                      <a:cubicBezTo>
                        <a:pt x="11" y="9"/>
                        <a:pt x="23" y="0"/>
                        <a:pt x="23" y="6"/>
                      </a:cubicBezTo>
                      <a:close/>
                    </a:path>
                  </a:pathLst>
                </a:custGeom>
                <a:solidFill>
                  <a:srgbClr val="AEE0F2"/>
                </a:solidFill>
                <a:ln w="12700">
                  <a:no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54" name="Freeform 4343">
                  <a:extLst/>
                </p:cNvPr>
                <p:cNvSpPr>
                  <a:spLocks/>
                </p:cNvSpPr>
                <p:nvPr/>
              </p:nvSpPr>
              <p:spPr bwMode="auto">
                <a:xfrm>
                  <a:off x="1087" y="2851"/>
                  <a:ext cx="52" cy="2"/>
                </a:xfrm>
                <a:custGeom>
                  <a:avLst/>
                  <a:gdLst>
                    <a:gd name="T0" fmla="*/ 37 w 51"/>
                    <a:gd name="T1" fmla="*/ 8 h 9"/>
                    <a:gd name="T2" fmla="*/ 25 w 51"/>
                    <a:gd name="T3" fmla="*/ 0 h 9"/>
                    <a:gd name="T4" fmla="*/ 37 w 51"/>
                    <a:gd name="T5" fmla="*/ 8 h 9"/>
                    <a:gd name="T6" fmla="*/ 0 60000 65536"/>
                    <a:gd name="T7" fmla="*/ 0 60000 65536"/>
                    <a:gd name="T8" fmla="*/ 0 60000 65536"/>
                    <a:gd name="T9" fmla="*/ 0 w 51"/>
                    <a:gd name="T10" fmla="*/ 0 h 9"/>
                    <a:gd name="T11" fmla="*/ 51 w 51"/>
                    <a:gd name="T12" fmla="*/ 9 h 9"/>
                  </a:gdLst>
                  <a:ahLst/>
                  <a:cxnLst>
                    <a:cxn ang="T6">
                      <a:pos x="T0" y="T1"/>
                    </a:cxn>
                    <a:cxn ang="T7">
                      <a:pos x="T2" y="T3"/>
                    </a:cxn>
                    <a:cxn ang="T8">
                      <a:pos x="T4" y="T5"/>
                    </a:cxn>
                  </a:cxnLst>
                  <a:rect l="T9" t="T10" r="T11" b="T12"/>
                  <a:pathLst>
                    <a:path w="51" h="9">
                      <a:moveTo>
                        <a:pt x="51" y="8"/>
                      </a:moveTo>
                      <a:cubicBezTo>
                        <a:pt x="44" y="6"/>
                        <a:pt x="39" y="2"/>
                        <a:pt x="31" y="0"/>
                      </a:cubicBezTo>
                      <a:cubicBezTo>
                        <a:pt x="0" y="9"/>
                        <a:pt x="35" y="0"/>
                        <a:pt x="51" y="8"/>
                      </a:cubicBezTo>
                      <a:close/>
                    </a:path>
                  </a:pathLst>
                </a:custGeom>
                <a:solidFill>
                  <a:srgbClr val="AEE0F2"/>
                </a:solidFill>
                <a:ln w="12700">
                  <a:no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55" name="Freeform 4344">
                  <a:extLst/>
                </p:cNvPr>
                <p:cNvSpPr>
                  <a:spLocks/>
                </p:cNvSpPr>
                <p:nvPr/>
              </p:nvSpPr>
              <p:spPr bwMode="auto">
                <a:xfrm>
                  <a:off x="1230" y="2844"/>
                  <a:ext cx="32" cy="18"/>
                </a:xfrm>
                <a:custGeom>
                  <a:avLst/>
                  <a:gdLst>
                    <a:gd name="T0" fmla="*/ 15 w 34"/>
                    <a:gd name="T1" fmla="*/ 7 h 21"/>
                    <a:gd name="T2" fmla="*/ 8 w 34"/>
                    <a:gd name="T3" fmla="*/ 1 h 21"/>
                    <a:gd name="T4" fmla="*/ 0 w 34"/>
                    <a:gd name="T5" fmla="*/ 10 h 21"/>
                    <a:gd name="T6" fmla="*/ 11 w 34"/>
                    <a:gd name="T7" fmla="*/ 10 h 21"/>
                    <a:gd name="T8" fmla="*/ 15 w 34"/>
                    <a:gd name="T9" fmla="*/ 7 h 21"/>
                    <a:gd name="T10" fmla="*/ 0 60000 65536"/>
                    <a:gd name="T11" fmla="*/ 0 60000 65536"/>
                    <a:gd name="T12" fmla="*/ 0 60000 65536"/>
                    <a:gd name="T13" fmla="*/ 0 60000 65536"/>
                    <a:gd name="T14" fmla="*/ 0 60000 65536"/>
                    <a:gd name="T15" fmla="*/ 0 w 34"/>
                    <a:gd name="T16" fmla="*/ 0 h 21"/>
                    <a:gd name="T17" fmla="*/ 34 w 34"/>
                    <a:gd name="T18" fmla="*/ 21 h 21"/>
                  </a:gdLst>
                  <a:ahLst/>
                  <a:cxnLst>
                    <a:cxn ang="T10">
                      <a:pos x="T0" y="T1"/>
                    </a:cxn>
                    <a:cxn ang="T11">
                      <a:pos x="T2" y="T3"/>
                    </a:cxn>
                    <a:cxn ang="T12">
                      <a:pos x="T4" y="T5"/>
                    </a:cxn>
                    <a:cxn ang="T13">
                      <a:pos x="T6" y="T7"/>
                    </a:cxn>
                    <a:cxn ang="T14">
                      <a:pos x="T8" y="T9"/>
                    </a:cxn>
                  </a:cxnLst>
                  <a:rect l="T15" t="T16" r="T17" b="T18"/>
                  <a:pathLst>
                    <a:path w="34" h="21">
                      <a:moveTo>
                        <a:pt x="34" y="7"/>
                      </a:moveTo>
                      <a:cubicBezTo>
                        <a:pt x="30" y="6"/>
                        <a:pt x="26" y="0"/>
                        <a:pt x="22" y="1"/>
                      </a:cubicBezTo>
                      <a:cubicBezTo>
                        <a:pt x="16" y="2"/>
                        <a:pt x="7" y="18"/>
                        <a:pt x="0" y="11"/>
                      </a:cubicBezTo>
                      <a:cubicBezTo>
                        <a:pt x="9" y="14"/>
                        <a:pt x="17" y="20"/>
                        <a:pt x="26" y="21"/>
                      </a:cubicBezTo>
                      <a:cubicBezTo>
                        <a:pt x="27" y="21"/>
                        <a:pt x="28" y="7"/>
                        <a:pt x="34" y="7"/>
                      </a:cubicBezTo>
                      <a:close/>
                    </a:path>
                  </a:pathLst>
                </a:custGeom>
                <a:solidFill>
                  <a:srgbClr val="999999"/>
                </a:solidFill>
                <a:ln w="12700">
                  <a:no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56" name="Freeform 4345">
                  <a:extLst/>
                </p:cNvPr>
                <p:cNvSpPr>
                  <a:spLocks/>
                </p:cNvSpPr>
                <p:nvPr/>
              </p:nvSpPr>
              <p:spPr bwMode="auto">
                <a:xfrm>
                  <a:off x="1088" y="2993"/>
                  <a:ext cx="52" cy="75"/>
                </a:xfrm>
                <a:custGeom>
                  <a:avLst/>
                  <a:gdLst>
                    <a:gd name="T0" fmla="*/ 8 w 50"/>
                    <a:gd name="T1" fmla="*/ 6 h 82"/>
                    <a:gd name="T2" fmla="*/ 12 w 50"/>
                    <a:gd name="T3" fmla="*/ 6 h 82"/>
                    <a:gd name="T4" fmla="*/ 18 w 50"/>
                    <a:gd name="T5" fmla="*/ 12 h 82"/>
                    <a:gd name="T6" fmla="*/ 15 w 50"/>
                    <a:gd name="T7" fmla="*/ 22 h 82"/>
                    <a:gd name="T8" fmla="*/ 12 w 50"/>
                    <a:gd name="T9" fmla="*/ 28 h 82"/>
                    <a:gd name="T10" fmla="*/ 14 w 50"/>
                    <a:gd name="T11" fmla="*/ 24 h 82"/>
                    <a:gd name="T12" fmla="*/ 13 w 50"/>
                    <a:gd name="T13" fmla="*/ 10 h 82"/>
                    <a:gd name="T14" fmla="*/ 8 w 50"/>
                    <a:gd name="T15" fmla="*/ 6 h 82"/>
                    <a:gd name="T16" fmla="*/ 15 w 50"/>
                    <a:gd name="T17" fmla="*/ 6 h 82"/>
                    <a:gd name="T18" fmla="*/ 20 w 50"/>
                    <a:gd name="T19" fmla="*/ 6 h 82"/>
                    <a:gd name="T20" fmla="*/ 13 w 50"/>
                    <a:gd name="T21" fmla="*/ 6 h 82"/>
                    <a:gd name="T22" fmla="*/ 8 w 50"/>
                    <a:gd name="T23" fmla="*/ 6 h 8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82"/>
                    <a:gd name="T38" fmla="*/ 50 w 50"/>
                    <a:gd name="T39" fmla="*/ 82 h 8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82">
                      <a:moveTo>
                        <a:pt x="8" y="6"/>
                      </a:moveTo>
                      <a:cubicBezTo>
                        <a:pt x="15" y="8"/>
                        <a:pt x="20" y="12"/>
                        <a:pt x="28" y="14"/>
                      </a:cubicBezTo>
                      <a:cubicBezTo>
                        <a:pt x="32" y="21"/>
                        <a:pt x="37" y="24"/>
                        <a:pt x="40" y="32"/>
                      </a:cubicBezTo>
                      <a:cubicBezTo>
                        <a:pt x="37" y="53"/>
                        <a:pt x="39" y="43"/>
                        <a:pt x="34" y="64"/>
                      </a:cubicBezTo>
                      <a:cubicBezTo>
                        <a:pt x="32" y="70"/>
                        <a:pt x="28" y="82"/>
                        <a:pt x="28" y="82"/>
                      </a:cubicBezTo>
                      <a:cubicBezTo>
                        <a:pt x="28" y="82"/>
                        <a:pt x="31" y="73"/>
                        <a:pt x="32" y="68"/>
                      </a:cubicBezTo>
                      <a:cubicBezTo>
                        <a:pt x="31" y="55"/>
                        <a:pt x="32" y="41"/>
                        <a:pt x="30" y="28"/>
                      </a:cubicBezTo>
                      <a:cubicBezTo>
                        <a:pt x="29" y="21"/>
                        <a:pt x="0" y="0"/>
                        <a:pt x="22" y="16"/>
                      </a:cubicBezTo>
                      <a:cubicBezTo>
                        <a:pt x="26" y="15"/>
                        <a:pt x="30" y="15"/>
                        <a:pt x="34" y="14"/>
                      </a:cubicBezTo>
                      <a:cubicBezTo>
                        <a:pt x="38" y="13"/>
                        <a:pt x="50" y="9"/>
                        <a:pt x="46" y="10"/>
                      </a:cubicBezTo>
                      <a:cubicBezTo>
                        <a:pt x="41" y="11"/>
                        <a:pt x="35" y="11"/>
                        <a:pt x="30" y="12"/>
                      </a:cubicBezTo>
                      <a:cubicBezTo>
                        <a:pt x="5" y="10"/>
                        <a:pt x="2" y="17"/>
                        <a:pt x="8" y="6"/>
                      </a:cubicBezTo>
                      <a:close/>
                    </a:path>
                  </a:pathLst>
                </a:custGeom>
                <a:solidFill>
                  <a:srgbClr val="191F2D"/>
                </a:solidFill>
                <a:ln w="12700">
                  <a:no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sp>
              <p:nvSpPr>
                <p:cNvPr id="57" name="Freeform 4346">
                  <a:extLst/>
                </p:cNvPr>
                <p:cNvSpPr>
                  <a:spLocks/>
                </p:cNvSpPr>
                <p:nvPr/>
              </p:nvSpPr>
              <p:spPr bwMode="auto">
                <a:xfrm>
                  <a:off x="1095" y="2780"/>
                  <a:ext cx="69" cy="48"/>
                </a:xfrm>
                <a:custGeom>
                  <a:avLst/>
                  <a:gdLst>
                    <a:gd name="T0" fmla="*/ 64 w 70"/>
                    <a:gd name="T1" fmla="*/ 26 h 49"/>
                    <a:gd name="T2" fmla="*/ 50 w 70"/>
                    <a:gd name="T3" fmla="*/ 34 h 49"/>
                    <a:gd name="T4" fmla="*/ 22 w 70"/>
                    <a:gd name="T5" fmla="*/ 46 h 49"/>
                    <a:gd name="T6" fmla="*/ 14 w 70"/>
                    <a:gd name="T7" fmla="*/ 48 h 49"/>
                    <a:gd name="T8" fmla="*/ 2 w 70"/>
                    <a:gd name="T9" fmla="*/ 46 h 49"/>
                    <a:gd name="T10" fmla="*/ 4 w 70"/>
                    <a:gd name="T11" fmla="*/ 40 h 49"/>
                    <a:gd name="T12" fmla="*/ 26 w 70"/>
                    <a:gd name="T13" fmla="*/ 2 h 49"/>
                    <a:gd name="T14" fmla="*/ 58 w 70"/>
                    <a:gd name="T15" fmla="*/ 14 h 49"/>
                    <a:gd name="T16" fmla="*/ 64 w 70"/>
                    <a:gd name="T17" fmla="*/ 26 h 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0"/>
                    <a:gd name="T28" fmla="*/ 0 h 49"/>
                    <a:gd name="T29" fmla="*/ 70 w 70"/>
                    <a:gd name="T30" fmla="*/ 49 h 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0" h="49">
                      <a:moveTo>
                        <a:pt x="64" y="26"/>
                      </a:moveTo>
                      <a:cubicBezTo>
                        <a:pt x="57" y="31"/>
                        <a:pt x="58" y="32"/>
                        <a:pt x="50" y="34"/>
                      </a:cubicBezTo>
                      <a:cubicBezTo>
                        <a:pt x="33" y="45"/>
                        <a:pt x="43" y="41"/>
                        <a:pt x="22" y="46"/>
                      </a:cubicBezTo>
                      <a:cubicBezTo>
                        <a:pt x="19" y="47"/>
                        <a:pt x="14" y="48"/>
                        <a:pt x="14" y="48"/>
                      </a:cubicBezTo>
                      <a:cubicBezTo>
                        <a:pt x="10" y="47"/>
                        <a:pt x="5" y="49"/>
                        <a:pt x="2" y="46"/>
                      </a:cubicBezTo>
                      <a:cubicBezTo>
                        <a:pt x="0" y="45"/>
                        <a:pt x="4" y="42"/>
                        <a:pt x="4" y="40"/>
                      </a:cubicBezTo>
                      <a:cubicBezTo>
                        <a:pt x="7" y="20"/>
                        <a:pt x="6" y="7"/>
                        <a:pt x="26" y="2"/>
                      </a:cubicBezTo>
                      <a:cubicBezTo>
                        <a:pt x="46" y="0"/>
                        <a:pt x="56" y="0"/>
                        <a:pt x="58" y="14"/>
                      </a:cubicBezTo>
                      <a:cubicBezTo>
                        <a:pt x="63" y="21"/>
                        <a:pt x="70" y="29"/>
                        <a:pt x="64" y="26"/>
                      </a:cubicBezTo>
                      <a:close/>
                    </a:path>
                  </a:pathLst>
                </a:custGeom>
                <a:solidFill>
                  <a:srgbClr val="F9F9F9"/>
                </a:solidFill>
                <a:ln w="12700">
                  <a:noFill/>
                  <a:round/>
                  <a:headEnd/>
                  <a:tailEnd/>
                </a:ln>
              </p:spPr>
              <p:txBody>
                <a:bodyPr lIns="45720" tIns="46800" rIns="45720" bIns="46800" anchor="ctr"/>
                <a:lstStyle/>
                <a:p>
                  <a:pPr algn="ctr" fontAlgn="auto">
                    <a:spcBef>
                      <a:spcPts val="0"/>
                    </a:spcBef>
                    <a:spcAft>
                      <a:spcPts val="0"/>
                    </a:spcAft>
                    <a:defRPr/>
                  </a:pPr>
                  <a:endParaRPr lang="en-US" kern="0">
                    <a:solidFill>
                      <a:sysClr val="windowText" lastClr="000000"/>
                    </a:solidFill>
                    <a:ea typeface="宋体" charset="-122"/>
                  </a:endParaRPr>
                </a:p>
              </p:txBody>
            </p:sp>
          </p:grpSp>
        </p:grpSp>
        <p:pic>
          <p:nvPicPr>
            <p:cNvPr id="101400" name="Picture 3"/>
            <p:cNvPicPr>
              <a:picLocks noChangeAspect="1" noChangeArrowheads="1"/>
            </p:cNvPicPr>
            <p:nvPr/>
          </p:nvPicPr>
          <p:blipFill>
            <a:blip r:embed="rId13"/>
            <a:srcRect/>
            <a:stretch>
              <a:fillRect/>
            </a:stretch>
          </p:blipFill>
          <p:spPr bwMode="auto">
            <a:xfrm>
              <a:off x="4224522" y="3938588"/>
              <a:ext cx="797303" cy="681037"/>
            </a:xfrm>
            <a:prstGeom prst="rect">
              <a:avLst/>
            </a:prstGeom>
            <a:noFill/>
            <a:ln w="9525">
              <a:noFill/>
              <a:miter lim="800000"/>
              <a:headEnd/>
              <a:tailEnd/>
            </a:ln>
          </p:spPr>
        </p:pic>
        <p:sp>
          <p:nvSpPr>
            <p:cNvPr id="22" name="矩形 7">
              <a:extLst/>
            </p:cNvPr>
            <p:cNvSpPr/>
            <p:nvPr/>
          </p:nvSpPr>
          <p:spPr bwMode="auto">
            <a:xfrm>
              <a:off x="6419339" y="5055892"/>
              <a:ext cx="951075" cy="1065508"/>
            </a:xfrm>
            <a:prstGeom prst="rect">
              <a:avLst/>
            </a:prstGeom>
            <a:solidFill>
              <a:schemeClr val="bg2">
                <a:lumMod val="40000"/>
                <a:lumOff val="60000"/>
              </a:schemeClr>
            </a:solidFill>
            <a:ln w="9525" cap="flat" cmpd="sng" algn="ctr">
              <a:solidFill>
                <a:schemeClr val="bg1">
                  <a:lumMod val="85000"/>
                </a:schemeClr>
              </a:solidFill>
              <a:prstDash val="solid"/>
              <a:round/>
              <a:headEnd type="none" w="med" len="med"/>
              <a:tailEnd type="none" w="med" len="med"/>
            </a:ln>
            <a:effectLst/>
            <a:extLst/>
          </p:spPr>
          <p:txBody>
            <a:bodyPr/>
            <a:lstStyle/>
            <a:p>
              <a:pPr algn="ctr" fontAlgn="auto">
                <a:spcAft>
                  <a:spcPts val="0"/>
                </a:spcAft>
                <a:defRPr/>
              </a:pPr>
              <a:r>
                <a:rPr lang="zh-CN" altLang="en-US" sz="1200" kern="0" dirty="0">
                  <a:solidFill>
                    <a:srgbClr val="000000"/>
                  </a:solidFill>
                  <a:latin typeface="宋体" panose="02010600030101010101" pitchFamily="2" charset="-122"/>
                  <a:ea typeface="宋体" charset="-122"/>
                </a:rPr>
                <a:t>系统开发实施</a:t>
              </a:r>
            </a:p>
            <a:p>
              <a:pPr algn="ctr">
                <a:buFont typeface="Arial" pitchFamily="34" charset="0"/>
                <a:buNone/>
                <a:defRPr/>
              </a:pPr>
              <a:endParaRPr lang="zh-CN" altLang="en-US" sz="1200" kern="0" dirty="0">
                <a:solidFill>
                  <a:srgbClr val="000000"/>
                </a:solidFill>
                <a:latin typeface="宋体" panose="02010600030101010101" pitchFamily="2" charset="-122"/>
                <a:ea typeface="宋体" charset="-122"/>
              </a:endParaRPr>
            </a:p>
          </p:txBody>
        </p:sp>
        <p:sp>
          <p:nvSpPr>
            <p:cNvPr id="23" name="矩形 131">
              <a:extLst/>
            </p:cNvPr>
            <p:cNvSpPr/>
            <p:nvPr/>
          </p:nvSpPr>
          <p:spPr bwMode="auto">
            <a:xfrm>
              <a:off x="5295475" y="5055892"/>
              <a:ext cx="951075" cy="1065508"/>
            </a:xfrm>
            <a:prstGeom prst="rect">
              <a:avLst/>
            </a:prstGeom>
            <a:solidFill>
              <a:schemeClr val="bg2">
                <a:lumMod val="40000"/>
                <a:lumOff val="60000"/>
              </a:schemeClr>
            </a:solidFill>
            <a:ln w="9525" cap="flat" cmpd="sng" algn="ctr">
              <a:solidFill>
                <a:schemeClr val="bg1">
                  <a:lumMod val="85000"/>
                </a:schemeClr>
              </a:solidFill>
              <a:prstDash val="solid"/>
              <a:round/>
              <a:headEnd type="none" w="med" len="med"/>
              <a:tailEnd type="none" w="med" len="med"/>
            </a:ln>
            <a:effectLst/>
            <a:extLst/>
          </p:spPr>
          <p:txBody>
            <a:bodyPr/>
            <a:lstStyle/>
            <a:p>
              <a:pPr algn="ctr">
                <a:buFont typeface="Arial" pitchFamily="34" charset="0"/>
                <a:buNone/>
                <a:defRPr/>
              </a:pPr>
              <a:r>
                <a:rPr lang="zh-CN" altLang="en-US" sz="1200" kern="0" dirty="0">
                  <a:solidFill>
                    <a:srgbClr val="000000"/>
                  </a:solidFill>
                  <a:latin typeface="宋体" panose="02010600030101010101" pitchFamily="2" charset="-122"/>
                  <a:ea typeface="宋体" charset="-122"/>
                </a:rPr>
                <a:t>制定详细设计方案与实施计划</a:t>
              </a:r>
            </a:p>
          </p:txBody>
        </p:sp>
        <p:pic>
          <p:nvPicPr>
            <p:cNvPr id="101403" name="Picture 2"/>
            <p:cNvPicPr>
              <a:picLocks noChangeAspect="1" noChangeArrowheads="1"/>
            </p:cNvPicPr>
            <p:nvPr/>
          </p:nvPicPr>
          <p:blipFill>
            <a:blip r:embed="rId14"/>
            <a:srcRect/>
            <a:stretch>
              <a:fillRect/>
            </a:stretch>
          </p:blipFill>
          <p:spPr bwMode="auto">
            <a:xfrm>
              <a:off x="4211412" y="3273426"/>
              <a:ext cx="772313" cy="603250"/>
            </a:xfrm>
            <a:prstGeom prst="rect">
              <a:avLst/>
            </a:prstGeom>
            <a:noFill/>
            <a:ln w="9525">
              <a:noFill/>
              <a:miter lim="800000"/>
              <a:headEnd/>
              <a:tailEnd/>
            </a:ln>
          </p:spPr>
        </p:pic>
        <p:sp>
          <p:nvSpPr>
            <p:cNvPr id="25" name="矩形 133">
              <a:extLst/>
            </p:cNvPr>
            <p:cNvSpPr/>
            <p:nvPr/>
          </p:nvSpPr>
          <p:spPr bwMode="auto">
            <a:xfrm>
              <a:off x="4140598" y="5055892"/>
              <a:ext cx="949598" cy="1065508"/>
            </a:xfrm>
            <a:prstGeom prst="rect">
              <a:avLst/>
            </a:prstGeom>
            <a:solidFill>
              <a:schemeClr val="bg2">
                <a:lumMod val="40000"/>
                <a:lumOff val="60000"/>
              </a:schemeClr>
            </a:solidFill>
            <a:ln w="9525" cap="flat" cmpd="sng" algn="ctr">
              <a:solidFill>
                <a:schemeClr val="bg1">
                  <a:lumMod val="85000"/>
                </a:schemeClr>
              </a:solidFill>
              <a:prstDash val="solid"/>
              <a:round/>
              <a:headEnd type="none" w="med" len="med"/>
              <a:tailEnd type="none" w="med" len="med"/>
            </a:ln>
            <a:effectLst/>
            <a:extLst/>
          </p:spPr>
          <p:txBody>
            <a:bodyPr/>
            <a:lstStyle/>
            <a:p>
              <a:pPr algn="ctr">
                <a:buFont typeface="Arial" pitchFamily="34" charset="0"/>
                <a:buNone/>
                <a:defRPr/>
              </a:pPr>
              <a:r>
                <a:rPr lang="zh-CN" altLang="en-US" sz="1200" kern="0" dirty="0">
                  <a:solidFill>
                    <a:srgbClr val="000000"/>
                  </a:solidFill>
                  <a:latin typeface="宋体" panose="02010600030101010101" pitchFamily="2" charset="-122"/>
                  <a:ea typeface="宋体" charset="-122"/>
                </a:rPr>
                <a:t>制定信息化系统总体方案设计及集成方案</a:t>
              </a:r>
            </a:p>
          </p:txBody>
        </p:sp>
        <p:pic>
          <p:nvPicPr>
            <p:cNvPr id="101405" name="Picture 4"/>
            <p:cNvPicPr>
              <a:picLocks noChangeAspect="1" noChangeArrowheads="1"/>
            </p:cNvPicPr>
            <p:nvPr/>
          </p:nvPicPr>
          <p:blipFill>
            <a:blip r:embed="rId15"/>
            <a:srcRect/>
            <a:stretch>
              <a:fillRect/>
            </a:stretch>
          </p:blipFill>
          <p:spPr bwMode="auto">
            <a:xfrm>
              <a:off x="6573562" y="3244058"/>
              <a:ext cx="604523" cy="661987"/>
            </a:xfrm>
            <a:prstGeom prst="rect">
              <a:avLst/>
            </a:prstGeom>
            <a:noFill/>
            <a:ln w="9525">
              <a:noFill/>
              <a:miter lim="800000"/>
              <a:headEnd/>
              <a:tailEnd/>
            </a:ln>
          </p:spPr>
        </p:pic>
        <p:pic>
          <p:nvPicPr>
            <p:cNvPr id="101406" name="Picture 2"/>
            <p:cNvPicPr>
              <a:picLocks noChangeAspect="1" noChangeArrowheads="1"/>
            </p:cNvPicPr>
            <p:nvPr/>
          </p:nvPicPr>
          <p:blipFill>
            <a:blip r:embed="rId16"/>
            <a:srcRect/>
            <a:stretch>
              <a:fillRect/>
            </a:stretch>
          </p:blipFill>
          <p:spPr bwMode="auto">
            <a:xfrm>
              <a:off x="5305007" y="3256757"/>
              <a:ext cx="816344" cy="636588"/>
            </a:xfrm>
            <a:prstGeom prst="rect">
              <a:avLst/>
            </a:prstGeom>
            <a:noFill/>
            <a:ln w="9525">
              <a:noFill/>
              <a:miter lim="800000"/>
              <a:headEnd/>
              <a:tailEnd/>
            </a:ln>
          </p:spPr>
        </p:pic>
        <p:pic>
          <p:nvPicPr>
            <p:cNvPr id="101407" name="Picture 3"/>
            <p:cNvPicPr>
              <a:picLocks noChangeAspect="1" noChangeArrowheads="1"/>
            </p:cNvPicPr>
            <p:nvPr/>
          </p:nvPicPr>
          <p:blipFill>
            <a:blip r:embed="rId17"/>
            <a:srcRect/>
            <a:stretch>
              <a:fillRect/>
            </a:stretch>
          </p:blipFill>
          <p:spPr bwMode="auto">
            <a:xfrm>
              <a:off x="5347862" y="4003675"/>
              <a:ext cx="787783" cy="638175"/>
            </a:xfrm>
            <a:prstGeom prst="rect">
              <a:avLst/>
            </a:prstGeom>
            <a:noFill/>
            <a:ln w="9525">
              <a:noFill/>
              <a:miter lim="800000"/>
              <a:headEnd/>
              <a:tailEnd/>
            </a:ln>
          </p:spPr>
        </p:pic>
        <p:sp>
          <p:nvSpPr>
            <p:cNvPr id="29" name="矩形 135">
              <a:extLst/>
            </p:cNvPr>
            <p:cNvSpPr/>
            <p:nvPr/>
          </p:nvSpPr>
          <p:spPr bwMode="auto">
            <a:xfrm>
              <a:off x="3007873" y="5055892"/>
              <a:ext cx="949599" cy="1065508"/>
            </a:xfrm>
            <a:prstGeom prst="rect">
              <a:avLst/>
            </a:prstGeom>
            <a:solidFill>
              <a:schemeClr val="bg2">
                <a:lumMod val="40000"/>
                <a:lumOff val="60000"/>
              </a:schemeClr>
            </a:solidFill>
            <a:ln w="9525" cap="flat" cmpd="sng" algn="ctr">
              <a:solidFill>
                <a:schemeClr val="bg1">
                  <a:lumMod val="85000"/>
                </a:schemeClr>
              </a:solidFill>
              <a:prstDash val="solid"/>
              <a:round/>
              <a:headEnd type="none" w="med" len="med"/>
              <a:tailEnd type="none" w="med" len="med"/>
            </a:ln>
            <a:effectLst/>
            <a:extLst/>
          </p:spPr>
          <p:txBody>
            <a:bodyPr/>
            <a:lstStyle/>
            <a:p>
              <a:pPr algn="ctr">
                <a:defRPr/>
              </a:pPr>
              <a:r>
                <a:rPr lang="zh-CN" altLang="en-US" sz="1200" kern="0" dirty="0">
                  <a:solidFill>
                    <a:srgbClr val="000000"/>
                  </a:solidFill>
                  <a:latin typeface="宋体" panose="02010600030101010101" pitchFamily="2" charset="-122"/>
                  <a:ea typeface="宋体" charset="-122"/>
                </a:rPr>
                <a:t>整理企业运营流程、生产</a:t>
              </a:r>
              <a:r>
                <a:rPr lang="en-US" altLang="zh-CN" sz="1200" kern="0" dirty="0">
                  <a:solidFill>
                    <a:srgbClr val="000000"/>
                  </a:solidFill>
                  <a:latin typeface="宋体" panose="02010600030101010101" pitchFamily="2" charset="-122"/>
                  <a:ea typeface="宋体" charset="-122"/>
                </a:rPr>
                <a:t>SOP</a:t>
              </a:r>
              <a:r>
                <a:rPr lang="zh-CN" altLang="en-US" sz="1200" kern="0" dirty="0">
                  <a:solidFill>
                    <a:srgbClr val="000000"/>
                  </a:solidFill>
                  <a:latin typeface="宋体" panose="02010600030101010101" pitchFamily="2" charset="-122"/>
                  <a:ea typeface="宋体" charset="-122"/>
                </a:rPr>
                <a:t>并固化</a:t>
              </a:r>
            </a:p>
          </p:txBody>
        </p:sp>
        <p:pic>
          <p:nvPicPr>
            <p:cNvPr id="101409" name="Picture 2"/>
            <p:cNvPicPr>
              <a:picLocks noChangeAspect="1" noChangeArrowheads="1"/>
            </p:cNvPicPr>
            <p:nvPr/>
          </p:nvPicPr>
          <p:blipFill>
            <a:blip r:embed="rId18"/>
            <a:srcRect/>
            <a:stretch>
              <a:fillRect/>
            </a:stretch>
          </p:blipFill>
          <p:spPr bwMode="auto">
            <a:xfrm>
              <a:off x="7626703" y="3258345"/>
              <a:ext cx="749703" cy="633412"/>
            </a:xfrm>
            <a:prstGeom prst="rect">
              <a:avLst/>
            </a:prstGeom>
            <a:noFill/>
            <a:ln w="9525">
              <a:noFill/>
              <a:miter lim="800000"/>
              <a:headEnd/>
              <a:tailEnd/>
            </a:ln>
          </p:spPr>
        </p:pic>
        <p:pic>
          <p:nvPicPr>
            <p:cNvPr id="101410" name="Picture 2"/>
            <p:cNvPicPr>
              <a:picLocks noChangeAspect="1" noChangeArrowheads="1"/>
            </p:cNvPicPr>
            <p:nvPr/>
          </p:nvPicPr>
          <p:blipFill>
            <a:blip r:embed="rId19"/>
            <a:srcRect/>
            <a:stretch>
              <a:fillRect/>
            </a:stretch>
          </p:blipFill>
          <p:spPr bwMode="auto">
            <a:xfrm>
              <a:off x="7660028" y="4048125"/>
              <a:ext cx="702103" cy="647700"/>
            </a:xfrm>
            <a:prstGeom prst="rect">
              <a:avLst/>
            </a:prstGeom>
            <a:noFill/>
            <a:ln w="9525">
              <a:noFill/>
              <a:miter lim="800000"/>
              <a:headEnd/>
              <a:tailEnd/>
            </a:ln>
          </p:spPr>
        </p:pic>
        <p:sp>
          <p:nvSpPr>
            <p:cNvPr id="32" name="矩形 138">
              <a:extLst/>
            </p:cNvPr>
            <p:cNvSpPr/>
            <p:nvPr/>
          </p:nvSpPr>
          <p:spPr bwMode="auto">
            <a:xfrm>
              <a:off x="7510713" y="5055892"/>
              <a:ext cx="1021963" cy="1065508"/>
            </a:xfrm>
            <a:prstGeom prst="rect">
              <a:avLst/>
            </a:prstGeom>
            <a:solidFill>
              <a:schemeClr val="bg2">
                <a:lumMod val="40000"/>
                <a:lumOff val="60000"/>
              </a:schemeClr>
            </a:solidFill>
            <a:ln w="9525" cap="flat" cmpd="sng" algn="ctr">
              <a:solidFill>
                <a:schemeClr val="bg1">
                  <a:lumMod val="85000"/>
                </a:schemeClr>
              </a:solidFill>
              <a:prstDash val="solid"/>
              <a:round/>
              <a:headEnd type="none" w="med" len="med"/>
              <a:tailEnd type="none" w="med" len="med"/>
            </a:ln>
            <a:effectLst/>
            <a:extLst/>
          </p:spPr>
          <p:txBody>
            <a:bodyPr/>
            <a:lstStyle/>
            <a:p>
              <a:pPr algn="ctr">
                <a:buFont typeface="Arial" pitchFamily="34" charset="0"/>
                <a:buNone/>
                <a:defRPr/>
              </a:pPr>
              <a:r>
                <a:rPr lang="zh-CN" altLang="en-US" sz="1200" kern="0" dirty="0">
                  <a:solidFill>
                    <a:srgbClr val="000000"/>
                  </a:solidFill>
                  <a:latin typeface="宋体" panose="02010600030101010101" pitchFamily="2" charset="-122"/>
                  <a:ea typeface="宋体" charset="-122"/>
                </a:rPr>
                <a:t>现场工程与部署</a:t>
              </a:r>
            </a:p>
          </p:txBody>
        </p:sp>
        <p:pic>
          <p:nvPicPr>
            <p:cNvPr id="101412" name="Picture 73"/>
            <p:cNvPicPr>
              <a:picLocks noChangeAspect="1" noChangeArrowheads="1"/>
            </p:cNvPicPr>
            <p:nvPr/>
          </p:nvPicPr>
          <p:blipFill>
            <a:blip r:embed="rId20"/>
            <a:srcRect/>
            <a:stretch>
              <a:fillRect/>
            </a:stretch>
          </p:blipFill>
          <p:spPr bwMode="auto">
            <a:xfrm>
              <a:off x="2107493" y="3333751"/>
              <a:ext cx="768743" cy="1181099"/>
            </a:xfrm>
            <a:prstGeom prst="rect">
              <a:avLst/>
            </a:prstGeom>
            <a:noFill/>
            <a:ln w="9525">
              <a:noFill/>
              <a:miter lim="800000"/>
              <a:headEnd/>
              <a:tailEnd/>
            </a:ln>
          </p:spPr>
        </p:pic>
        <p:sp>
          <p:nvSpPr>
            <p:cNvPr id="34" name="矩形 140">
              <a:extLst/>
            </p:cNvPr>
            <p:cNvSpPr/>
            <p:nvPr/>
          </p:nvSpPr>
          <p:spPr bwMode="auto">
            <a:xfrm>
              <a:off x="1999202" y="5055892"/>
              <a:ext cx="951075" cy="1065508"/>
            </a:xfrm>
            <a:prstGeom prst="rect">
              <a:avLst/>
            </a:prstGeom>
            <a:solidFill>
              <a:schemeClr val="bg2">
                <a:lumMod val="40000"/>
                <a:lumOff val="60000"/>
              </a:schemeClr>
            </a:solidFill>
            <a:ln w="9525" cap="flat" cmpd="sng" algn="ctr">
              <a:solidFill>
                <a:schemeClr val="bg1">
                  <a:lumMod val="85000"/>
                </a:schemeClr>
              </a:solidFill>
              <a:prstDash val="solid"/>
              <a:round/>
              <a:headEnd type="none" w="med" len="med"/>
              <a:tailEnd type="none" w="med" len="med"/>
            </a:ln>
            <a:effectLst/>
            <a:extLst/>
          </p:spPr>
          <p:txBody>
            <a:bodyPr/>
            <a:lstStyle/>
            <a:p>
              <a:pPr algn="ctr">
                <a:buFont typeface="Arial" pitchFamily="34" charset="0"/>
                <a:buNone/>
                <a:defRPr/>
              </a:pPr>
              <a:r>
                <a:rPr lang="zh-CN" altLang="en-US" sz="1200" kern="0" dirty="0">
                  <a:solidFill>
                    <a:srgbClr val="000000"/>
                  </a:solidFill>
                  <a:latin typeface="宋体" panose="02010600030101010101" pitchFamily="2" charset="-122"/>
                  <a:ea typeface="宋体" charset="-122"/>
                </a:rPr>
                <a:t>信息化系统顶层设计体系、网络与数据需求</a:t>
              </a:r>
            </a:p>
          </p:txBody>
        </p:sp>
        <p:pic>
          <p:nvPicPr>
            <p:cNvPr id="101414" name="Picture 4"/>
            <p:cNvPicPr>
              <a:picLocks noChangeAspect="1" noChangeArrowheads="1"/>
            </p:cNvPicPr>
            <p:nvPr/>
          </p:nvPicPr>
          <p:blipFill>
            <a:blip r:embed="rId21"/>
            <a:srcRect/>
            <a:stretch>
              <a:fillRect/>
            </a:stretch>
          </p:blipFill>
          <p:spPr bwMode="auto">
            <a:xfrm>
              <a:off x="3086867" y="3333750"/>
              <a:ext cx="792543" cy="1171575"/>
            </a:xfrm>
            <a:prstGeom prst="rect">
              <a:avLst/>
            </a:prstGeom>
            <a:noFill/>
            <a:ln w="9525">
              <a:noFill/>
              <a:miter lim="800000"/>
              <a:headEnd/>
              <a:tailEnd/>
            </a:ln>
          </p:spPr>
        </p:pic>
        <p:sp>
          <p:nvSpPr>
            <p:cNvPr id="36" name="矩形 141">
              <a:extLst/>
            </p:cNvPr>
            <p:cNvSpPr/>
            <p:nvPr/>
          </p:nvSpPr>
          <p:spPr bwMode="auto">
            <a:xfrm>
              <a:off x="8661159" y="5055892"/>
              <a:ext cx="951075" cy="1065508"/>
            </a:xfrm>
            <a:prstGeom prst="rect">
              <a:avLst/>
            </a:prstGeom>
            <a:solidFill>
              <a:schemeClr val="bg2">
                <a:lumMod val="40000"/>
                <a:lumOff val="60000"/>
              </a:schemeClr>
            </a:solidFill>
            <a:ln w="9525" cap="flat" cmpd="sng" algn="ctr">
              <a:solidFill>
                <a:schemeClr val="bg1">
                  <a:lumMod val="85000"/>
                </a:schemeClr>
              </a:solidFill>
              <a:prstDash val="solid"/>
              <a:round/>
              <a:headEnd type="none" w="med" len="med"/>
              <a:tailEnd type="none" w="med" len="med"/>
            </a:ln>
            <a:effectLst/>
            <a:extLst/>
          </p:spPr>
          <p:txBody>
            <a:bodyPr/>
            <a:lstStyle/>
            <a:p>
              <a:pPr algn="ctr">
                <a:buFont typeface="Arial" pitchFamily="34" charset="0"/>
                <a:buNone/>
                <a:defRPr/>
              </a:pPr>
              <a:r>
                <a:rPr lang="zh-CN" altLang="en-US" sz="1200" kern="0" dirty="0">
                  <a:solidFill>
                    <a:srgbClr val="000000"/>
                  </a:solidFill>
                  <a:latin typeface="宋体" panose="02010600030101010101" pitchFamily="2" charset="-122"/>
                  <a:ea typeface="宋体" charset="-122"/>
                </a:rPr>
                <a:t>系统试运行、改进</a:t>
              </a:r>
            </a:p>
          </p:txBody>
        </p:sp>
        <p:sp>
          <p:nvSpPr>
            <p:cNvPr id="37" name="矩形 142">
              <a:extLst/>
            </p:cNvPr>
            <p:cNvSpPr/>
            <p:nvPr/>
          </p:nvSpPr>
          <p:spPr bwMode="auto">
            <a:xfrm>
              <a:off x="9730381" y="5055892"/>
              <a:ext cx="825546" cy="1065508"/>
            </a:xfrm>
            <a:prstGeom prst="rect">
              <a:avLst/>
            </a:prstGeom>
            <a:solidFill>
              <a:schemeClr val="bg2">
                <a:lumMod val="40000"/>
                <a:lumOff val="60000"/>
              </a:schemeClr>
            </a:solidFill>
            <a:ln w="9525" cap="flat" cmpd="sng" algn="ctr">
              <a:solidFill>
                <a:schemeClr val="bg1">
                  <a:lumMod val="85000"/>
                </a:schemeClr>
              </a:solidFill>
              <a:prstDash val="solid"/>
              <a:round/>
              <a:headEnd type="none" w="med" len="med"/>
              <a:tailEnd type="none" w="med" len="med"/>
            </a:ln>
            <a:effectLst/>
            <a:extLst/>
          </p:spPr>
          <p:txBody>
            <a:bodyPr/>
            <a:lstStyle/>
            <a:p>
              <a:pPr algn="ctr">
                <a:buFont typeface="Arial" pitchFamily="34" charset="0"/>
                <a:buNone/>
                <a:defRPr/>
              </a:pPr>
              <a:r>
                <a:rPr lang="zh-CN" altLang="en-US" sz="1200" kern="0" dirty="0">
                  <a:solidFill>
                    <a:srgbClr val="000000"/>
                  </a:solidFill>
                  <a:latin typeface="宋体" panose="02010600030101010101" pitchFamily="2" charset="-122"/>
                  <a:ea typeface="宋体" charset="-122"/>
                </a:rPr>
                <a:t>验证、维护、持续改进</a:t>
              </a:r>
            </a:p>
          </p:txBody>
        </p:sp>
        <p:pic>
          <p:nvPicPr>
            <p:cNvPr id="101417" name="图片 1"/>
            <p:cNvPicPr>
              <a:picLocks noChangeAspect="1" noChangeArrowheads="1"/>
            </p:cNvPicPr>
            <p:nvPr/>
          </p:nvPicPr>
          <p:blipFill>
            <a:blip r:embed="rId22"/>
            <a:srcRect/>
            <a:stretch>
              <a:fillRect/>
            </a:stretch>
          </p:blipFill>
          <p:spPr bwMode="auto">
            <a:xfrm>
              <a:off x="8760817" y="3214689"/>
              <a:ext cx="769934" cy="720725"/>
            </a:xfrm>
            <a:prstGeom prst="rect">
              <a:avLst/>
            </a:prstGeom>
            <a:noFill/>
            <a:ln w="9525">
              <a:noFill/>
              <a:miter lim="800000"/>
              <a:headEnd/>
              <a:tailEnd/>
            </a:ln>
          </p:spPr>
        </p:pic>
        <p:pic>
          <p:nvPicPr>
            <p:cNvPr id="39" name="Picture 2">
              <a:hlinkClick r:id="rId23" action="ppaction://hlinkfile"/>
              <a:extLst/>
            </p:cNvPr>
            <p:cNvPicPr>
              <a:picLocks noChangeAspect="1" noChangeArrowheads="1"/>
            </p:cNvPicPr>
            <p:nvPr/>
          </p:nvPicPr>
          <p:blipFill>
            <a:blip r:embed="rId24"/>
            <a:srcRect/>
            <a:stretch>
              <a:fillRect/>
            </a:stretch>
          </p:blipFill>
          <p:spPr bwMode="auto">
            <a:xfrm>
              <a:off x="8766014" y="4057416"/>
              <a:ext cx="787147" cy="652151"/>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01419" name="Picture 5"/>
            <p:cNvPicPr>
              <a:picLocks noChangeAspect="1" noChangeArrowheads="1"/>
            </p:cNvPicPr>
            <p:nvPr/>
          </p:nvPicPr>
          <p:blipFill>
            <a:blip r:embed="rId25"/>
            <a:srcRect/>
            <a:stretch>
              <a:fillRect/>
            </a:stretch>
          </p:blipFill>
          <p:spPr bwMode="auto">
            <a:xfrm>
              <a:off x="9730666" y="3213100"/>
              <a:ext cx="655692" cy="838200"/>
            </a:xfrm>
            <a:prstGeom prst="rect">
              <a:avLst/>
            </a:prstGeom>
            <a:noFill/>
            <a:ln w="9525">
              <a:noFill/>
              <a:miter lim="800000"/>
              <a:headEnd/>
              <a:tailEnd/>
            </a:ln>
          </p:spPr>
        </p:pic>
        <p:pic>
          <p:nvPicPr>
            <p:cNvPr id="101420" name="Picture 20" descr="customers图标"/>
            <p:cNvPicPr>
              <a:picLocks noChangeAspect="1" noChangeArrowheads="1"/>
            </p:cNvPicPr>
            <p:nvPr/>
          </p:nvPicPr>
          <p:blipFill>
            <a:blip r:embed="rId26"/>
            <a:srcRect/>
            <a:stretch>
              <a:fillRect/>
            </a:stretch>
          </p:blipFill>
          <p:spPr bwMode="auto">
            <a:xfrm>
              <a:off x="9869896" y="4203701"/>
              <a:ext cx="378422" cy="504825"/>
            </a:xfrm>
            <a:prstGeom prst="rect">
              <a:avLst/>
            </a:prstGeom>
            <a:noFill/>
            <a:ln w="9525">
              <a:noFill/>
              <a:miter lim="800000"/>
              <a:headEnd/>
              <a:tailEnd/>
            </a:ln>
          </p:spPr>
        </p:pic>
      </p:grpSp>
      <p:pic>
        <p:nvPicPr>
          <p:cNvPr id="131" name="图片 26">
            <a:extLst/>
          </p:cNvPr>
          <p:cNvPicPr>
            <a:picLocks noChangeAspect="1" noChangeArrowheads="1"/>
          </p:cNvPicPr>
          <p:nvPr/>
        </p:nvPicPr>
        <p:blipFill>
          <a:blip r:embed="rId27"/>
          <a:srcRect/>
          <a:stretch>
            <a:fillRect/>
          </a:stretch>
        </p:blipFill>
        <p:spPr bwMode="auto">
          <a:xfrm>
            <a:off x="10079094" y="1724998"/>
            <a:ext cx="1714500" cy="1579562"/>
          </a:xfrm>
          <a:prstGeom prst="rect">
            <a:avLst/>
          </a:prstGeom>
          <a:solidFill>
            <a:schemeClr val="tx1">
              <a:lumMod val="85000"/>
              <a:lumOff val="15000"/>
            </a:schemeClr>
          </a:solidFill>
          <a:ln w="28575" cmpd="sng">
            <a:solidFill>
              <a:schemeClr val="bg1">
                <a:lumMod val="50000"/>
              </a:schemeClr>
            </a:solidFill>
            <a:bevel/>
            <a:headEnd/>
            <a:tailEnd/>
          </a:ln>
        </p:spPr>
      </p:pic>
      <p:sp>
        <p:nvSpPr>
          <p:cNvPr id="132" name="矩形 47">
            <a:extLst/>
          </p:cNvPr>
          <p:cNvSpPr>
            <a:spLocks noChangeAspect="1" noChangeArrowheads="1"/>
          </p:cNvSpPr>
          <p:nvPr/>
        </p:nvSpPr>
        <p:spPr bwMode="auto">
          <a:xfrm>
            <a:off x="10112014" y="3396233"/>
            <a:ext cx="1801002" cy="1630342"/>
          </a:xfrm>
          <a:prstGeom prst="rect">
            <a:avLst/>
          </a:prstGeom>
          <a:blipFill dpi="0" rotWithShape="1">
            <a:blip r:embed="rId28" cstate="print"/>
            <a:srcRect/>
            <a:stretch>
              <a:fillRect/>
            </a:stretch>
          </a:blipFill>
          <a:ln w="28575">
            <a:gradFill>
              <a:gsLst>
                <a:gs pos="100000">
                  <a:schemeClr val="bg1">
                    <a:lumMod val="85000"/>
                  </a:schemeClr>
                </a:gs>
                <a:gs pos="0">
                  <a:schemeClr val="bg1"/>
                </a:gs>
              </a:gsLst>
              <a:lin ang="5400000" scaled="0"/>
            </a:gradFill>
            <a:bevel/>
            <a:headEnd/>
            <a:tailEnd/>
          </a:ln>
          <a:effectLst>
            <a:outerShdw blurRad="165100" dist="50800" dir="9000000" algn="ctr" rotWithShape="0">
              <a:srgbClr val="000000">
                <a:alpha val="43137"/>
              </a:srgbClr>
            </a:outerShdw>
          </a:effectLst>
          <a:extLst/>
        </p:spPr>
        <p:txBody>
          <a:bodyPr lIns="121912" tIns="60956" rIns="121912" bIns="60956" anchor="ctr"/>
          <a:lstStyle/>
          <a:p>
            <a:pPr algn="ctr">
              <a:defRPr/>
            </a:pPr>
            <a:endParaRPr lang="zh-CN" altLang="zh-CN" sz="2400">
              <a:solidFill>
                <a:srgbClr val="FFFFFF"/>
              </a:solidFill>
              <a:latin typeface="微软雅黑" pitchFamily="34" charset="-122"/>
              <a:ea typeface="微软雅黑" pitchFamily="34" charset="-122"/>
              <a:sym typeface="方正兰亭黑_GBK" pitchFamily="2" charset="-122"/>
            </a:endParaRPr>
          </a:p>
        </p:txBody>
      </p:sp>
      <p:sp>
        <p:nvSpPr>
          <p:cNvPr id="133" name="矩形 59">
            <a:extLst/>
          </p:cNvPr>
          <p:cNvSpPr>
            <a:spLocks noChangeAspect="1" noChangeArrowheads="1"/>
          </p:cNvSpPr>
          <p:nvPr/>
        </p:nvSpPr>
        <p:spPr bwMode="auto">
          <a:xfrm>
            <a:off x="10095734" y="5169722"/>
            <a:ext cx="1773034" cy="1331906"/>
          </a:xfrm>
          <a:prstGeom prst="rect">
            <a:avLst/>
          </a:prstGeom>
          <a:blipFill dpi="0" rotWithShape="1">
            <a:blip r:embed="rId29"/>
            <a:srcRect/>
            <a:stretch>
              <a:fillRect/>
            </a:stretch>
          </a:blipFill>
          <a:ln w="28575">
            <a:gradFill>
              <a:gsLst>
                <a:gs pos="100000">
                  <a:schemeClr val="bg1">
                    <a:lumMod val="85000"/>
                  </a:schemeClr>
                </a:gs>
                <a:gs pos="0">
                  <a:schemeClr val="bg1"/>
                </a:gs>
              </a:gsLst>
              <a:lin ang="5400000" scaled="0"/>
            </a:gradFill>
            <a:bevel/>
            <a:headEnd/>
            <a:tailEnd/>
          </a:ln>
          <a:effectLst>
            <a:outerShdw blurRad="165100" dist="50800" dir="9000000" algn="ctr" rotWithShape="0">
              <a:srgbClr val="000000">
                <a:alpha val="43137"/>
              </a:srgbClr>
            </a:outerShdw>
          </a:effectLst>
          <a:extLst/>
        </p:spPr>
        <p:txBody>
          <a:bodyPr lIns="121912" tIns="60956" rIns="121912" bIns="60956" anchor="ctr"/>
          <a:lstStyle/>
          <a:p>
            <a:pPr algn="ctr">
              <a:defRPr/>
            </a:pPr>
            <a:endParaRPr lang="zh-CN" altLang="zh-CN" sz="2400">
              <a:solidFill>
                <a:srgbClr val="FFFFFF"/>
              </a:solidFill>
              <a:latin typeface="微软雅黑" pitchFamily="34" charset="-122"/>
              <a:ea typeface="微软雅黑" pitchFamily="34" charset="-122"/>
              <a:sym typeface="方正兰亭黑_GBK" pitchFamily="2" charset="-122"/>
            </a:endParaRPr>
          </a:p>
        </p:txBody>
      </p:sp>
      <p:sp>
        <p:nvSpPr>
          <p:cNvPr id="2" name="矩形 1">
            <a:extLst>
              <a:ext uri="{FF2B5EF4-FFF2-40B4-BE49-F238E27FC236}">
                <a16:creationId xmlns:a16="http://schemas.microsoft.com/office/drawing/2014/main" id="{2051E523-E4E1-4B50-99F2-821AF8C524B3}"/>
              </a:ext>
            </a:extLst>
          </p:cNvPr>
          <p:cNvSpPr/>
          <p:nvPr/>
        </p:nvSpPr>
        <p:spPr>
          <a:xfrm>
            <a:off x="610151" y="993452"/>
            <a:ext cx="5995552" cy="369332"/>
          </a:xfrm>
          <a:prstGeom prst="rect">
            <a:avLst/>
          </a:prstGeom>
        </p:spPr>
        <p:txBody>
          <a:bodyPr wrap="none">
            <a:spAutoFit/>
          </a:bodyPr>
          <a:lstStyle/>
          <a:p>
            <a:pPr>
              <a:defRPr/>
            </a:pPr>
            <a:r>
              <a:rPr lang="zh-CN" altLang="en-US" b="1" dirty="0">
                <a:latin typeface="+mn-ea"/>
              </a:rPr>
              <a:t>根据企业自身实际情况，总体规划，分布实施，急用先行</a:t>
            </a:r>
            <a:endParaRPr lang="en-US" altLang="zh-CN" b="1" dirty="0">
              <a:latin typeface="+mn-ea"/>
            </a:endParaRPr>
          </a:p>
        </p:txBody>
      </p:sp>
    </p:spTree>
    <p:extLst>
      <p:ext uri="{BB962C8B-B14F-4D97-AF65-F5344CB8AC3E}">
        <p14:creationId xmlns:p14="http://schemas.microsoft.com/office/powerpoint/2010/main" val="424352595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1"/>
                                        </p:tgtEl>
                                        <p:attrNameLst>
                                          <p:attrName>style.visibility</p:attrName>
                                        </p:attrNameLst>
                                      </p:cBhvr>
                                      <p:to>
                                        <p:strVal val="visible"/>
                                      </p:to>
                                    </p:set>
                                    <p:anim calcmode="lin" valueType="num">
                                      <p:cBhvr>
                                        <p:cTn id="7" dur="750" fill="hold"/>
                                        <p:tgtEl>
                                          <p:spTgt spid="131"/>
                                        </p:tgtEl>
                                        <p:attrNameLst>
                                          <p:attrName>ppt_x</p:attrName>
                                        </p:attrNameLst>
                                      </p:cBhvr>
                                      <p:tavLst>
                                        <p:tav tm="0">
                                          <p:val>
                                            <p:strVal val="0-#ppt_w/2"/>
                                          </p:val>
                                        </p:tav>
                                        <p:tav tm="100000">
                                          <p:val>
                                            <p:strVal val="#ppt_x"/>
                                          </p:val>
                                        </p:tav>
                                      </p:tavLst>
                                    </p:anim>
                                    <p:anim calcmode="lin" valueType="num">
                                      <p:cBhvr>
                                        <p:cTn id="8" dur="750" fill="hold"/>
                                        <p:tgtEl>
                                          <p:spTgt spid="131"/>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2" presetClass="entr" presetSubtype="8" fill="hold" nodeType="afterEffect">
                                  <p:stCondLst>
                                    <p:cond delay="0"/>
                                  </p:stCondLst>
                                  <p:childTnLst>
                                    <p:set>
                                      <p:cBhvr>
                                        <p:cTn id="11" dur="1" fill="hold">
                                          <p:stCondLst>
                                            <p:cond delay="0"/>
                                          </p:stCondLst>
                                        </p:cTn>
                                        <p:tgtEl>
                                          <p:spTgt spid="132"/>
                                        </p:tgtEl>
                                        <p:attrNameLst>
                                          <p:attrName>style.visibility</p:attrName>
                                        </p:attrNameLst>
                                      </p:cBhvr>
                                      <p:to>
                                        <p:strVal val="visible"/>
                                      </p:to>
                                    </p:set>
                                    <p:anim calcmode="lin" valueType="num">
                                      <p:cBhvr>
                                        <p:cTn id="12" dur="500" fill="hold"/>
                                        <p:tgtEl>
                                          <p:spTgt spid="132"/>
                                        </p:tgtEl>
                                        <p:attrNameLst>
                                          <p:attrName>ppt_x</p:attrName>
                                        </p:attrNameLst>
                                      </p:cBhvr>
                                      <p:tavLst>
                                        <p:tav tm="0">
                                          <p:val>
                                            <p:strVal val="0-#ppt_w/2"/>
                                          </p:val>
                                        </p:tav>
                                        <p:tav tm="100000">
                                          <p:val>
                                            <p:strVal val="#ppt_x"/>
                                          </p:val>
                                        </p:tav>
                                      </p:tavLst>
                                    </p:anim>
                                    <p:anim calcmode="lin" valueType="num">
                                      <p:cBhvr>
                                        <p:cTn id="13" dur="500" fill="hold"/>
                                        <p:tgtEl>
                                          <p:spTgt spid="132"/>
                                        </p:tgtEl>
                                        <p:attrNameLst>
                                          <p:attrName>ppt_y</p:attrName>
                                        </p:attrNameLst>
                                      </p:cBhvr>
                                      <p:tavLst>
                                        <p:tav tm="0">
                                          <p:val>
                                            <p:strVal val="#ppt_y"/>
                                          </p:val>
                                        </p:tav>
                                        <p:tav tm="100000">
                                          <p:val>
                                            <p:strVal val="#ppt_y"/>
                                          </p:val>
                                        </p:tav>
                                      </p:tavLst>
                                    </p:anim>
                                  </p:childTnLst>
                                </p:cTn>
                              </p:par>
                            </p:childTnLst>
                          </p:cTn>
                        </p:par>
                        <p:par>
                          <p:cTn id="14" fill="hold">
                            <p:stCondLst>
                              <p:cond delay="1250"/>
                            </p:stCondLst>
                            <p:childTnLst>
                              <p:par>
                                <p:cTn id="15" presetID="2" presetClass="entr" presetSubtype="2" fill="hold" nodeType="afterEffect">
                                  <p:stCondLst>
                                    <p:cond delay="0"/>
                                  </p:stCondLst>
                                  <p:childTnLst>
                                    <p:set>
                                      <p:cBhvr>
                                        <p:cTn id="16" dur="1" fill="hold">
                                          <p:stCondLst>
                                            <p:cond delay="0"/>
                                          </p:stCondLst>
                                        </p:cTn>
                                        <p:tgtEl>
                                          <p:spTgt spid="133"/>
                                        </p:tgtEl>
                                        <p:attrNameLst>
                                          <p:attrName>style.visibility</p:attrName>
                                        </p:attrNameLst>
                                      </p:cBhvr>
                                      <p:to>
                                        <p:strVal val="visible"/>
                                      </p:to>
                                    </p:set>
                                    <p:anim calcmode="lin" valueType="num">
                                      <p:cBhvr>
                                        <p:cTn id="17" dur="500" fill="hold"/>
                                        <p:tgtEl>
                                          <p:spTgt spid="133"/>
                                        </p:tgtEl>
                                        <p:attrNameLst>
                                          <p:attrName>ppt_x</p:attrName>
                                        </p:attrNameLst>
                                      </p:cBhvr>
                                      <p:tavLst>
                                        <p:tav tm="0">
                                          <p:val>
                                            <p:strVal val="1+#ppt_w/2"/>
                                          </p:val>
                                        </p:tav>
                                        <p:tav tm="100000">
                                          <p:val>
                                            <p:strVal val="#ppt_x"/>
                                          </p:val>
                                        </p:tav>
                                      </p:tavLst>
                                    </p:anim>
                                    <p:anim calcmode="lin" valueType="num">
                                      <p:cBhvr>
                                        <p:cTn id="18" dur="500" fill="hold"/>
                                        <p:tgtEl>
                                          <p:spTgt spid="13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文本框 14"/>
          <p:cNvSpPr txBox="1">
            <a:spLocks noChangeArrowheads="1"/>
          </p:cNvSpPr>
          <p:nvPr/>
        </p:nvSpPr>
        <p:spPr bwMode="auto">
          <a:xfrm>
            <a:off x="1073150" y="-63500"/>
            <a:ext cx="908050" cy="830263"/>
          </a:xfrm>
          <a:prstGeom prst="rect">
            <a:avLst/>
          </a:prstGeom>
          <a:noFill/>
          <a:ln w="9525">
            <a:noFill/>
            <a:miter lim="800000"/>
            <a:headEnd/>
            <a:tailEnd/>
          </a:ln>
        </p:spPr>
        <p:txBody>
          <a:bodyPr>
            <a:spAutoFit/>
          </a:bodyPr>
          <a:lstStyle/>
          <a:p>
            <a:r>
              <a:rPr lang="en-US" altLang="zh-CN" sz="4800" b="1">
                <a:solidFill>
                  <a:schemeClr val="bg1"/>
                </a:solidFill>
                <a:latin typeface="微软雅黑" pitchFamily="34" charset="-122"/>
                <a:ea typeface="微软雅黑" pitchFamily="34" charset="-122"/>
              </a:rPr>
              <a:t>1</a:t>
            </a:r>
            <a:endParaRPr lang="zh-CN" altLang="en-US" sz="4800" b="1">
              <a:solidFill>
                <a:schemeClr val="bg1"/>
              </a:solidFill>
              <a:latin typeface="微软雅黑" pitchFamily="34" charset="-122"/>
              <a:ea typeface="微软雅黑" pitchFamily="34" charset="-122"/>
            </a:endParaRPr>
          </a:p>
        </p:txBody>
      </p:sp>
      <p:sp>
        <p:nvSpPr>
          <p:cNvPr id="37" name="AutoShape 1037">
            <a:hlinkClick r:id="rId2" action="ppaction://hlinksldjump" highlightClick="1"/>
            <a:extLst>
              <a:ext uri="{FF2B5EF4-FFF2-40B4-BE49-F238E27FC236}">
                <a16:creationId xmlns:a16="http://schemas.microsoft.com/office/drawing/2014/main" id="{67330394-4BB8-4EB1-AC59-146F64A7BE74}"/>
              </a:ext>
            </a:extLst>
          </p:cNvPr>
          <p:cNvSpPr>
            <a:spLocks noChangeArrowheads="1"/>
          </p:cNvSpPr>
          <p:nvPr/>
        </p:nvSpPr>
        <p:spPr bwMode="auto">
          <a:xfrm>
            <a:off x="5957303" y="1599542"/>
            <a:ext cx="1587" cy="1587"/>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b="1"/>
          </a:p>
        </p:txBody>
      </p:sp>
      <p:pic>
        <p:nvPicPr>
          <p:cNvPr id="38" name="Picture 11">
            <a:extLst>
              <a:ext uri="{FF2B5EF4-FFF2-40B4-BE49-F238E27FC236}">
                <a16:creationId xmlns:a16="http://schemas.microsoft.com/office/drawing/2014/main" id="{550B557F-4904-47B8-B555-1565407E6B0B}"/>
              </a:ext>
            </a:extLst>
          </p:cNvPr>
          <p:cNvPicPr>
            <a:picLocks noChangeAspect="1" noChangeArrowheads="1"/>
          </p:cNvPicPr>
          <p:nvPr/>
        </p:nvPicPr>
        <p:blipFill>
          <a:blip r:embed="rId3"/>
          <a:srcRect/>
          <a:stretch>
            <a:fillRect/>
          </a:stretch>
        </p:blipFill>
        <p:spPr bwMode="auto">
          <a:xfrm>
            <a:off x="5937445" y="1363837"/>
            <a:ext cx="5429250" cy="3686175"/>
          </a:xfrm>
          <a:prstGeom prst="rect">
            <a:avLst/>
          </a:prstGeom>
          <a:noFill/>
          <a:ln w="9525">
            <a:noFill/>
            <a:miter lim="800000"/>
            <a:headEnd/>
            <a:tailEnd/>
          </a:ln>
          <a:effectLst>
            <a:prstShdw prst="shdw17" dist="17961" dir="2700000">
              <a:schemeClr val="accent1">
                <a:gamma/>
                <a:shade val="60000"/>
                <a:invGamma/>
              </a:schemeClr>
            </a:prstShdw>
          </a:effectLst>
        </p:spPr>
      </p:pic>
      <p:sp>
        <p:nvSpPr>
          <p:cNvPr id="40" name="TextBox 13">
            <a:extLst>
              <a:ext uri="{FF2B5EF4-FFF2-40B4-BE49-F238E27FC236}">
                <a16:creationId xmlns:a16="http://schemas.microsoft.com/office/drawing/2014/main" id="{821E8253-EB1D-451B-8858-7ECF82562D6C}"/>
              </a:ext>
            </a:extLst>
          </p:cNvPr>
          <p:cNvSpPr txBox="1">
            <a:spLocks noChangeArrowheads="1"/>
          </p:cNvSpPr>
          <p:nvPr/>
        </p:nvSpPr>
        <p:spPr bwMode="auto">
          <a:xfrm>
            <a:off x="1232248" y="3093481"/>
            <a:ext cx="2000250" cy="1938338"/>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 typeface="Wingdings" panose="05000000000000000000" pitchFamily="2" charset="2"/>
              <a:buChar char="ü"/>
            </a:pPr>
            <a:r>
              <a:rPr lang="zh-CN" altLang="en-US" sz="2400" b="1" dirty="0">
                <a:solidFill>
                  <a:srgbClr val="6699FF"/>
                </a:solidFill>
              </a:rPr>
              <a:t>生产设备</a:t>
            </a:r>
            <a:endParaRPr lang="en-US" altLang="zh-CN" sz="2400" b="1" dirty="0">
              <a:solidFill>
                <a:srgbClr val="6699FF"/>
              </a:solidFill>
            </a:endParaRPr>
          </a:p>
          <a:p>
            <a:pPr>
              <a:spcBef>
                <a:spcPct val="0"/>
              </a:spcBef>
              <a:buFont typeface="Wingdings" panose="05000000000000000000" pitchFamily="2" charset="2"/>
              <a:buChar char="ü"/>
            </a:pPr>
            <a:r>
              <a:rPr lang="zh-CN" altLang="en-US" sz="2400" b="1" dirty="0">
                <a:solidFill>
                  <a:srgbClr val="6699FF"/>
                </a:solidFill>
              </a:rPr>
              <a:t>生产过程</a:t>
            </a:r>
            <a:endParaRPr lang="en-US" altLang="zh-CN" sz="2400" b="1" dirty="0">
              <a:solidFill>
                <a:srgbClr val="6699FF"/>
              </a:solidFill>
            </a:endParaRPr>
          </a:p>
          <a:p>
            <a:pPr>
              <a:spcBef>
                <a:spcPct val="0"/>
              </a:spcBef>
              <a:buFont typeface="Wingdings" panose="05000000000000000000" pitchFamily="2" charset="2"/>
              <a:buChar char="ü"/>
            </a:pPr>
            <a:r>
              <a:rPr lang="zh-CN" altLang="en-US" sz="2400" b="1" dirty="0">
                <a:solidFill>
                  <a:srgbClr val="6699FF"/>
                </a:solidFill>
              </a:rPr>
              <a:t>质量管理</a:t>
            </a:r>
            <a:endParaRPr lang="en-US" altLang="zh-CN" sz="2400" b="1" dirty="0">
              <a:solidFill>
                <a:srgbClr val="6699FF"/>
              </a:solidFill>
            </a:endParaRPr>
          </a:p>
          <a:p>
            <a:pPr>
              <a:spcBef>
                <a:spcPct val="0"/>
              </a:spcBef>
              <a:buFont typeface="Wingdings" panose="05000000000000000000" pitchFamily="2" charset="2"/>
              <a:buChar char="ü"/>
            </a:pPr>
            <a:r>
              <a:rPr lang="zh-CN" altLang="en-US" sz="2400" b="1" dirty="0">
                <a:solidFill>
                  <a:srgbClr val="6699FF"/>
                </a:solidFill>
              </a:rPr>
              <a:t>检测系统</a:t>
            </a:r>
            <a:endParaRPr lang="en-US" altLang="zh-CN" sz="2400" b="1" dirty="0">
              <a:solidFill>
                <a:srgbClr val="6699FF"/>
              </a:solidFill>
            </a:endParaRPr>
          </a:p>
          <a:p>
            <a:pPr>
              <a:spcBef>
                <a:spcPct val="0"/>
              </a:spcBef>
              <a:buFont typeface="Wingdings" panose="05000000000000000000" pitchFamily="2" charset="2"/>
              <a:buChar char="ü"/>
            </a:pPr>
            <a:r>
              <a:rPr lang="zh-CN" altLang="en-US" sz="2400" b="1" dirty="0">
                <a:solidFill>
                  <a:srgbClr val="6699FF"/>
                </a:solidFill>
              </a:rPr>
              <a:t>计算机系统</a:t>
            </a:r>
          </a:p>
        </p:txBody>
      </p:sp>
      <p:sp>
        <p:nvSpPr>
          <p:cNvPr id="41" name="右箭头 19">
            <a:extLst>
              <a:ext uri="{FF2B5EF4-FFF2-40B4-BE49-F238E27FC236}">
                <a16:creationId xmlns:a16="http://schemas.microsoft.com/office/drawing/2014/main" id="{7991380F-9DD6-4533-8994-64E769AF3CF3}"/>
              </a:ext>
            </a:extLst>
          </p:cNvPr>
          <p:cNvSpPr>
            <a:spLocks noChangeArrowheads="1"/>
          </p:cNvSpPr>
          <p:nvPr/>
        </p:nvSpPr>
        <p:spPr bwMode="auto">
          <a:xfrm rot="10800000">
            <a:off x="3689105" y="2928937"/>
            <a:ext cx="1428750" cy="1000125"/>
          </a:xfrm>
          <a:prstGeom prst="rightArrow">
            <a:avLst>
              <a:gd name="adj1" fmla="val 50000"/>
              <a:gd name="adj2" fmla="val 50000"/>
            </a:avLst>
          </a:prstGeom>
          <a:solidFill>
            <a:schemeClr val="accent1"/>
          </a:solidFill>
          <a:ln w="9525" algn="ctr">
            <a:solidFill>
              <a:schemeClr val="tx1"/>
            </a:solidFill>
            <a:round/>
            <a:headEnd/>
            <a:tailEnd/>
          </a:ln>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0"/>
              </a:spcBef>
              <a:buFontTx/>
              <a:buNone/>
            </a:pPr>
            <a:endParaRPr lang="zh-CN" altLang="en-US" sz="1800" b="1"/>
          </a:p>
        </p:txBody>
      </p:sp>
      <p:pic>
        <p:nvPicPr>
          <p:cNvPr id="42" name="Picture 12">
            <a:extLst>
              <a:ext uri="{FF2B5EF4-FFF2-40B4-BE49-F238E27FC236}">
                <a16:creationId xmlns:a16="http://schemas.microsoft.com/office/drawing/2014/main" id="{22EEFCE3-5F59-4D84-BFD3-8B7F21DDEEA2}"/>
              </a:ext>
            </a:extLst>
          </p:cNvPr>
          <p:cNvPicPr>
            <a:picLocks noChangeAspect="1" noChangeArrowheads="1"/>
          </p:cNvPicPr>
          <p:nvPr/>
        </p:nvPicPr>
        <p:blipFill>
          <a:blip r:embed="rId4"/>
          <a:srcRect/>
          <a:stretch>
            <a:fillRect/>
          </a:stretch>
        </p:blipFill>
        <p:spPr bwMode="auto">
          <a:xfrm>
            <a:off x="905223" y="1377679"/>
            <a:ext cx="2654300" cy="1214437"/>
          </a:xfrm>
          <a:prstGeom prst="rect">
            <a:avLst/>
          </a:prstGeom>
          <a:noFill/>
          <a:ln w="9525">
            <a:noFill/>
            <a:miter lim="800000"/>
            <a:headEnd/>
            <a:tailEnd/>
          </a:ln>
          <a:effectLst>
            <a:prstShdw prst="shdw17" dist="17961" dir="2700000">
              <a:schemeClr val="accent1">
                <a:gamma/>
                <a:shade val="60000"/>
                <a:invGamma/>
              </a:schemeClr>
            </a:prstShdw>
          </a:effectLst>
        </p:spPr>
      </p:pic>
      <p:sp>
        <p:nvSpPr>
          <p:cNvPr id="45" name="TextBox 13">
            <a:extLst>
              <a:ext uri="{FF2B5EF4-FFF2-40B4-BE49-F238E27FC236}">
                <a16:creationId xmlns:a16="http://schemas.microsoft.com/office/drawing/2014/main" id="{9A54A939-5F2E-4726-BBC0-5E648E5AF170}"/>
              </a:ext>
            </a:extLst>
          </p:cNvPr>
          <p:cNvSpPr txBox="1">
            <a:spLocks noChangeArrowheads="1"/>
          </p:cNvSpPr>
          <p:nvPr/>
        </p:nvSpPr>
        <p:spPr bwMode="auto">
          <a:xfrm>
            <a:off x="215416" y="124544"/>
            <a:ext cx="5277818"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algn="ctr">
              <a:defRPr/>
            </a:pPr>
            <a:r>
              <a:rPr lang="zh-CN" altLang="en-US" sz="3600" dirty="0">
                <a:solidFill>
                  <a:srgbClr val="0070C0"/>
                </a:solidFill>
                <a:latin typeface="+mj-ea"/>
                <a:ea typeface="+mj-ea"/>
              </a:rPr>
              <a:t>合规性</a:t>
            </a:r>
            <a:r>
              <a:rPr lang="en-US" altLang="zh-CN" sz="3600" dirty="0">
                <a:ln w="22225">
                  <a:solidFill>
                    <a:schemeClr val="accent2"/>
                  </a:solidFill>
                  <a:prstDash val="solid"/>
                </a:ln>
                <a:solidFill>
                  <a:schemeClr val="accent2">
                    <a:lumMod val="40000"/>
                    <a:lumOff val="60000"/>
                  </a:schemeClr>
                </a:solidFill>
                <a:latin typeface="+mj-ea"/>
                <a:ea typeface="+mj-ea"/>
              </a:rPr>
              <a:t>VS</a:t>
            </a:r>
            <a:r>
              <a:rPr lang="zh-CN" altLang="en-US" sz="3600" dirty="0">
                <a:ln w="22225">
                  <a:solidFill>
                    <a:schemeClr val="accent2"/>
                  </a:solidFill>
                  <a:prstDash val="solid"/>
                </a:ln>
                <a:solidFill>
                  <a:srgbClr val="0070C0"/>
                </a:solidFill>
                <a:latin typeface="+mj-ea"/>
                <a:ea typeface="+mj-ea"/>
              </a:rPr>
              <a:t>产业升级</a:t>
            </a:r>
            <a:endParaRPr lang="zh-CN" altLang="en-US" sz="3600" dirty="0">
              <a:solidFill>
                <a:srgbClr val="0070C0"/>
              </a:solidFill>
              <a:latin typeface="+mj-ea"/>
              <a:ea typeface="+mj-ea"/>
            </a:endParaRPr>
          </a:p>
        </p:txBody>
      </p:sp>
      <p:sp>
        <p:nvSpPr>
          <p:cNvPr id="46" name="Text Box 9">
            <a:extLst>
              <a:ext uri="{FF2B5EF4-FFF2-40B4-BE49-F238E27FC236}">
                <a16:creationId xmlns:a16="http://schemas.microsoft.com/office/drawing/2014/main" id="{5625BD14-BA0D-4551-9C61-FD6BCCB168D3}"/>
              </a:ext>
            </a:extLst>
          </p:cNvPr>
          <p:cNvSpPr txBox="1">
            <a:spLocks noChangeArrowheads="1"/>
          </p:cNvSpPr>
          <p:nvPr/>
        </p:nvSpPr>
        <p:spPr bwMode="auto">
          <a:xfrm>
            <a:off x="773723" y="5516175"/>
            <a:ext cx="10592972" cy="1055687"/>
          </a:xfrm>
          <a:prstGeom prst="rect">
            <a:avLst/>
          </a:prstGeom>
          <a:solidFill>
            <a:srgbClr val="144592">
              <a:alpha val="9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457200" indent="-457200" eaLnBrk="1" hangingPunct="1">
              <a:spcBef>
                <a:spcPts val="0"/>
              </a:spcBef>
              <a:buClr>
                <a:srgbClr val="000000"/>
              </a:buClr>
              <a:buFont typeface="Arial" panose="020B0604020202020204" pitchFamily="34" charset="0"/>
              <a:buNone/>
              <a:defRPr sz="2200" b="1" ker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indent="0">
              <a:lnSpc>
                <a:spcPct val="130000"/>
              </a:lnSpc>
              <a:spcBef>
                <a:spcPts val="600"/>
              </a:spcBef>
              <a:spcAft>
                <a:spcPts val="600"/>
              </a:spcAft>
              <a:defRPr/>
            </a:pPr>
            <a:r>
              <a:rPr lang="zh-CN" altLang="en-US" dirty="0">
                <a:solidFill>
                  <a:prstClr val="white"/>
                </a:solidFill>
              </a:rPr>
              <a:t>医药工业的产业升级首先要满足贯穿医药生产全过程的高合规性要求（质量与风险控制），同时也对监管提出了新的挑战</a:t>
            </a:r>
          </a:p>
        </p:txBody>
      </p:sp>
    </p:spTree>
    <p:extLst>
      <p:ext uri="{BB962C8B-B14F-4D97-AF65-F5344CB8AC3E}">
        <p14:creationId xmlns:p14="http://schemas.microsoft.com/office/powerpoint/2010/main" val="4124024285"/>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8" y="114300"/>
            <a:ext cx="3644472"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fontScale="92500"/>
          </a:bodyPr>
          <a:lstStyle/>
          <a:p>
            <a:pPr marL="177800">
              <a:lnSpc>
                <a:spcPts val="2600"/>
              </a:lnSpc>
              <a:defRPr/>
            </a:pPr>
            <a:r>
              <a:rPr lang="zh-CN" altLang="en-US" sz="3300" b="1" dirty="0">
                <a:solidFill>
                  <a:srgbClr val="0070C0"/>
                </a:solidFill>
                <a:latin typeface="+mj-ea"/>
                <a:ea typeface="+mj-ea"/>
              </a:rPr>
              <a:t>计算机化系统验证</a:t>
            </a:r>
          </a:p>
        </p:txBody>
      </p:sp>
      <p:pic>
        <p:nvPicPr>
          <p:cNvPr id="134" name="图片 16">
            <a:extLst>
              <a:ext uri="{FF2B5EF4-FFF2-40B4-BE49-F238E27FC236}">
                <a16:creationId xmlns:a16="http://schemas.microsoft.com/office/drawing/2014/main" id="{12BE828D-9B94-467A-A219-B0137EE7E18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1278835"/>
            <a:ext cx="3888701" cy="2150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5" name="表格 134">
            <a:extLst>
              <a:ext uri="{FF2B5EF4-FFF2-40B4-BE49-F238E27FC236}">
                <a16:creationId xmlns:a16="http://schemas.microsoft.com/office/drawing/2014/main" id="{065C00FD-9366-480B-888E-1413583BAC7A}"/>
              </a:ext>
            </a:extLst>
          </p:cNvPr>
          <p:cNvGraphicFramePr>
            <a:graphicFrameLocks noGrp="1"/>
          </p:cNvGraphicFramePr>
          <p:nvPr>
            <p:extLst>
              <p:ext uri="{D42A27DB-BD31-4B8C-83A1-F6EECF244321}">
                <p14:modId xmlns:p14="http://schemas.microsoft.com/office/powerpoint/2010/main" val="1321450550"/>
              </p:ext>
            </p:extLst>
          </p:nvPr>
        </p:nvGraphicFramePr>
        <p:xfrm>
          <a:off x="3984073" y="937661"/>
          <a:ext cx="8207927" cy="5437471"/>
        </p:xfrm>
        <a:graphic>
          <a:graphicData uri="http://schemas.openxmlformats.org/drawingml/2006/table">
            <a:tbl>
              <a:tblPr firstRow="1" bandRow="1">
                <a:tableStyleId>{5C22544A-7EE6-4342-B048-85BDC9FD1C3A}</a:tableStyleId>
              </a:tblPr>
              <a:tblGrid>
                <a:gridCol w="1057997">
                  <a:extLst>
                    <a:ext uri="{9D8B030D-6E8A-4147-A177-3AD203B41FA5}">
                      <a16:colId xmlns:a16="http://schemas.microsoft.com/office/drawing/2014/main" val="20000"/>
                    </a:ext>
                  </a:extLst>
                </a:gridCol>
                <a:gridCol w="1811863">
                  <a:extLst>
                    <a:ext uri="{9D8B030D-6E8A-4147-A177-3AD203B41FA5}">
                      <a16:colId xmlns:a16="http://schemas.microsoft.com/office/drawing/2014/main" val="20001"/>
                    </a:ext>
                  </a:extLst>
                </a:gridCol>
                <a:gridCol w="1941281">
                  <a:extLst>
                    <a:ext uri="{9D8B030D-6E8A-4147-A177-3AD203B41FA5}">
                      <a16:colId xmlns:a16="http://schemas.microsoft.com/office/drawing/2014/main" val="20002"/>
                    </a:ext>
                  </a:extLst>
                </a:gridCol>
                <a:gridCol w="3396786">
                  <a:extLst>
                    <a:ext uri="{9D8B030D-6E8A-4147-A177-3AD203B41FA5}">
                      <a16:colId xmlns:a16="http://schemas.microsoft.com/office/drawing/2014/main" val="20003"/>
                    </a:ext>
                  </a:extLst>
                </a:gridCol>
              </a:tblGrid>
              <a:tr h="370862">
                <a:tc>
                  <a:txBody>
                    <a:bodyPr/>
                    <a:lstStyle/>
                    <a:p>
                      <a:pPr algn="ctr"/>
                      <a:r>
                        <a:rPr lang="zh-CN" altLang="en-US" sz="1800" b="1" dirty="0">
                          <a:solidFill>
                            <a:srgbClr val="3333FF"/>
                          </a:solidFill>
                        </a:rPr>
                        <a:t>分类</a:t>
                      </a:r>
                    </a:p>
                  </a:txBody>
                  <a:tcPr marL="91462" marR="91462" marT="45723" marB="45723">
                    <a:solidFill>
                      <a:schemeClr val="accent4">
                        <a:lumMod val="20000"/>
                        <a:lumOff val="80000"/>
                      </a:schemeClr>
                    </a:solidFill>
                  </a:tcPr>
                </a:tc>
                <a:tc>
                  <a:txBody>
                    <a:bodyPr/>
                    <a:lstStyle/>
                    <a:p>
                      <a:pPr algn="ctr"/>
                      <a:r>
                        <a:rPr lang="zh-CN" altLang="en-US" sz="1800" b="1" dirty="0">
                          <a:solidFill>
                            <a:srgbClr val="3333FF"/>
                          </a:solidFill>
                        </a:rPr>
                        <a:t>描述</a:t>
                      </a:r>
                    </a:p>
                  </a:txBody>
                  <a:tcPr marL="91462" marR="91462" marT="45723" marB="45723">
                    <a:solidFill>
                      <a:schemeClr val="accent4">
                        <a:lumMod val="20000"/>
                        <a:lumOff val="80000"/>
                      </a:schemeClr>
                    </a:solidFill>
                  </a:tcPr>
                </a:tc>
                <a:tc>
                  <a:txBody>
                    <a:bodyPr/>
                    <a:lstStyle/>
                    <a:p>
                      <a:pPr algn="ctr"/>
                      <a:r>
                        <a:rPr lang="zh-CN" altLang="en-US" sz="1800" b="1" dirty="0">
                          <a:solidFill>
                            <a:srgbClr val="3333FF"/>
                          </a:solidFill>
                        </a:rPr>
                        <a:t>典型系统</a:t>
                      </a:r>
                    </a:p>
                  </a:txBody>
                  <a:tcPr marL="91462" marR="91462" marT="45723" marB="45723">
                    <a:solidFill>
                      <a:schemeClr val="accent4">
                        <a:lumMod val="20000"/>
                        <a:lumOff val="80000"/>
                      </a:schemeClr>
                    </a:solidFill>
                  </a:tcPr>
                </a:tc>
                <a:tc>
                  <a:txBody>
                    <a:bodyPr/>
                    <a:lstStyle/>
                    <a:p>
                      <a:pPr algn="ctr"/>
                      <a:r>
                        <a:rPr lang="zh-CN" altLang="en-US" sz="1800" b="1" dirty="0">
                          <a:solidFill>
                            <a:srgbClr val="3333FF"/>
                          </a:solidFill>
                        </a:rPr>
                        <a:t>验证方法</a:t>
                      </a:r>
                    </a:p>
                  </a:txBody>
                  <a:tcPr marL="91462" marR="91462" marT="45723" marB="45723">
                    <a:solidFill>
                      <a:schemeClr val="accent4">
                        <a:lumMod val="20000"/>
                        <a:lumOff val="80000"/>
                      </a:schemeClr>
                    </a:solidFill>
                  </a:tcPr>
                </a:tc>
                <a:extLst>
                  <a:ext uri="{0D108BD9-81ED-4DB2-BD59-A6C34878D82A}">
                    <a16:rowId xmlns:a16="http://schemas.microsoft.com/office/drawing/2014/main" val="10000"/>
                  </a:ext>
                </a:extLst>
              </a:tr>
              <a:tr h="944935">
                <a:tc>
                  <a:txBody>
                    <a:bodyPr/>
                    <a:lstStyle/>
                    <a:p>
                      <a:r>
                        <a:rPr lang="en-US" altLang="zh-CN" sz="1400" dirty="0"/>
                        <a:t>1 </a:t>
                      </a:r>
                      <a:r>
                        <a:rPr lang="zh-CN" altLang="en-US" sz="1400" dirty="0"/>
                        <a:t>基础设施软件</a:t>
                      </a:r>
                    </a:p>
                  </a:txBody>
                  <a:tcPr marL="91462" marR="91462" marT="45723" marB="45723">
                    <a:solidFill>
                      <a:schemeClr val="accent2">
                        <a:lumMod val="20000"/>
                        <a:lumOff val="80000"/>
                      </a:schemeClr>
                    </a:solidFill>
                  </a:tcPr>
                </a:tc>
                <a:tc>
                  <a:txBody>
                    <a:bodyPr/>
                    <a:lstStyle/>
                    <a:p>
                      <a:r>
                        <a:rPr lang="zh-CN" altLang="en-US" sz="1400" dirty="0"/>
                        <a:t>分层式软件</a:t>
                      </a:r>
                      <a:endParaRPr lang="en-US" altLang="zh-CN" sz="1400" dirty="0"/>
                    </a:p>
                    <a:p>
                      <a:r>
                        <a:rPr lang="zh-CN" altLang="en-US" sz="1400" dirty="0"/>
                        <a:t>用于管理操作环境软件</a:t>
                      </a:r>
                    </a:p>
                  </a:txBody>
                  <a:tcPr marL="91462" marR="91462" marT="45723" marB="45723">
                    <a:solidFill>
                      <a:schemeClr val="accent2">
                        <a:lumMod val="20000"/>
                        <a:lumOff val="80000"/>
                      </a:schemeClr>
                    </a:solidFill>
                  </a:tcPr>
                </a:tc>
                <a:tc>
                  <a:txBody>
                    <a:bodyPr/>
                    <a:lstStyle/>
                    <a:p>
                      <a:r>
                        <a:rPr lang="zh-CN" altLang="en-US" sz="1400" dirty="0"/>
                        <a:t>操作系统</a:t>
                      </a:r>
                      <a:endParaRPr lang="en-US" altLang="zh-CN" sz="1400" dirty="0"/>
                    </a:p>
                    <a:p>
                      <a:r>
                        <a:rPr lang="zh-CN" altLang="en-US" sz="1400" dirty="0"/>
                        <a:t>数据库引擎</a:t>
                      </a:r>
                      <a:endParaRPr lang="en-US" altLang="zh-CN" sz="1400" dirty="0"/>
                    </a:p>
                    <a:p>
                      <a:r>
                        <a:rPr lang="zh-CN" altLang="en-US" sz="1400" dirty="0"/>
                        <a:t>编程语言</a:t>
                      </a:r>
                      <a:endParaRPr lang="en-US" altLang="zh-CN" sz="1400" dirty="0"/>
                    </a:p>
                    <a:p>
                      <a:r>
                        <a:rPr lang="zh-CN" altLang="en-US" sz="1400" dirty="0"/>
                        <a:t>网络监控工具</a:t>
                      </a:r>
                    </a:p>
                  </a:txBody>
                  <a:tcPr marL="91462" marR="91462" marT="45723" marB="45723">
                    <a:solidFill>
                      <a:schemeClr val="accent2">
                        <a:lumMod val="20000"/>
                        <a:lumOff val="80000"/>
                      </a:schemeClr>
                    </a:solidFill>
                  </a:tcPr>
                </a:tc>
                <a:tc>
                  <a:txBody>
                    <a:bodyPr/>
                    <a:lstStyle/>
                    <a:p>
                      <a:pPr>
                        <a:buFont typeface="Wingdings" pitchFamily="2" charset="2"/>
                        <a:buChar char="Ø"/>
                      </a:pPr>
                      <a:r>
                        <a:rPr lang="zh-CN" altLang="en-US" sz="1400" dirty="0"/>
                        <a:t>确认名称及版本号</a:t>
                      </a:r>
                      <a:endParaRPr lang="en-US" altLang="zh-CN" sz="1400" dirty="0"/>
                    </a:p>
                    <a:p>
                      <a:pPr>
                        <a:buFont typeface="Wingdings" pitchFamily="2" charset="2"/>
                        <a:buChar char="Ø"/>
                      </a:pPr>
                      <a:r>
                        <a:rPr lang="zh-CN" altLang="en-US" sz="1400" dirty="0"/>
                        <a:t>正确安装</a:t>
                      </a:r>
                    </a:p>
                  </a:txBody>
                  <a:tcPr marL="91462" marR="91462" marT="45723" marB="45723">
                    <a:solidFill>
                      <a:schemeClr val="accent2">
                        <a:lumMod val="20000"/>
                        <a:lumOff val="80000"/>
                      </a:schemeClr>
                    </a:solidFill>
                  </a:tcPr>
                </a:tc>
                <a:extLst>
                  <a:ext uri="{0D108BD9-81ED-4DB2-BD59-A6C34878D82A}">
                    <a16:rowId xmlns:a16="http://schemas.microsoft.com/office/drawing/2014/main" val="10001"/>
                  </a:ext>
                </a:extLst>
              </a:tr>
              <a:tr h="1378314">
                <a:tc>
                  <a:txBody>
                    <a:bodyPr/>
                    <a:lstStyle/>
                    <a:p>
                      <a:r>
                        <a:rPr lang="en-US" altLang="zh-CN" sz="1400" dirty="0"/>
                        <a:t>3</a:t>
                      </a:r>
                      <a:r>
                        <a:rPr lang="zh-CN" altLang="en-US" sz="1400" dirty="0"/>
                        <a:t>不可配置软件</a:t>
                      </a:r>
                    </a:p>
                  </a:txBody>
                  <a:tcPr marL="91462" marR="91462" marT="45723" marB="45723"/>
                </a:tc>
                <a:tc>
                  <a:txBody>
                    <a:bodyPr/>
                    <a:lstStyle/>
                    <a:p>
                      <a:r>
                        <a:rPr lang="zh-CN" altLang="en-US" sz="1400" dirty="0"/>
                        <a:t>可以输入并储存运行参数，但是不能根据业务流程进行配置</a:t>
                      </a:r>
                    </a:p>
                  </a:txBody>
                  <a:tcPr marL="91462" marR="91462" marT="45723" marB="45723"/>
                </a:tc>
                <a:tc>
                  <a:txBody>
                    <a:bodyPr/>
                    <a:lstStyle/>
                    <a:p>
                      <a:r>
                        <a:rPr lang="zh-CN" altLang="en-US" sz="1400" dirty="0"/>
                        <a:t>给予固件的应用程序</a:t>
                      </a:r>
                      <a:endParaRPr lang="en-US" altLang="zh-CN" sz="1400" dirty="0"/>
                    </a:p>
                    <a:p>
                      <a:r>
                        <a:rPr lang="en-US" altLang="zh-CN" sz="1400" dirty="0"/>
                        <a:t>COTS</a:t>
                      </a:r>
                      <a:r>
                        <a:rPr lang="zh-CN" altLang="en-US" sz="1400" dirty="0"/>
                        <a:t>软件</a:t>
                      </a:r>
                      <a:endParaRPr lang="en-US" altLang="zh-CN" sz="1400" dirty="0"/>
                    </a:p>
                    <a:p>
                      <a:r>
                        <a:rPr lang="zh-CN" altLang="en-US" sz="1400" dirty="0"/>
                        <a:t>实验室分析工作站（</a:t>
                      </a:r>
                      <a:r>
                        <a:rPr lang="en-US" altLang="zh-CN" sz="1400" dirty="0"/>
                        <a:t>GC</a:t>
                      </a:r>
                      <a:r>
                        <a:rPr lang="zh-CN" altLang="en-US" sz="1400" dirty="0"/>
                        <a:t>、</a:t>
                      </a:r>
                      <a:r>
                        <a:rPr lang="en-US" altLang="zh-CN" sz="1400" dirty="0"/>
                        <a:t>HPLC</a:t>
                      </a:r>
                      <a:r>
                        <a:rPr lang="zh-CN" altLang="en-US" sz="1400" dirty="0"/>
                        <a:t>、</a:t>
                      </a:r>
                      <a:r>
                        <a:rPr lang="en-US" altLang="zh-CN" sz="1400" dirty="0"/>
                        <a:t>UV</a:t>
                      </a:r>
                      <a:r>
                        <a:rPr lang="zh-CN" altLang="en-US" sz="1400" dirty="0"/>
                        <a:t>等）</a:t>
                      </a:r>
                      <a:endParaRPr lang="en-US" altLang="zh-CN" sz="1400" dirty="0"/>
                    </a:p>
                    <a:p>
                      <a:r>
                        <a:rPr lang="zh-CN" altLang="en-US" sz="1400" dirty="0"/>
                        <a:t>智能仪表（记录仪）</a:t>
                      </a:r>
                    </a:p>
                  </a:txBody>
                  <a:tcPr marL="91462" marR="91462" marT="45723" marB="45723"/>
                </a:tc>
                <a:tc>
                  <a:txBody>
                    <a:bodyPr/>
                    <a:lstStyle/>
                    <a:p>
                      <a:r>
                        <a:rPr lang="zh-CN" altLang="en-US" sz="1400" dirty="0"/>
                        <a:t>简化的生命周期方法：</a:t>
                      </a:r>
                      <a:endParaRPr lang="en-US" altLang="zh-CN" sz="1400" dirty="0"/>
                    </a:p>
                    <a:p>
                      <a:pPr>
                        <a:buFont typeface="Wingdings" pitchFamily="2" charset="2"/>
                        <a:buChar char="Ø"/>
                      </a:pPr>
                      <a:r>
                        <a:rPr lang="zh-CN" altLang="en-US" sz="1400" dirty="0"/>
                        <a:t>用户需求</a:t>
                      </a:r>
                      <a:endParaRPr lang="en-US" altLang="zh-CN" sz="1400" dirty="0"/>
                    </a:p>
                    <a:p>
                      <a:pPr>
                        <a:buFont typeface="Wingdings" pitchFamily="2" charset="2"/>
                        <a:buChar char="Ø"/>
                      </a:pPr>
                      <a:r>
                        <a:rPr lang="zh-CN" altLang="en-US" sz="1400" dirty="0"/>
                        <a:t>基于风险的供应商评估</a:t>
                      </a:r>
                      <a:endParaRPr lang="en-US" altLang="zh-CN" sz="1400" dirty="0"/>
                    </a:p>
                    <a:p>
                      <a:pPr>
                        <a:buFont typeface="Wingdings" pitchFamily="2" charset="2"/>
                        <a:buChar char="Ø"/>
                      </a:pPr>
                      <a:r>
                        <a:rPr lang="zh-CN" altLang="en-US" sz="1400" dirty="0"/>
                        <a:t>记录版本、确认正确安装</a:t>
                      </a:r>
                      <a:endParaRPr lang="en-US" altLang="zh-CN" sz="1400" dirty="0"/>
                    </a:p>
                    <a:p>
                      <a:pPr>
                        <a:buFont typeface="Wingdings" pitchFamily="2" charset="2"/>
                        <a:buChar char="Ø"/>
                      </a:pPr>
                      <a:r>
                        <a:rPr lang="zh-CN" altLang="en-US" sz="1400" dirty="0"/>
                        <a:t>根据风险评估确定的验证项目</a:t>
                      </a:r>
                      <a:endParaRPr lang="en-US" altLang="zh-CN" sz="1400" dirty="0"/>
                    </a:p>
                    <a:p>
                      <a:pPr>
                        <a:buFont typeface="Wingdings" pitchFamily="2" charset="2"/>
                        <a:buChar char="Ø"/>
                      </a:pPr>
                      <a:r>
                        <a:rPr lang="zh-CN" altLang="en-US" sz="1400" dirty="0"/>
                        <a:t>维护和操作规程</a:t>
                      </a:r>
                    </a:p>
                  </a:txBody>
                  <a:tcPr marL="91462" marR="91462" marT="45723" marB="45723"/>
                </a:tc>
                <a:extLst>
                  <a:ext uri="{0D108BD9-81ED-4DB2-BD59-A6C34878D82A}">
                    <a16:rowId xmlns:a16="http://schemas.microsoft.com/office/drawing/2014/main" val="10002"/>
                  </a:ext>
                </a:extLst>
              </a:tr>
              <a:tr h="1798425">
                <a:tc>
                  <a:txBody>
                    <a:bodyPr/>
                    <a:lstStyle/>
                    <a:p>
                      <a:r>
                        <a:rPr lang="en-US" altLang="zh-CN" sz="1400" dirty="0"/>
                        <a:t>4</a:t>
                      </a:r>
                      <a:r>
                        <a:rPr lang="zh-CN" altLang="en-US" sz="1400" dirty="0"/>
                        <a:t>可配置软件</a:t>
                      </a:r>
                    </a:p>
                  </a:txBody>
                  <a:tcPr marL="91462" marR="91462" marT="45723" marB="45723"/>
                </a:tc>
                <a:tc>
                  <a:txBody>
                    <a:bodyPr/>
                    <a:lstStyle/>
                    <a:p>
                      <a:r>
                        <a:rPr lang="zh-CN" altLang="en-US" sz="1400" dirty="0"/>
                        <a:t>通常非常复杂，用户可进行配置以满足具体业务流程特殊需求，这种软件的源代码不能更改</a:t>
                      </a:r>
                    </a:p>
                  </a:txBody>
                  <a:tcPr marL="91462" marR="91462" marT="45723" marB="45723"/>
                </a:tc>
                <a:tc>
                  <a:txBody>
                    <a:bodyPr/>
                    <a:lstStyle/>
                    <a:p>
                      <a:r>
                        <a:rPr lang="en-US" altLang="zh-CN" sz="1400" b="1" dirty="0">
                          <a:solidFill>
                            <a:srgbClr val="FF0000"/>
                          </a:solidFill>
                        </a:rPr>
                        <a:t>SCADA</a:t>
                      </a:r>
                    </a:p>
                    <a:p>
                      <a:r>
                        <a:rPr lang="en-US" altLang="zh-CN" sz="1400" dirty="0"/>
                        <a:t>DCS</a:t>
                      </a:r>
                      <a:r>
                        <a:rPr lang="zh-CN" altLang="en-US" sz="1400" dirty="0"/>
                        <a:t>（分布式控制系统）</a:t>
                      </a:r>
                      <a:endParaRPr lang="en-US" altLang="zh-CN" sz="1400" dirty="0"/>
                    </a:p>
                    <a:p>
                      <a:r>
                        <a:rPr lang="en-US" altLang="zh-CN" sz="1400" dirty="0"/>
                        <a:t>PLC</a:t>
                      </a:r>
                      <a:r>
                        <a:rPr lang="zh-CN" altLang="en-US" sz="1400" dirty="0"/>
                        <a:t>（各种药机设备）</a:t>
                      </a:r>
                      <a:endParaRPr lang="en-US" altLang="zh-CN" sz="1400" dirty="0"/>
                    </a:p>
                    <a:p>
                      <a:r>
                        <a:rPr lang="en-US" altLang="zh-CN" sz="1400" dirty="0"/>
                        <a:t>EMS</a:t>
                      </a:r>
                    </a:p>
                    <a:p>
                      <a:r>
                        <a:rPr lang="en-US" altLang="zh-CN" sz="1400" dirty="0"/>
                        <a:t>WMS</a:t>
                      </a:r>
                      <a:r>
                        <a:rPr lang="zh-CN" altLang="en-US" sz="1400" dirty="0"/>
                        <a:t>（</a:t>
                      </a:r>
                      <a:r>
                        <a:rPr lang="en-US" altLang="zh-CN" sz="1400" dirty="0"/>
                        <a:t>GMP</a:t>
                      </a:r>
                      <a:r>
                        <a:rPr lang="zh-CN" altLang="en-US" sz="1400" dirty="0"/>
                        <a:t>部分）</a:t>
                      </a:r>
                      <a:endParaRPr lang="en-US" altLang="zh-CN" sz="1400" dirty="0"/>
                    </a:p>
                    <a:p>
                      <a:r>
                        <a:rPr lang="en-US" altLang="zh-CN" sz="1400" b="1" dirty="0"/>
                        <a:t>MES</a:t>
                      </a:r>
                      <a:r>
                        <a:rPr lang="zh-CN" altLang="en-US" sz="1400" b="1" dirty="0"/>
                        <a:t>（</a:t>
                      </a:r>
                      <a:r>
                        <a:rPr lang="en-US" altLang="zh-CN" sz="1400" b="1" dirty="0"/>
                        <a:t>QMS</a:t>
                      </a:r>
                      <a:r>
                        <a:rPr lang="zh-CN" altLang="en-US" sz="1400" b="1" dirty="0"/>
                        <a:t>）</a:t>
                      </a:r>
                      <a:endParaRPr lang="en-US" altLang="zh-CN" sz="1400" b="1" dirty="0"/>
                    </a:p>
                    <a:p>
                      <a:r>
                        <a:rPr lang="en-US" altLang="zh-CN" sz="1400" dirty="0"/>
                        <a:t>ERP</a:t>
                      </a:r>
                      <a:r>
                        <a:rPr lang="zh-CN" altLang="en-US" sz="1400" dirty="0"/>
                        <a:t>（</a:t>
                      </a:r>
                      <a:r>
                        <a:rPr lang="en-US" altLang="zh-CN" sz="1400" dirty="0"/>
                        <a:t>GMP</a:t>
                      </a:r>
                      <a:r>
                        <a:rPr lang="zh-CN" altLang="en-US" sz="1400" dirty="0"/>
                        <a:t>部分）</a:t>
                      </a:r>
                    </a:p>
                  </a:txBody>
                  <a:tcPr marL="91462" marR="91462" marT="45723" marB="45723"/>
                </a:tc>
                <a:tc>
                  <a:txBody>
                    <a:bodyPr/>
                    <a:lstStyle/>
                    <a:p>
                      <a:r>
                        <a:rPr lang="zh-CN" altLang="en-US" sz="1400" dirty="0"/>
                        <a:t>生命周期方法：</a:t>
                      </a:r>
                      <a:endParaRPr lang="en-US" altLang="zh-CN" sz="1400" dirty="0"/>
                    </a:p>
                    <a:p>
                      <a:pPr>
                        <a:buFont typeface="Wingdings" pitchFamily="2" charset="2"/>
                        <a:buChar char="Ø"/>
                      </a:pPr>
                      <a:r>
                        <a:rPr lang="zh-CN" altLang="en-US" sz="1400" dirty="0"/>
                        <a:t>基于风险的供应商评估</a:t>
                      </a:r>
                      <a:endParaRPr lang="en-US" altLang="zh-CN" sz="1400" dirty="0"/>
                    </a:p>
                    <a:p>
                      <a:pPr>
                        <a:buFont typeface="Wingdings" pitchFamily="2" charset="2"/>
                        <a:buChar char="Ø"/>
                      </a:pPr>
                      <a:r>
                        <a:rPr lang="zh-CN" altLang="en-US" sz="1400" dirty="0"/>
                        <a:t>供应商的质量管理系统</a:t>
                      </a:r>
                      <a:endParaRPr lang="en-US" altLang="zh-CN" sz="1400" dirty="0"/>
                    </a:p>
                    <a:p>
                      <a:pPr>
                        <a:buFont typeface="Wingdings" pitchFamily="2" charset="2"/>
                        <a:buChar char="Ø"/>
                      </a:pPr>
                      <a:r>
                        <a:rPr lang="zh-CN" altLang="en-US" sz="1400" dirty="0"/>
                        <a:t>记录版本号，正确安装</a:t>
                      </a:r>
                      <a:endParaRPr lang="en-US" altLang="zh-CN" sz="1400" dirty="0"/>
                    </a:p>
                    <a:p>
                      <a:pPr>
                        <a:buFont typeface="Wingdings" pitchFamily="2" charset="2"/>
                        <a:buChar char="Ø"/>
                      </a:pPr>
                      <a:r>
                        <a:rPr lang="zh-CN" altLang="en-US" sz="1400" dirty="0"/>
                        <a:t>在测试环境中根据风险进行测试</a:t>
                      </a:r>
                      <a:endParaRPr lang="en-US" altLang="zh-CN" sz="1400" dirty="0"/>
                    </a:p>
                    <a:p>
                      <a:pPr>
                        <a:buFont typeface="Wingdings" pitchFamily="2" charset="2"/>
                        <a:buChar char="Ø"/>
                      </a:pPr>
                      <a:r>
                        <a:rPr lang="zh-CN" altLang="en-US" sz="1400" dirty="0"/>
                        <a:t>在工艺流程中根据风险进行测试</a:t>
                      </a:r>
                      <a:endParaRPr lang="en-US" altLang="zh-CN" sz="1400" dirty="0"/>
                    </a:p>
                    <a:p>
                      <a:pPr>
                        <a:buFont typeface="Wingdings" pitchFamily="2" charset="2"/>
                        <a:buChar char="Ø"/>
                      </a:pPr>
                      <a:r>
                        <a:rPr lang="zh-CN" altLang="en-US" sz="1400" dirty="0"/>
                        <a:t>具有维持合规性的操作程序</a:t>
                      </a:r>
                    </a:p>
                  </a:txBody>
                  <a:tcPr marL="91462" marR="91462" marT="45723" marB="45723"/>
                </a:tc>
                <a:extLst>
                  <a:ext uri="{0D108BD9-81ED-4DB2-BD59-A6C34878D82A}">
                    <a16:rowId xmlns:a16="http://schemas.microsoft.com/office/drawing/2014/main" val="10003"/>
                  </a:ext>
                </a:extLst>
              </a:tr>
              <a:tr h="944935">
                <a:tc>
                  <a:txBody>
                    <a:bodyPr/>
                    <a:lstStyle/>
                    <a:p>
                      <a:r>
                        <a:rPr lang="en-US" altLang="zh-CN" sz="1400" dirty="0"/>
                        <a:t>5</a:t>
                      </a:r>
                      <a:r>
                        <a:rPr lang="zh-CN" altLang="en-US" sz="1400" dirty="0"/>
                        <a:t>定制应用软件</a:t>
                      </a:r>
                    </a:p>
                  </a:txBody>
                  <a:tcPr marL="91462" marR="91462" marT="45723" marB="45723"/>
                </a:tc>
                <a:tc>
                  <a:txBody>
                    <a:bodyPr/>
                    <a:lstStyle/>
                    <a:p>
                      <a:r>
                        <a:rPr lang="zh-CN" altLang="en-US" sz="1400" dirty="0"/>
                        <a:t>定制设计和编制源代码以适于业务流程的软件</a:t>
                      </a:r>
                    </a:p>
                  </a:txBody>
                  <a:tcPr marL="91462" marR="91462" marT="45723" marB="45723"/>
                </a:tc>
                <a:tc>
                  <a:txBody>
                    <a:bodyPr/>
                    <a:lstStyle/>
                    <a:p>
                      <a:r>
                        <a:rPr lang="zh-CN" altLang="en-US" sz="1400" dirty="0"/>
                        <a:t>内部和外部开发的</a:t>
                      </a:r>
                      <a:r>
                        <a:rPr lang="en-US" altLang="zh-CN" sz="1400" dirty="0"/>
                        <a:t>IT</a:t>
                      </a:r>
                      <a:r>
                        <a:rPr lang="zh-CN" altLang="en-US" sz="1400" dirty="0"/>
                        <a:t>应用程序、工艺控制应用程序、定制固件等</a:t>
                      </a:r>
                    </a:p>
                  </a:txBody>
                  <a:tcPr marL="91462" marR="91462" marT="45723" marB="45723"/>
                </a:tc>
                <a:tc>
                  <a:txBody>
                    <a:bodyPr/>
                    <a:lstStyle/>
                    <a:p>
                      <a:r>
                        <a:rPr lang="zh-CN" altLang="en-US" sz="1400" dirty="0"/>
                        <a:t>与可配置软件相同，再加上：</a:t>
                      </a:r>
                      <a:endParaRPr lang="en-US" altLang="zh-CN" sz="1400" dirty="0"/>
                    </a:p>
                    <a:p>
                      <a:pPr>
                        <a:buFont typeface="Wingdings" pitchFamily="2" charset="2"/>
                        <a:buChar char="Ø"/>
                      </a:pPr>
                      <a:r>
                        <a:rPr lang="zh-CN" altLang="en-US" sz="1400" dirty="0"/>
                        <a:t>更严格的供应商评估</a:t>
                      </a:r>
                      <a:endParaRPr lang="en-US" altLang="zh-CN" sz="1400" dirty="0"/>
                    </a:p>
                    <a:p>
                      <a:pPr>
                        <a:buFont typeface="Wingdings" pitchFamily="2" charset="2"/>
                        <a:buChar char="Ø"/>
                      </a:pPr>
                      <a:r>
                        <a:rPr lang="zh-CN" altLang="en-US" sz="1400" dirty="0"/>
                        <a:t>完整的生命周期</a:t>
                      </a:r>
                      <a:endParaRPr lang="en-US" altLang="zh-CN" sz="1400" dirty="0"/>
                    </a:p>
                    <a:p>
                      <a:pPr>
                        <a:buFont typeface="Wingdings" pitchFamily="2" charset="2"/>
                        <a:buChar char="Ø"/>
                      </a:pPr>
                      <a:r>
                        <a:rPr lang="zh-CN" altLang="en-US" sz="1400" b="1" dirty="0">
                          <a:solidFill>
                            <a:srgbClr val="FF0000"/>
                          </a:solidFill>
                        </a:rPr>
                        <a:t>设计和源代码审核</a:t>
                      </a:r>
                    </a:p>
                  </a:txBody>
                  <a:tcPr marL="91462" marR="91462" marT="45723" marB="45723"/>
                </a:tc>
                <a:extLst>
                  <a:ext uri="{0D108BD9-81ED-4DB2-BD59-A6C34878D82A}">
                    <a16:rowId xmlns:a16="http://schemas.microsoft.com/office/drawing/2014/main" val="10004"/>
                  </a:ext>
                </a:extLst>
              </a:tr>
            </a:tbl>
          </a:graphicData>
        </a:graphic>
      </p:graphicFrame>
      <p:sp>
        <p:nvSpPr>
          <p:cNvPr id="3" name="矩形 2">
            <a:extLst>
              <a:ext uri="{FF2B5EF4-FFF2-40B4-BE49-F238E27FC236}">
                <a16:creationId xmlns:a16="http://schemas.microsoft.com/office/drawing/2014/main" id="{03B92D4F-304B-434F-BFFD-11CEE1FC298B}"/>
              </a:ext>
            </a:extLst>
          </p:cNvPr>
          <p:cNvSpPr/>
          <p:nvPr/>
        </p:nvSpPr>
        <p:spPr>
          <a:xfrm>
            <a:off x="635428" y="3690194"/>
            <a:ext cx="1983235" cy="2102948"/>
          </a:xfrm>
          <a:prstGeom prst="rect">
            <a:avLst/>
          </a:prstGeom>
        </p:spPr>
        <p:txBody>
          <a:bodyPr wrap="none">
            <a:spAutoFit/>
          </a:bodyPr>
          <a:lstStyle/>
          <a:p>
            <a:pPr>
              <a:lnSpc>
                <a:spcPts val="2200"/>
              </a:lnSpc>
              <a:spcAft>
                <a:spcPts val="1200"/>
              </a:spcAft>
              <a:buFont typeface="Wingdings" panose="05000000000000000000" pitchFamily="2" charset="2"/>
              <a:buChar char="Ø"/>
            </a:pPr>
            <a:r>
              <a:rPr lang="zh-CN" altLang="en-US" b="1"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rPr>
              <a:t>电子签名</a:t>
            </a:r>
            <a:endParaRPr lang="en-US" altLang="zh-CN" b="1"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endParaRPr>
          </a:p>
          <a:p>
            <a:pPr>
              <a:lnSpc>
                <a:spcPts val="2200"/>
              </a:lnSpc>
              <a:spcAft>
                <a:spcPts val="1200"/>
              </a:spcAft>
              <a:buFont typeface="Wingdings" panose="05000000000000000000" pitchFamily="2" charset="2"/>
              <a:buChar char="Ø"/>
            </a:pPr>
            <a:r>
              <a:rPr lang="zh-CN" altLang="en-US" b="1"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rPr>
              <a:t>用户权限控制</a:t>
            </a:r>
            <a:endParaRPr lang="en-US" altLang="zh-CN" b="1"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endParaRPr>
          </a:p>
          <a:p>
            <a:pPr>
              <a:lnSpc>
                <a:spcPts val="2200"/>
              </a:lnSpc>
              <a:spcAft>
                <a:spcPts val="1200"/>
              </a:spcAft>
              <a:buFont typeface="Wingdings" panose="05000000000000000000" pitchFamily="2" charset="2"/>
              <a:buChar char="Ø"/>
            </a:pPr>
            <a:r>
              <a:rPr lang="zh-CN" altLang="en-US" b="1"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rPr>
              <a:t>审计追踪</a:t>
            </a:r>
            <a:endParaRPr lang="en-US" altLang="zh-CN" b="1"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endParaRPr>
          </a:p>
          <a:p>
            <a:pPr>
              <a:lnSpc>
                <a:spcPts val="2200"/>
              </a:lnSpc>
              <a:spcAft>
                <a:spcPts val="1200"/>
              </a:spcAft>
              <a:buFont typeface="Wingdings" panose="05000000000000000000" pitchFamily="2" charset="2"/>
              <a:buChar char="Ø"/>
            </a:pPr>
            <a:r>
              <a:rPr lang="zh-CN" altLang="en-US" b="1"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rPr>
              <a:t>时钟同步</a:t>
            </a:r>
            <a:endParaRPr lang="en-US" altLang="zh-CN" b="1"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endParaRPr>
          </a:p>
          <a:p>
            <a:pPr>
              <a:lnSpc>
                <a:spcPts val="2200"/>
              </a:lnSpc>
              <a:spcAft>
                <a:spcPts val="1200"/>
              </a:spcAft>
              <a:buFont typeface="Wingdings" panose="05000000000000000000" pitchFamily="2" charset="2"/>
              <a:buChar char="Ø"/>
            </a:pPr>
            <a:r>
              <a:rPr lang="zh-CN" altLang="en-US" b="1"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rPr>
              <a:t>数据归档、备份</a:t>
            </a:r>
            <a:endParaRPr lang="en-US" altLang="zh-CN" b="1"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endParaRPr>
          </a:p>
        </p:txBody>
      </p:sp>
    </p:spTree>
    <p:extLst>
      <p:ext uri="{BB962C8B-B14F-4D97-AF65-F5344CB8AC3E}">
        <p14:creationId xmlns:p14="http://schemas.microsoft.com/office/powerpoint/2010/main" val="2061088652"/>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等腰三角形 19"/>
          <p:cNvSpPr/>
          <p:nvPr/>
        </p:nvSpPr>
        <p:spPr bwMode="auto">
          <a:xfrm rot="5400000">
            <a:off x="754856" y="-754856"/>
            <a:ext cx="3297238" cy="4806950"/>
          </a:xfrm>
          <a:prstGeom prst="triangle">
            <a:avLst>
              <a:gd name="adj" fmla="val 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5603" name="文本框 6"/>
          <p:cNvSpPr txBox="1">
            <a:spLocks noChangeArrowheads="1"/>
          </p:cNvSpPr>
          <p:nvPr/>
        </p:nvSpPr>
        <p:spPr bwMode="auto">
          <a:xfrm rot="-1997781">
            <a:off x="227013" y="481013"/>
            <a:ext cx="2057400" cy="1016000"/>
          </a:xfrm>
          <a:prstGeom prst="rect">
            <a:avLst/>
          </a:prstGeom>
          <a:noFill/>
          <a:ln w="9525">
            <a:noFill/>
            <a:miter lim="800000"/>
            <a:headEnd/>
            <a:tailEnd/>
          </a:ln>
        </p:spPr>
        <p:txBody>
          <a:bodyPr>
            <a:spAutoFit/>
          </a:bodyPr>
          <a:lstStyle/>
          <a:p>
            <a:r>
              <a:rPr lang="zh-CN" altLang="en-US" sz="6000" b="1">
                <a:solidFill>
                  <a:schemeClr val="bg1"/>
                </a:solidFill>
                <a:latin typeface="微软雅黑" pitchFamily="34" charset="-122"/>
                <a:ea typeface="微软雅黑" pitchFamily="34" charset="-122"/>
              </a:rPr>
              <a:t>目录</a:t>
            </a:r>
          </a:p>
        </p:txBody>
      </p:sp>
      <p:sp>
        <p:nvSpPr>
          <p:cNvPr id="25604" name="文本框 7"/>
          <p:cNvSpPr txBox="1">
            <a:spLocks noChangeArrowheads="1"/>
          </p:cNvSpPr>
          <p:nvPr/>
        </p:nvSpPr>
        <p:spPr bwMode="auto">
          <a:xfrm rot="-2010208">
            <a:off x="-142875" y="979488"/>
            <a:ext cx="4573588" cy="769937"/>
          </a:xfrm>
          <a:prstGeom prst="rect">
            <a:avLst/>
          </a:prstGeom>
          <a:noFill/>
          <a:ln w="9525">
            <a:noFill/>
            <a:miter lim="800000"/>
            <a:headEnd/>
            <a:tailEnd/>
          </a:ln>
        </p:spPr>
        <p:txBody>
          <a:bodyPr>
            <a:spAutoFit/>
          </a:bodyPr>
          <a:lstStyle/>
          <a:p>
            <a:r>
              <a:rPr lang="en-US" altLang="zh-CN" sz="4400">
                <a:solidFill>
                  <a:schemeClr val="bg1"/>
                </a:solidFill>
                <a:latin typeface="微软雅黑" pitchFamily="34" charset="-122"/>
                <a:ea typeface="微软雅黑" pitchFamily="34" charset="-122"/>
              </a:rPr>
              <a:t>CONTENTS</a:t>
            </a:r>
            <a:endParaRPr lang="zh-CN" altLang="en-US" sz="4400">
              <a:solidFill>
                <a:schemeClr val="bg1"/>
              </a:solidFill>
              <a:latin typeface="微软雅黑" pitchFamily="34" charset="-122"/>
              <a:ea typeface="微软雅黑" pitchFamily="34" charset="-122"/>
            </a:endParaRPr>
          </a:p>
        </p:txBody>
      </p:sp>
      <p:pic>
        <p:nvPicPr>
          <p:cNvPr id="25605" name="Picture 2" descr="C:\Documents and Settings\Administrator\桌面\图形10.png"/>
          <p:cNvPicPr>
            <a:picLocks noChangeAspect="1" noChangeArrowheads="1"/>
          </p:cNvPicPr>
          <p:nvPr/>
        </p:nvPicPr>
        <p:blipFill>
          <a:blip r:embed="rId3"/>
          <a:srcRect/>
          <a:stretch>
            <a:fillRect/>
          </a:stretch>
        </p:blipFill>
        <p:spPr bwMode="auto">
          <a:xfrm>
            <a:off x="0" y="6735763"/>
            <a:ext cx="12192000" cy="122237"/>
          </a:xfrm>
          <a:prstGeom prst="rect">
            <a:avLst/>
          </a:prstGeom>
          <a:noFill/>
          <a:ln w="9525">
            <a:noFill/>
            <a:miter lim="800000"/>
            <a:headEnd/>
            <a:tailEnd/>
          </a:ln>
        </p:spPr>
      </p:pic>
      <p:pic>
        <p:nvPicPr>
          <p:cNvPr id="25606" name="Picture 20" descr="辅助条纹"/>
          <p:cNvPicPr>
            <a:picLocks noChangeAspect="1" noChangeArrowheads="1"/>
          </p:cNvPicPr>
          <p:nvPr/>
        </p:nvPicPr>
        <p:blipFill>
          <a:blip r:embed="rId4"/>
          <a:srcRect/>
          <a:stretch>
            <a:fillRect/>
          </a:stretch>
        </p:blipFill>
        <p:spPr bwMode="auto">
          <a:xfrm>
            <a:off x="9326563" y="6735763"/>
            <a:ext cx="2865437" cy="122237"/>
          </a:xfrm>
          <a:prstGeom prst="rect">
            <a:avLst/>
          </a:prstGeom>
          <a:noFill/>
          <a:ln w="9525">
            <a:noFill/>
            <a:miter lim="800000"/>
            <a:headEnd/>
            <a:tailEnd/>
          </a:ln>
        </p:spPr>
      </p:pic>
      <p:sp>
        <p:nvSpPr>
          <p:cNvPr id="28" name="Rectangle 11"/>
          <p:cNvSpPr/>
          <p:nvPr/>
        </p:nvSpPr>
        <p:spPr bwMode="auto">
          <a:xfrm>
            <a:off x="3213528" y="2108200"/>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1. </a:t>
            </a:r>
            <a:r>
              <a:rPr lang="zh-CN" altLang="en-US" sz="2400" b="1" dirty="0">
                <a:solidFill>
                  <a:schemeClr val="tx1">
                    <a:lumMod val="65000"/>
                    <a:lumOff val="35000"/>
                  </a:schemeClr>
                </a:solidFill>
              </a:rPr>
              <a:t>背景</a:t>
            </a:r>
          </a:p>
        </p:txBody>
      </p:sp>
      <p:sp>
        <p:nvSpPr>
          <p:cNvPr id="29" name="Rectangle 8"/>
          <p:cNvSpPr/>
          <p:nvPr/>
        </p:nvSpPr>
        <p:spPr bwMode="auto">
          <a:xfrm>
            <a:off x="3213528" y="2634614"/>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2.</a:t>
            </a:r>
            <a:r>
              <a:rPr lang="zh-CN" altLang="en-US" sz="2400" b="1" dirty="0">
                <a:solidFill>
                  <a:schemeClr val="tx1">
                    <a:lumMod val="65000"/>
                    <a:lumOff val="35000"/>
                  </a:schemeClr>
                </a:solidFill>
              </a:rPr>
              <a:t>自动化广泛应用</a:t>
            </a:r>
            <a:endParaRPr lang="en-US" altLang="zh-CN" sz="2400" b="1" dirty="0">
              <a:solidFill>
                <a:schemeClr val="tx1">
                  <a:lumMod val="65000"/>
                  <a:lumOff val="35000"/>
                </a:schemeClr>
              </a:solidFill>
            </a:endParaRPr>
          </a:p>
        </p:txBody>
      </p:sp>
      <p:sp>
        <p:nvSpPr>
          <p:cNvPr id="31" name="Rectangle 12"/>
          <p:cNvSpPr/>
          <p:nvPr/>
        </p:nvSpPr>
        <p:spPr bwMode="auto">
          <a:xfrm>
            <a:off x="3213528" y="3161028"/>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3. </a:t>
            </a:r>
            <a:r>
              <a:rPr lang="zh-CN" altLang="en-US" sz="2400" b="1" dirty="0">
                <a:solidFill>
                  <a:schemeClr val="tx1">
                    <a:lumMod val="65000"/>
                    <a:lumOff val="35000"/>
                  </a:schemeClr>
                </a:solidFill>
              </a:rPr>
              <a:t>数字化在路上</a:t>
            </a:r>
            <a:endParaRPr lang="en-US" sz="2400" b="1" dirty="0">
              <a:solidFill>
                <a:schemeClr val="tx1">
                  <a:lumMod val="65000"/>
                  <a:lumOff val="35000"/>
                </a:schemeClr>
              </a:solidFill>
            </a:endParaRPr>
          </a:p>
        </p:txBody>
      </p:sp>
      <p:sp>
        <p:nvSpPr>
          <p:cNvPr id="13" name="Rectangle 13"/>
          <p:cNvSpPr/>
          <p:nvPr/>
        </p:nvSpPr>
        <p:spPr bwMode="auto">
          <a:xfrm>
            <a:off x="3213528" y="4213856"/>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5.</a:t>
            </a:r>
            <a:r>
              <a:rPr lang="zh-CN" altLang="en-US" sz="2400" b="1" dirty="0">
                <a:solidFill>
                  <a:schemeClr val="tx1">
                    <a:lumMod val="65000"/>
                    <a:lumOff val="35000"/>
                  </a:schemeClr>
                </a:solidFill>
              </a:rPr>
              <a:t> 实例分享</a:t>
            </a:r>
            <a:endParaRPr lang="en-US" sz="2400" b="1" dirty="0">
              <a:solidFill>
                <a:schemeClr val="tx1">
                  <a:lumMod val="65000"/>
                  <a:lumOff val="35000"/>
                </a:schemeClr>
              </a:solidFill>
            </a:endParaRPr>
          </a:p>
        </p:txBody>
      </p:sp>
      <p:sp>
        <p:nvSpPr>
          <p:cNvPr id="17" name="Rectangle 12"/>
          <p:cNvSpPr/>
          <p:nvPr/>
        </p:nvSpPr>
        <p:spPr bwMode="auto">
          <a:xfrm>
            <a:off x="3213528" y="3687442"/>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rgbClr val="006EBC"/>
                </a:solidFill>
              </a:rPr>
              <a:t>4. </a:t>
            </a:r>
            <a:r>
              <a:rPr lang="zh-CN" altLang="en-US" sz="2400" b="1" dirty="0">
                <a:solidFill>
                  <a:srgbClr val="006EBC"/>
                </a:solidFill>
              </a:rPr>
              <a:t>智能化在探索</a:t>
            </a:r>
            <a:endParaRPr lang="en-US" sz="2400" b="1" dirty="0">
              <a:solidFill>
                <a:srgbClr val="006EBC"/>
              </a:solidFill>
            </a:endParaRPr>
          </a:p>
        </p:txBody>
      </p:sp>
    </p:spTree>
    <p:extLst>
      <p:ext uri="{BB962C8B-B14F-4D97-AF65-F5344CB8AC3E}">
        <p14:creationId xmlns:p14="http://schemas.microsoft.com/office/powerpoint/2010/main" val="1138240949"/>
      </p:ext>
    </p:extLst>
  </p:cSld>
  <p:clrMapOvr>
    <a:masterClrMapping/>
  </p:clrMapOvr>
  <p:transition spd="slow" advTm="0">
    <p:wip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4" name="组合 143">
            <a:extLst>
              <a:ext uri="{FF2B5EF4-FFF2-40B4-BE49-F238E27FC236}">
                <a16:creationId xmlns:a16="http://schemas.microsoft.com/office/drawing/2014/main" id="{8BAF8527-3249-4112-9F64-2624CC6B693F}"/>
              </a:ext>
            </a:extLst>
          </p:cNvPr>
          <p:cNvGrpSpPr/>
          <p:nvPr/>
        </p:nvGrpSpPr>
        <p:grpSpPr>
          <a:xfrm>
            <a:off x="2640388" y="5488364"/>
            <a:ext cx="8087375" cy="911746"/>
            <a:chOff x="990830" y="1104477"/>
            <a:chExt cx="8087375" cy="911746"/>
          </a:xfrm>
        </p:grpSpPr>
        <p:sp>
          <p:nvSpPr>
            <p:cNvPr id="145" name="矩形 144">
              <a:extLst>
                <a:ext uri="{FF2B5EF4-FFF2-40B4-BE49-F238E27FC236}">
                  <a16:creationId xmlns:a16="http://schemas.microsoft.com/office/drawing/2014/main" id="{E8FF5E6B-7CA8-4D40-8DE7-E09340DBDD47}"/>
                </a:ext>
              </a:extLst>
            </p:cNvPr>
            <p:cNvSpPr/>
            <p:nvPr/>
          </p:nvSpPr>
          <p:spPr>
            <a:xfrm>
              <a:off x="990830" y="1104477"/>
              <a:ext cx="8087375" cy="911746"/>
            </a:xfrm>
            <a:prstGeom prst="rect">
              <a:avLst/>
            </a:prstGeom>
            <a:solidFill>
              <a:schemeClr val="bg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46" name="文本框 145">
              <a:extLst>
                <a:ext uri="{FF2B5EF4-FFF2-40B4-BE49-F238E27FC236}">
                  <a16:creationId xmlns:a16="http://schemas.microsoft.com/office/drawing/2014/main" id="{F4879FBC-F756-476F-91AD-4685434B7D2B}"/>
                </a:ext>
              </a:extLst>
            </p:cNvPr>
            <p:cNvSpPr txBox="1"/>
            <p:nvPr/>
          </p:nvSpPr>
          <p:spPr>
            <a:xfrm>
              <a:off x="990830" y="1104477"/>
              <a:ext cx="8087375" cy="91174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62748" tIns="50800" rIns="50800" bIns="50800" numCol="1" spcCol="1270" anchor="ctr" anchorCtr="0">
              <a:noAutofit/>
            </a:bodyPr>
            <a:lstStyle/>
            <a:p>
              <a:pPr marL="0" lvl="0" indent="0" algn="l" defTabSz="889000">
                <a:lnSpc>
                  <a:spcPct val="90000"/>
                </a:lnSpc>
                <a:spcBef>
                  <a:spcPct val="0"/>
                </a:spcBef>
                <a:spcAft>
                  <a:spcPct val="35000"/>
                </a:spcAft>
                <a:buNone/>
              </a:pPr>
              <a:r>
                <a:rPr lang="zh-CN" altLang="en-US" sz="2000" b="1" kern="1200" dirty="0">
                  <a:solidFill>
                    <a:srgbClr val="222A35"/>
                  </a:solidFill>
                  <a:latin typeface="微软雅黑" panose="020B0503020204020204" pitchFamily="34" charset="-122"/>
                  <a:ea typeface="微软雅黑" panose="020B0503020204020204" pitchFamily="34" charset="-122"/>
                  <a:cs typeface="+mn-cs"/>
                </a:rPr>
                <a:t>自适应</a:t>
              </a:r>
              <a:endParaRPr lang="en-US" sz="2000" b="1" kern="1200" dirty="0">
                <a:solidFill>
                  <a:srgbClr val="222A35"/>
                </a:solidFill>
                <a:latin typeface="微软雅黑" panose="020B0503020204020204" pitchFamily="34" charset="-122"/>
                <a:ea typeface="微软雅黑" panose="020B0503020204020204" pitchFamily="34" charset="-122"/>
                <a:cs typeface="+mn-cs"/>
              </a:endParaRPr>
            </a:p>
          </p:txBody>
        </p:sp>
      </p:grpSp>
      <p:sp>
        <p:nvSpPr>
          <p:cNvPr id="4" name="Rectangle 11"/>
          <p:cNvSpPr/>
          <p:nvPr/>
        </p:nvSpPr>
        <p:spPr bwMode="auto">
          <a:xfrm>
            <a:off x="635428" y="114300"/>
            <a:ext cx="3644472"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zh-CN" altLang="en-US" sz="3300" b="1" dirty="0">
                <a:solidFill>
                  <a:srgbClr val="0070C0"/>
                </a:solidFill>
                <a:latin typeface="+mj-ea"/>
                <a:ea typeface="+mj-ea"/>
              </a:rPr>
              <a:t>智能制造定义</a:t>
            </a:r>
          </a:p>
        </p:txBody>
      </p:sp>
      <p:cxnSp>
        <p:nvCxnSpPr>
          <p:cNvPr id="134" name="直接连接符 133">
            <a:extLst>
              <a:ext uri="{FF2B5EF4-FFF2-40B4-BE49-F238E27FC236}">
                <a16:creationId xmlns:a16="http://schemas.microsoft.com/office/drawing/2014/main" id="{571ED268-0156-4774-A8D8-9FBFB6427241}"/>
              </a:ext>
            </a:extLst>
          </p:cNvPr>
          <p:cNvCxnSpPr/>
          <p:nvPr/>
        </p:nvCxnSpPr>
        <p:spPr>
          <a:xfrm flipV="1">
            <a:off x="3511550" y="825500"/>
            <a:ext cx="5121275" cy="254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35" name="图示 134">
            <a:extLst>
              <a:ext uri="{FF2B5EF4-FFF2-40B4-BE49-F238E27FC236}">
                <a16:creationId xmlns:a16="http://schemas.microsoft.com/office/drawing/2014/main" id="{87A5D1FF-3D4A-4D93-98B3-75983A4C9EEC}"/>
              </a:ext>
            </a:extLst>
          </p:cNvPr>
          <p:cNvGraphicFramePr/>
          <p:nvPr>
            <p:extLst>
              <p:ext uri="{D42A27DB-BD31-4B8C-83A1-F6EECF244321}">
                <p14:modId xmlns:p14="http://schemas.microsoft.com/office/powerpoint/2010/main" val="1780028411"/>
              </p:ext>
            </p:extLst>
          </p:nvPr>
        </p:nvGraphicFramePr>
        <p:xfrm>
          <a:off x="2555776" y="1124744"/>
          <a:ext cx="9078206" cy="46085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6" name="椭圆 135">
            <a:extLst>
              <a:ext uri="{FF2B5EF4-FFF2-40B4-BE49-F238E27FC236}">
                <a16:creationId xmlns:a16="http://schemas.microsoft.com/office/drawing/2014/main" id="{D95F0CB5-6058-4AA2-B1C2-D3C57CBABC50}"/>
              </a:ext>
            </a:extLst>
          </p:cNvPr>
          <p:cNvSpPr/>
          <p:nvPr/>
        </p:nvSpPr>
        <p:spPr>
          <a:xfrm>
            <a:off x="1283296" y="2708920"/>
            <a:ext cx="1584176" cy="1377444"/>
          </a:xfrm>
          <a:prstGeom prst="ellipse">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37" name="TextBox 11">
            <a:extLst>
              <a:ext uri="{FF2B5EF4-FFF2-40B4-BE49-F238E27FC236}">
                <a16:creationId xmlns:a16="http://schemas.microsoft.com/office/drawing/2014/main" id="{73E15DDF-05C0-467D-B1E9-65713F6D18CC}"/>
              </a:ext>
            </a:extLst>
          </p:cNvPr>
          <p:cNvSpPr txBox="1">
            <a:spLocks noChangeArrowheads="1"/>
          </p:cNvSpPr>
          <p:nvPr/>
        </p:nvSpPr>
        <p:spPr bwMode="auto">
          <a:xfrm>
            <a:off x="1697897" y="3136032"/>
            <a:ext cx="93603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Tahoma" pitchFamily="34" charset="0"/>
                <a:ea typeface="宋体" pitchFamily="2" charset="-122"/>
              </a:defRPr>
            </a:lvl1pPr>
            <a:lvl2pPr marL="742950" indent="-285750" eaLnBrk="0" hangingPunct="0">
              <a:defRPr>
                <a:solidFill>
                  <a:schemeClr val="tx1"/>
                </a:solidFill>
                <a:latin typeface="Tahoma" pitchFamily="34" charset="0"/>
                <a:ea typeface="宋体" pitchFamily="2" charset="-122"/>
              </a:defRPr>
            </a:lvl2pPr>
            <a:lvl3pPr marL="1143000" indent="-228600" eaLnBrk="0" hangingPunct="0">
              <a:defRPr>
                <a:solidFill>
                  <a:schemeClr val="tx1"/>
                </a:solidFill>
                <a:latin typeface="Tahoma" pitchFamily="34" charset="0"/>
                <a:ea typeface="宋体" pitchFamily="2" charset="-122"/>
              </a:defRPr>
            </a:lvl3pPr>
            <a:lvl4pPr marL="1600200" indent="-228600" eaLnBrk="0" hangingPunct="0">
              <a:defRPr>
                <a:solidFill>
                  <a:schemeClr val="tx1"/>
                </a:solidFill>
                <a:latin typeface="Tahoma" pitchFamily="34" charset="0"/>
                <a:ea typeface="宋体" pitchFamily="2" charset="-122"/>
              </a:defRPr>
            </a:lvl4pPr>
            <a:lvl5pPr marL="2057400" indent="-228600" eaLnBrk="0" hangingPunct="0">
              <a:defRPr>
                <a:solidFill>
                  <a:schemeClr val="tx1"/>
                </a:solidFill>
                <a:latin typeface="Tahoma" pitchFamily="34" charset="0"/>
                <a:ea typeface="宋体" pitchFamily="2" charset="-122"/>
              </a:defRPr>
            </a:lvl5pPr>
            <a:lvl6pPr marL="2514600" indent="-228600" eaLnBrk="0" fontAlgn="base" hangingPunct="0">
              <a:spcBef>
                <a:spcPct val="0"/>
              </a:spcBef>
              <a:spcAft>
                <a:spcPct val="0"/>
              </a:spcAft>
              <a:defRPr>
                <a:solidFill>
                  <a:schemeClr val="tx1"/>
                </a:solidFill>
                <a:latin typeface="Tahoma" pitchFamily="34" charset="0"/>
                <a:ea typeface="宋体" pitchFamily="2" charset="-122"/>
              </a:defRPr>
            </a:lvl6pPr>
            <a:lvl7pPr marL="2971800" indent="-228600" eaLnBrk="0" fontAlgn="base" hangingPunct="0">
              <a:spcBef>
                <a:spcPct val="0"/>
              </a:spcBef>
              <a:spcAft>
                <a:spcPct val="0"/>
              </a:spcAft>
              <a:defRPr>
                <a:solidFill>
                  <a:schemeClr val="tx1"/>
                </a:solidFill>
                <a:latin typeface="Tahoma" pitchFamily="34" charset="0"/>
                <a:ea typeface="宋体" pitchFamily="2" charset="-122"/>
              </a:defRPr>
            </a:lvl7pPr>
            <a:lvl8pPr marL="3429000" indent="-228600" eaLnBrk="0" fontAlgn="base" hangingPunct="0">
              <a:spcBef>
                <a:spcPct val="0"/>
              </a:spcBef>
              <a:spcAft>
                <a:spcPct val="0"/>
              </a:spcAft>
              <a:defRPr>
                <a:solidFill>
                  <a:schemeClr val="tx1"/>
                </a:solidFill>
                <a:latin typeface="Tahoma" pitchFamily="34" charset="0"/>
                <a:ea typeface="宋体" pitchFamily="2" charset="-122"/>
              </a:defRPr>
            </a:lvl8pPr>
            <a:lvl9pPr marL="3886200" indent="-228600" eaLnBrk="0" fontAlgn="base" hangingPunct="0">
              <a:spcBef>
                <a:spcPct val="0"/>
              </a:spcBef>
              <a:spcAft>
                <a:spcPct val="0"/>
              </a:spcAft>
              <a:defRPr>
                <a:solidFill>
                  <a:schemeClr val="tx1"/>
                </a:solidFill>
                <a:latin typeface="Tahoma" pitchFamily="34" charset="0"/>
                <a:ea typeface="宋体" pitchFamily="2" charset="-122"/>
              </a:defRPr>
            </a:lvl9pPr>
          </a:lstStyle>
          <a:p>
            <a:pPr eaLnBrk="1" hangingPunct="1"/>
            <a:r>
              <a:rPr lang="zh-CN" altLang="en-US" sz="2800" b="1" dirty="0">
                <a:latin typeface="微软雅黑" pitchFamily="34" charset="-122"/>
                <a:ea typeface="微软雅黑" pitchFamily="34" charset="-122"/>
              </a:rPr>
              <a:t>属性</a:t>
            </a:r>
            <a:endParaRPr lang="en-US" altLang="en-US" b="1" dirty="0">
              <a:latin typeface="微软雅黑" pitchFamily="34" charset="-122"/>
              <a:ea typeface="微软雅黑" pitchFamily="34" charset="-122"/>
            </a:endParaRPr>
          </a:p>
        </p:txBody>
      </p:sp>
      <p:sp>
        <p:nvSpPr>
          <p:cNvPr id="138" name="TextBox 1">
            <a:extLst>
              <a:ext uri="{FF2B5EF4-FFF2-40B4-BE49-F238E27FC236}">
                <a16:creationId xmlns:a16="http://schemas.microsoft.com/office/drawing/2014/main" id="{4FF6720F-7FA2-4A67-9FA7-1E4B23F17470}"/>
              </a:ext>
            </a:extLst>
          </p:cNvPr>
          <p:cNvSpPr txBox="1"/>
          <p:nvPr/>
        </p:nvSpPr>
        <p:spPr>
          <a:xfrm>
            <a:off x="2867472" y="1628800"/>
            <a:ext cx="432048" cy="369332"/>
          </a:xfrm>
          <a:prstGeom prst="rect">
            <a:avLst/>
          </a:prstGeom>
          <a:noFill/>
        </p:spPr>
        <p:txBody>
          <a:bodyPr wrap="square" rtlCol="0">
            <a:spAutoFit/>
          </a:bodyPr>
          <a:lstStyle/>
          <a:p>
            <a:r>
              <a:rPr lang="en-US" altLang="zh-CN" b="1" dirty="0">
                <a:latin typeface="微软雅黑" panose="020B0503020204020204" pitchFamily="34" charset="-122"/>
                <a:ea typeface="微软雅黑" panose="020B0503020204020204" pitchFamily="34" charset="-122"/>
              </a:rPr>
              <a:t>1</a:t>
            </a:r>
            <a:endParaRPr lang="zh-CN" altLang="en-US" b="1" dirty="0">
              <a:latin typeface="微软雅黑" panose="020B0503020204020204" pitchFamily="34" charset="-122"/>
              <a:ea typeface="微软雅黑" panose="020B0503020204020204" pitchFamily="34" charset="-122"/>
            </a:endParaRPr>
          </a:p>
        </p:txBody>
      </p:sp>
      <p:sp>
        <p:nvSpPr>
          <p:cNvPr id="139" name="TextBox 6">
            <a:extLst>
              <a:ext uri="{FF2B5EF4-FFF2-40B4-BE49-F238E27FC236}">
                <a16:creationId xmlns:a16="http://schemas.microsoft.com/office/drawing/2014/main" id="{BF0F4D22-B27A-46E7-A5AA-4792E2C2F6A8}"/>
              </a:ext>
            </a:extLst>
          </p:cNvPr>
          <p:cNvSpPr txBox="1"/>
          <p:nvPr/>
        </p:nvSpPr>
        <p:spPr>
          <a:xfrm>
            <a:off x="3272303" y="3717032"/>
            <a:ext cx="432048" cy="369332"/>
          </a:xfrm>
          <a:prstGeom prst="rect">
            <a:avLst/>
          </a:prstGeom>
          <a:noFill/>
        </p:spPr>
        <p:txBody>
          <a:bodyPr wrap="square" rtlCol="0">
            <a:spAutoFit/>
          </a:bodyPr>
          <a:lstStyle/>
          <a:p>
            <a:r>
              <a:rPr lang="en-US" altLang="zh-CN" b="1" dirty="0">
                <a:latin typeface="微软雅黑" panose="020B0503020204020204" pitchFamily="34" charset="-122"/>
                <a:ea typeface="微软雅黑" panose="020B0503020204020204" pitchFamily="34" charset="-122"/>
              </a:rPr>
              <a:t>3</a:t>
            </a:r>
            <a:endParaRPr lang="zh-CN" altLang="en-US" b="1" dirty="0">
              <a:latin typeface="微软雅黑" panose="020B0503020204020204" pitchFamily="34" charset="-122"/>
              <a:ea typeface="微软雅黑" panose="020B0503020204020204" pitchFamily="34" charset="-122"/>
            </a:endParaRPr>
          </a:p>
        </p:txBody>
      </p:sp>
      <p:sp>
        <p:nvSpPr>
          <p:cNvPr id="140" name="TextBox 7">
            <a:extLst>
              <a:ext uri="{FF2B5EF4-FFF2-40B4-BE49-F238E27FC236}">
                <a16:creationId xmlns:a16="http://schemas.microsoft.com/office/drawing/2014/main" id="{DF1DAD14-9C20-42C4-9A16-922D6FD7493B}"/>
              </a:ext>
            </a:extLst>
          </p:cNvPr>
          <p:cNvSpPr txBox="1"/>
          <p:nvPr/>
        </p:nvSpPr>
        <p:spPr>
          <a:xfrm>
            <a:off x="3347790" y="2551589"/>
            <a:ext cx="432048" cy="369332"/>
          </a:xfrm>
          <a:prstGeom prst="rect">
            <a:avLst/>
          </a:prstGeom>
          <a:noFill/>
        </p:spPr>
        <p:txBody>
          <a:bodyPr wrap="square" rtlCol="0">
            <a:spAutoFit/>
          </a:bodyPr>
          <a:lstStyle/>
          <a:p>
            <a:r>
              <a:rPr lang="en-US" altLang="zh-CN" b="1" dirty="0">
                <a:latin typeface="微软雅黑" panose="020B0503020204020204" pitchFamily="34" charset="-122"/>
                <a:ea typeface="微软雅黑" panose="020B0503020204020204" pitchFamily="34" charset="-122"/>
              </a:rPr>
              <a:t>2</a:t>
            </a:r>
            <a:endParaRPr lang="zh-CN" altLang="en-US" b="1" dirty="0">
              <a:latin typeface="微软雅黑" panose="020B0503020204020204" pitchFamily="34" charset="-122"/>
              <a:ea typeface="微软雅黑" panose="020B0503020204020204" pitchFamily="34" charset="-122"/>
            </a:endParaRPr>
          </a:p>
        </p:txBody>
      </p:sp>
      <p:sp>
        <p:nvSpPr>
          <p:cNvPr id="141" name="TextBox 8">
            <a:extLst>
              <a:ext uri="{FF2B5EF4-FFF2-40B4-BE49-F238E27FC236}">
                <a16:creationId xmlns:a16="http://schemas.microsoft.com/office/drawing/2014/main" id="{5B1171E4-D4E5-4837-960D-27D948B4353C}"/>
              </a:ext>
            </a:extLst>
          </p:cNvPr>
          <p:cNvSpPr txBox="1"/>
          <p:nvPr/>
        </p:nvSpPr>
        <p:spPr>
          <a:xfrm>
            <a:off x="2840255" y="4797152"/>
            <a:ext cx="432048" cy="369332"/>
          </a:xfrm>
          <a:prstGeom prst="rect">
            <a:avLst/>
          </a:prstGeom>
          <a:noFill/>
        </p:spPr>
        <p:txBody>
          <a:bodyPr wrap="square" rtlCol="0">
            <a:spAutoFit/>
          </a:bodyPr>
          <a:lstStyle/>
          <a:p>
            <a:r>
              <a:rPr lang="en-US" altLang="zh-CN" b="1" dirty="0">
                <a:latin typeface="微软雅黑" panose="020B0503020204020204" pitchFamily="34" charset="-122"/>
                <a:ea typeface="微软雅黑" panose="020B0503020204020204" pitchFamily="34" charset="-122"/>
              </a:rPr>
              <a:t>4</a:t>
            </a:r>
            <a:endParaRPr lang="zh-CN" altLang="en-US" b="1" dirty="0">
              <a:latin typeface="微软雅黑" panose="020B0503020204020204" pitchFamily="34" charset="-122"/>
              <a:ea typeface="微软雅黑" panose="020B0503020204020204" pitchFamily="34" charset="-122"/>
            </a:endParaRPr>
          </a:p>
        </p:txBody>
      </p:sp>
      <p:sp>
        <p:nvSpPr>
          <p:cNvPr id="142" name="椭圆 141">
            <a:extLst>
              <a:ext uri="{FF2B5EF4-FFF2-40B4-BE49-F238E27FC236}">
                <a16:creationId xmlns:a16="http://schemas.microsoft.com/office/drawing/2014/main" id="{E4130DE5-A7C7-4019-94C4-EC877D96AD9B}"/>
              </a:ext>
            </a:extLst>
          </p:cNvPr>
          <p:cNvSpPr/>
          <p:nvPr/>
        </p:nvSpPr>
        <p:spPr>
          <a:xfrm>
            <a:off x="2197280" y="5588446"/>
            <a:ext cx="886216" cy="886216"/>
          </a:xfrm>
          <a:prstGeom prst="ellipse">
            <a:avLst/>
          </a:prstGeom>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43" name="TextBox 8">
            <a:extLst>
              <a:ext uri="{FF2B5EF4-FFF2-40B4-BE49-F238E27FC236}">
                <a16:creationId xmlns:a16="http://schemas.microsoft.com/office/drawing/2014/main" id="{F2694EC3-DA26-46B0-ACBC-FD9EAA19B0C6}"/>
              </a:ext>
            </a:extLst>
          </p:cNvPr>
          <p:cNvSpPr txBox="1"/>
          <p:nvPr/>
        </p:nvSpPr>
        <p:spPr>
          <a:xfrm>
            <a:off x="2503097" y="5835134"/>
            <a:ext cx="432048" cy="369332"/>
          </a:xfrm>
          <a:prstGeom prst="rect">
            <a:avLst/>
          </a:prstGeom>
          <a:noFill/>
        </p:spPr>
        <p:txBody>
          <a:bodyPr wrap="square" rtlCol="0">
            <a:spAutoFit/>
          </a:bodyPr>
          <a:lstStyle/>
          <a:p>
            <a:r>
              <a:rPr lang="en-US" altLang="zh-CN" b="1" dirty="0">
                <a:latin typeface="微软雅黑" panose="020B0503020204020204" pitchFamily="34" charset="-122"/>
                <a:ea typeface="微软雅黑" panose="020B0503020204020204" pitchFamily="34" charset="-122"/>
              </a:rPr>
              <a:t>5</a:t>
            </a:r>
            <a:endParaRPr lang="zh-CN" altLang="en-US" b="1" dirty="0">
              <a:latin typeface="微软雅黑" panose="020B0503020204020204" pitchFamily="34" charset="-122"/>
              <a:ea typeface="微软雅黑" panose="020B0503020204020204" pitchFamily="34" charset="-122"/>
            </a:endParaRPr>
          </a:p>
        </p:txBody>
      </p:sp>
      <p:sp>
        <p:nvSpPr>
          <p:cNvPr id="3" name="矩形 2">
            <a:extLst>
              <a:ext uri="{FF2B5EF4-FFF2-40B4-BE49-F238E27FC236}">
                <a16:creationId xmlns:a16="http://schemas.microsoft.com/office/drawing/2014/main" id="{C357A487-C493-48E6-839B-3DE80D6882F7}"/>
              </a:ext>
            </a:extLst>
          </p:cNvPr>
          <p:cNvSpPr/>
          <p:nvPr/>
        </p:nvSpPr>
        <p:spPr>
          <a:xfrm>
            <a:off x="5584825" y="1998132"/>
            <a:ext cx="6096000" cy="3046988"/>
          </a:xfrm>
          <a:prstGeom prst="rect">
            <a:avLst/>
          </a:prstGeom>
        </p:spPr>
        <p:txBody>
          <a:bodyPr>
            <a:spAutoFit/>
          </a:bodyPr>
          <a:lstStyle/>
          <a:p>
            <a:r>
              <a:rPr lang="zh-CN" altLang="en-US" sz="2400" dirty="0">
                <a:latin typeface="+mn-ea"/>
                <a:ea typeface="+mn-ea"/>
              </a:rPr>
              <a:t>智能化医药工厂：面向药品生产从原料到仓储到销售全流程环节，以高端智能装备与机器人为基础，利用信息化，大数据，云处理等先进技术，与药品生产工艺要求高度集成</a:t>
            </a:r>
            <a:r>
              <a:rPr lang="en-US" altLang="zh-CN" sz="2400" dirty="0">
                <a:latin typeface="+mn-ea"/>
                <a:ea typeface="+mn-ea"/>
              </a:rPr>
              <a:t>,</a:t>
            </a:r>
            <a:r>
              <a:rPr lang="zh-CN" altLang="en-US" sz="2400" dirty="0">
                <a:latin typeface="+mn-ea"/>
                <a:ea typeface="+mn-ea"/>
              </a:rPr>
              <a:t>实现智能化生产的新型工厂。满足生产运营的柔性，高效，高质量，安全（</a:t>
            </a:r>
            <a:r>
              <a:rPr lang="en-US" altLang="zh-CN" sz="2400" dirty="0">
                <a:latin typeface="+mn-ea"/>
                <a:ea typeface="+mn-ea"/>
              </a:rPr>
              <a:t>GMP</a:t>
            </a:r>
            <a:r>
              <a:rPr lang="zh-CN" altLang="en-US" sz="2400" dirty="0">
                <a:latin typeface="+mn-ea"/>
                <a:ea typeface="+mn-ea"/>
              </a:rPr>
              <a:t>），节能环保等要求。并通过互联网与供应商，客户等外部资源实现网络协同制造。</a:t>
            </a:r>
          </a:p>
        </p:txBody>
      </p:sp>
    </p:spTree>
    <p:extLst>
      <p:ext uri="{BB962C8B-B14F-4D97-AF65-F5344CB8AC3E}">
        <p14:creationId xmlns:p14="http://schemas.microsoft.com/office/powerpoint/2010/main" val="2546410758"/>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8" y="114300"/>
            <a:ext cx="3644472"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3300" b="1" dirty="0">
                <a:solidFill>
                  <a:srgbClr val="0070C0"/>
                </a:solidFill>
                <a:latin typeface="+mj-ea"/>
                <a:ea typeface="+mj-ea"/>
              </a:rPr>
              <a:t>PAT</a:t>
            </a:r>
            <a:r>
              <a:rPr lang="zh-CN" altLang="en-US" sz="3300" b="1" dirty="0">
                <a:solidFill>
                  <a:srgbClr val="0070C0"/>
                </a:solidFill>
                <a:latin typeface="+mj-ea"/>
                <a:ea typeface="+mj-ea"/>
              </a:rPr>
              <a:t>技术应用</a:t>
            </a:r>
          </a:p>
        </p:txBody>
      </p:sp>
      <p:cxnSp>
        <p:nvCxnSpPr>
          <p:cNvPr id="134" name="直接连接符 133">
            <a:extLst>
              <a:ext uri="{FF2B5EF4-FFF2-40B4-BE49-F238E27FC236}">
                <a16:creationId xmlns:a16="http://schemas.microsoft.com/office/drawing/2014/main" id="{571ED268-0156-4774-A8D8-9FBFB6427241}"/>
              </a:ext>
            </a:extLst>
          </p:cNvPr>
          <p:cNvCxnSpPr/>
          <p:nvPr/>
        </p:nvCxnSpPr>
        <p:spPr>
          <a:xfrm flipV="1">
            <a:off x="3511550" y="825500"/>
            <a:ext cx="5121275" cy="254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圆角矩形 26">
            <a:extLst>
              <a:ext uri="{FF2B5EF4-FFF2-40B4-BE49-F238E27FC236}">
                <a16:creationId xmlns:a16="http://schemas.microsoft.com/office/drawing/2014/main" id="{30779302-ED4C-4CF5-A93D-913AE77DE7A9}"/>
              </a:ext>
            </a:extLst>
          </p:cNvPr>
          <p:cNvSpPr/>
          <p:nvPr/>
        </p:nvSpPr>
        <p:spPr>
          <a:xfrm>
            <a:off x="2328554" y="1299163"/>
            <a:ext cx="3769283" cy="1057066"/>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2600"/>
              </a:lnSpc>
            </a:pPr>
            <a:r>
              <a:rPr lang="zh-CN" altLang="en-US" dirty="0">
                <a:ln w="0">
                  <a:solidFill>
                    <a:schemeClr val="tx1"/>
                  </a:solidFill>
                </a:ln>
                <a:solidFill>
                  <a:schemeClr val="bg1"/>
                </a:solidFill>
                <a:latin typeface="微软雅黑" pitchFamily="34" charset="-122"/>
                <a:ea typeface="微软雅黑" pitchFamily="34" charset="-122"/>
              </a:rPr>
              <a:t>混合均匀性、粒度分布、水份含量片重差异、片剂缺陷</a:t>
            </a:r>
          </a:p>
        </p:txBody>
      </p:sp>
      <p:sp>
        <p:nvSpPr>
          <p:cNvPr id="20" name="Rectangle 2">
            <a:extLst>
              <a:ext uri="{FF2B5EF4-FFF2-40B4-BE49-F238E27FC236}">
                <a16:creationId xmlns:a16="http://schemas.microsoft.com/office/drawing/2014/main" id="{64FE061C-0245-4337-B1F9-B369A969FFF9}"/>
              </a:ext>
            </a:extLst>
          </p:cNvPr>
          <p:cNvSpPr>
            <a:spLocks noChangeArrowheads="1"/>
          </p:cNvSpPr>
          <p:nvPr/>
        </p:nvSpPr>
        <p:spPr bwMode="auto">
          <a:xfrm>
            <a:off x="5743885" y="2842697"/>
            <a:ext cx="1283420" cy="1876425"/>
          </a:xfrm>
          <a:prstGeom prst="rect">
            <a:avLst/>
          </a:prstGeom>
          <a:solidFill>
            <a:srgbClr val="F8F8F8"/>
          </a:solidFill>
          <a:ln w="38100" cmpd="dbl" algn="ctr">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graphicFrame>
        <p:nvGraphicFramePr>
          <p:cNvPr id="21" name="Object 2">
            <a:extLst>
              <a:ext uri="{FF2B5EF4-FFF2-40B4-BE49-F238E27FC236}">
                <a16:creationId xmlns:a16="http://schemas.microsoft.com/office/drawing/2014/main" id="{0E734A61-0BF3-47C7-8409-A2F5BC46BBAB}"/>
              </a:ext>
            </a:extLst>
          </p:cNvPr>
          <p:cNvGraphicFramePr>
            <a:graphicFrameLocks noChangeAspect="1"/>
          </p:cNvGraphicFramePr>
          <p:nvPr>
            <p:extLst>
              <p:ext uri="{D42A27DB-BD31-4B8C-83A1-F6EECF244321}">
                <p14:modId xmlns:p14="http://schemas.microsoft.com/office/powerpoint/2010/main" val="604211020"/>
              </p:ext>
            </p:extLst>
          </p:nvPr>
        </p:nvGraphicFramePr>
        <p:xfrm>
          <a:off x="5978042" y="3048605"/>
          <a:ext cx="885825" cy="1247775"/>
        </p:xfrm>
        <a:graphic>
          <a:graphicData uri="http://schemas.openxmlformats.org/presentationml/2006/ole">
            <mc:AlternateContent xmlns:mc="http://schemas.openxmlformats.org/markup-compatibility/2006">
              <mc:Choice xmlns:v="urn:schemas-microsoft-com:vml" Requires="v">
                <p:oleObj spid="_x0000_s1060" name="Visio" r:id="rId4" imgW="2789872" imgH="3932873" progId="">
                  <p:embed/>
                </p:oleObj>
              </mc:Choice>
              <mc:Fallback>
                <p:oleObj name="Visio" r:id="rId4" imgW="2789872" imgH="3932873" progId="">
                  <p:embed/>
                  <p:pic>
                    <p:nvPicPr>
                      <p:cNvPr id="70" name="Object 2">
                        <a:extLst>
                          <a:ext uri="{FF2B5EF4-FFF2-40B4-BE49-F238E27FC236}">
                            <a16:creationId xmlns:a16="http://schemas.microsoft.com/office/drawing/2014/main" id="{C4968823-C658-47ED-870F-AAFCF006850F}"/>
                          </a:ext>
                        </a:extLst>
                      </p:cNvPr>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78042" y="3048605"/>
                        <a:ext cx="885825" cy="1247775"/>
                      </a:xfrm>
                      <a:prstGeom prst="rect">
                        <a:avLst/>
                      </a:prstGeom>
                      <a:blipFill dpi="0" rotWithShape="0">
                        <a:blip r:embed="rId6"/>
                        <a:srcRect/>
                        <a:tile tx="0" ty="0" sx="100000" sy="100000" flip="none" algn="tl"/>
                      </a:blipFill>
                      <a:ln w="9525">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2" name="Rectangle 4">
            <a:extLst>
              <a:ext uri="{FF2B5EF4-FFF2-40B4-BE49-F238E27FC236}">
                <a16:creationId xmlns:a16="http://schemas.microsoft.com/office/drawing/2014/main" id="{2585B603-BB08-4243-86AC-4C73642340F3}"/>
              </a:ext>
            </a:extLst>
          </p:cNvPr>
          <p:cNvSpPr>
            <a:spLocks noChangeArrowheads="1"/>
          </p:cNvSpPr>
          <p:nvPr/>
        </p:nvSpPr>
        <p:spPr bwMode="auto">
          <a:xfrm>
            <a:off x="4536249" y="5375880"/>
            <a:ext cx="1670050" cy="444500"/>
          </a:xfrm>
          <a:prstGeom prst="rect">
            <a:avLst/>
          </a:prstGeom>
          <a:solidFill>
            <a:srgbClr val="F8F8F8"/>
          </a:solidFill>
          <a:ln w="38100" cmpd="dbl" algn="ctr">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23" name="Rectangle 5">
            <a:extLst>
              <a:ext uri="{FF2B5EF4-FFF2-40B4-BE49-F238E27FC236}">
                <a16:creationId xmlns:a16="http://schemas.microsoft.com/office/drawing/2014/main" id="{114D2745-2A85-48F2-9789-DC2D6F02F75A}"/>
              </a:ext>
            </a:extLst>
          </p:cNvPr>
          <p:cNvSpPr>
            <a:spLocks noChangeArrowheads="1"/>
          </p:cNvSpPr>
          <p:nvPr/>
        </p:nvSpPr>
        <p:spPr bwMode="auto">
          <a:xfrm>
            <a:off x="4369561" y="3350230"/>
            <a:ext cx="779463" cy="1876425"/>
          </a:xfrm>
          <a:prstGeom prst="rect">
            <a:avLst/>
          </a:prstGeom>
          <a:solidFill>
            <a:srgbClr val="F8F8F8"/>
          </a:solidFill>
          <a:ln w="38100" cmpd="dbl" algn="ctr">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24" name="Rectangle 6">
            <a:extLst>
              <a:ext uri="{FF2B5EF4-FFF2-40B4-BE49-F238E27FC236}">
                <a16:creationId xmlns:a16="http://schemas.microsoft.com/office/drawing/2014/main" id="{862AD043-A5BD-42EC-824C-FF7215F5098D}"/>
              </a:ext>
            </a:extLst>
          </p:cNvPr>
          <p:cNvSpPr>
            <a:spLocks noChangeArrowheads="1"/>
          </p:cNvSpPr>
          <p:nvPr/>
        </p:nvSpPr>
        <p:spPr bwMode="auto">
          <a:xfrm>
            <a:off x="2366136" y="3350230"/>
            <a:ext cx="1725613" cy="1876425"/>
          </a:xfrm>
          <a:prstGeom prst="rect">
            <a:avLst/>
          </a:prstGeom>
          <a:solidFill>
            <a:srgbClr val="F8F8F8"/>
          </a:solidFill>
          <a:ln w="38100" cmpd="dbl" algn="ctr">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25" name="Rectangle 7" descr="60%">
            <a:extLst>
              <a:ext uri="{FF2B5EF4-FFF2-40B4-BE49-F238E27FC236}">
                <a16:creationId xmlns:a16="http://schemas.microsoft.com/office/drawing/2014/main" id="{5DDD1DA6-C540-4AE8-B938-74A4B5EAB3BF}"/>
              </a:ext>
            </a:extLst>
          </p:cNvPr>
          <p:cNvSpPr>
            <a:spLocks noChangeArrowheads="1"/>
          </p:cNvSpPr>
          <p:nvPr/>
        </p:nvSpPr>
        <p:spPr bwMode="auto">
          <a:xfrm>
            <a:off x="2142299" y="3596292"/>
            <a:ext cx="55562" cy="1928813"/>
          </a:xfrm>
          <a:prstGeom prst="rect">
            <a:avLst/>
          </a:prstGeom>
          <a:pattFill prst="pct60">
            <a:fgClr>
              <a:schemeClr val="bg1"/>
            </a:fgClr>
            <a:bgClr>
              <a:srgbClr val="008000"/>
            </a:bgClr>
          </a:pattFill>
          <a:ln w="9525" algn="ctr">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26" name="Rectangle 8">
            <a:extLst>
              <a:ext uri="{FF2B5EF4-FFF2-40B4-BE49-F238E27FC236}">
                <a16:creationId xmlns:a16="http://schemas.microsoft.com/office/drawing/2014/main" id="{03BDE134-F314-42C8-9247-75E4E327C15B}"/>
              </a:ext>
            </a:extLst>
          </p:cNvPr>
          <p:cNvSpPr>
            <a:spLocks noChangeArrowheads="1"/>
          </p:cNvSpPr>
          <p:nvPr/>
        </p:nvSpPr>
        <p:spPr bwMode="auto">
          <a:xfrm>
            <a:off x="361124" y="5426680"/>
            <a:ext cx="1670050" cy="444500"/>
          </a:xfrm>
          <a:prstGeom prst="rect">
            <a:avLst/>
          </a:prstGeom>
          <a:solidFill>
            <a:srgbClr val="F8F8F8"/>
          </a:solidFill>
          <a:ln w="38100" cmpd="dbl">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27" name="Rectangle 9">
            <a:extLst>
              <a:ext uri="{FF2B5EF4-FFF2-40B4-BE49-F238E27FC236}">
                <a16:creationId xmlns:a16="http://schemas.microsoft.com/office/drawing/2014/main" id="{DDBCED8A-C1C1-42DB-B211-3221A0616118}"/>
              </a:ext>
            </a:extLst>
          </p:cNvPr>
          <p:cNvSpPr>
            <a:spLocks noChangeArrowheads="1"/>
          </p:cNvSpPr>
          <p:nvPr/>
        </p:nvSpPr>
        <p:spPr bwMode="auto">
          <a:xfrm>
            <a:off x="83311" y="3350230"/>
            <a:ext cx="1725613" cy="1876425"/>
          </a:xfrm>
          <a:prstGeom prst="rect">
            <a:avLst/>
          </a:prstGeom>
          <a:solidFill>
            <a:srgbClr val="F8F8F8"/>
          </a:solidFill>
          <a:ln w="38100" cmpd="dbl">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28" name="Rectangle 10" descr="20%">
            <a:extLst>
              <a:ext uri="{FF2B5EF4-FFF2-40B4-BE49-F238E27FC236}">
                <a16:creationId xmlns:a16="http://schemas.microsoft.com/office/drawing/2014/main" id="{6431A909-74D1-45AC-A6F6-00A27BE9D7F3}"/>
              </a:ext>
            </a:extLst>
          </p:cNvPr>
          <p:cNvSpPr>
            <a:spLocks noChangeArrowheads="1"/>
          </p:cNvSpPr>
          <p:nvPr/>
        </p:nvSpPr>
        <p:spPr bwMode="auto">
          <a:xfrm>
            <a:off x="1310449" y="2724755"/>
            <a:ext cx="214312" cy="395287"/>
          </a:xfrm>
          <a:prstGeom prst="rect">
            <a:avLst/>
          </a:prstGeom>
          <a:pattFill prst="pct20">
            <a:fgClr>
              <a:srgbClr val="00CC00"/>
            </a:fgClr>
            <a:bgClr>
              <a:schemeClr val="bg1"/>
            </a:bgClr>
          </a:pattFill>
          <a:ln w="9525" algn="ctr">
            <a:no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29" name="Rectangle 11" descr="75%">
            <a:extLst>
              <a:ext uri="{FF2B5EF4-FFF2-40B4-BE49-F238E27FC236}">
                <a16:creationId xmlns:a16="http://schemas.microsoft.com/office/drawing/2014/main" id="{7F06075F-8EF1-4DEA-99EE-D14C18E31E3A}"/>
              </a:ext>
            </a:extLst>
          </p:cNvPr>
          <p:cNvSpPr>
            <a:spLocks noChangeArrowheads="1"/>
          </p:cNvSpPr>
          <p:nvPr/>
        </p:nvSpPr>
        <p:spPr bwMode="auto">
          <a:xfrm>
            <a:off x="392874" y="2769205"/>
            <a:ext cx="214312" cy="350837"/>
          </a:xfrm>
          <a:prstGeom prst="rect">
            <a:avLst/>
          </a:prstGeom>
          <a:pattFill prst="pct75">
            <a:fgClr>
              <a:schemeClr val="bg1"/>
            </a:fgClr>
            <a:bgClr>
              <a:srgbClr val="FF9900"/>
            </a:bgClr>
          </a:pattFill>
          <a:ln w="9525" algn="ctr">
            <a:no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30" name="Freeform 12">
            <a:extLst>
              <a:ext uri="{FF2B5EF4-FFF2-40B4-BE49-F238E27FC236}">
                <a16:creationId xmlns:a16="http://schemas.microsoft.com/office/drawing/2014/main" id="{0F900B8E-FD00-49A0-ADEC-4F6DFE0A5814}"/>
              </a:ext>
            </a:extLst>
          </p:cNvPr>
          <p:cNvSpPr>
            <a:spLocks/>
          </p:cNvSpPr>
          <p:nvPr/>
        </p:nvSpPr>
        <p:spPr bwMode="auto">
          <a:xfrm>
            <a:off x="305561" y="2378680"/>
            <a:ext cx="388938" cy="741362"/>
          </a:xfrm>
          <a:custGeom>
            <a:avLst/>
            <a:gdLst/>
            <a:ahLst/>
            <a:cxnLst>
              <a:cxn ang="0">
                <a:pos x="0" y="0"/>
              </a:cxn>
              <a:cxn ang="0">
                <a:pos x="408" y="0"/>
              </a:cxn>
              <a:cxn ang="0">
                <a:pos x="317" y="499"/>
              </a:cxn>
              <a:cxn ang="0">
                <a:pos x="317" y="1225"/>
              </a:cxn>
              <a:cxn ang="0">
                <a:pos x="90" y="1225"/>
              </a:cxn>
              <a:cxn ang="0">
                <a:pos x="90" y="499"/>
              </a:cxn>
              <a:cxn ang="0">
                <a:pos x="0" y="0"/>
              </a:cxn>
            </a:cxnLst>
            <a:rect l="0" t="0" r="r" b="b"/>
            <a:pathLst>
              <a:path w="408" h="1225">
                <a:moveTo>
                  <a:pt x="0" y="0"/>
                </a:moveTo>
                <a:lnTo>
                  <a:pt x="408" y="0"/>
                </a:lnTo>
                <a:lnTo>
                  <a:pt x="317" y="499"/>
                </a:lnTo>
                <a:lnTo>
                  <a:pt x="317" y="1225"/>
                </a:lnTo>
                <a:lnTo>
                  <a:pt x="90" y="1225"/>
                </a:lnTo>
                <a:lnTo>
                  <a:pt x="90" y="499"/>
                </a:lnTo>
                <a:lnTo>
                  <a:pt x="0" y="0"/>
                </a:lnTo>
                <a:close/>
              </a:path>
            </a:pathLst>
          </a:cu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31" name="AutoShape 13" descr="Outlined diamond">
            <a:extLst>
              <a:ext uri="{FF2B5EF4-FFF2-40B4-BE49-F238E27FC236}">
                <a16:creationId xmlns:a16="http://schemas.microsoft.com/office/drawing/2014/main" id="{874A20F6-2552-4C0C-909C-1DE88A7A07B6}"/>
              </a:ext>
            </a:extLst>
          </p:cNvPr>
          <p:cNvSpPr>
            <a:spLocks noChangeArrowheads="1"/>
          </p:cNvSpPr>
          <p:nvPr/>
        </p:nvSpPr>
        <p:spPr bwMode="auto">
          <a:xfrm>
            <a:off x="392874" y="2378680"/>
            <a:ext cx="214312" cy="34925"/>
          </a:xfrm>
          <a:custGeom>
            <a:avLst/>
            <a:gdLst>
              <a:gd name="T0" fmla="*/ 199062 w 21600"/>
              <a:gd name="T1" fmla="*/ 17463 h 21600"/>
              <a:gd name="T2" fmla="*/ 107156 w 21600"/>
              <a:gd name="T3" fmla="*/ 34925 h 21600"/>
              <a:gd name="T4" fmla="*/ 15250 w 21600"/>
              <a:gd name="T5" fmla="*/ 17463 h 21600"/>
              <a:gd name="T6" fmla="*/ 107156 w 21600"/>
              <a:gd name="T7" fmla="*/ 0 h 21600"/>
              <a:gd name="T8" fmla="*/ 0 60000 65536"/>
              <a:gd name="T9" fmla="*/ 0 60000 65536"/>
              <a:gd name="T10" fmla="*/ 0 60000 65536"/>
              <a:gd name="T11" fmla="*/ 0 60000 65536"/>
              <a:gd name="T12" fmla="*/ 3337 w 21600"/>
              <a:gd name="T13" fmla="*/ 3337 h 21600"/>
              <a:gd name="T14" fmla="*/ 18263 w 21600"/>
              <a:gd name="T15" fmla="*/ 18263 h 21600"/>
            </a:gdLst>
            <a:ahLst/>
            <a:cxnLst>
              <a:cxn ang="T8">
                <a:pos x="T0" y="T1"/>
              </a:cxn>
              <a:cxn ang="T9">
                <a:pos x="T2" y="T3"/>
              </a:cxn>
              <a:cxn ang="T10">
                <a:pos x="T4" y="T5"/>
              </a:cxn>
              <a:cxn ang="T11">
                <a:pos x="T6" y="T7"/>
              </a:cxn>
            </a:cxnLst>
            <a:rect l="T12" t="T13" r="T14" b="T15"/>
            <a:pathLst>
              <a:path w="21600" h="21600">
                <a:moveTo>
                  <a:pt x="0" y="0"/>
                </a:moveTo>
                <a:lnTo>
                  <a:pt x="3073" y="21600"/>
                </a:lnTo>
                <a:lnTo>
                  <a:pt x="18527" y="21600"/>
                </a:lnTo>
                <a:lnTo>
                  <a:pt x="21600" y="0"/>
                </a:lnTo>
                <a:close/>
              </a:path>
            </a:pathLst>
          </a:custGeom>
          <a:pattFill prst="openDmnd">
            <a:fgClr>
              <a:schemeClr val="tx1"/>
            </a:fgClr>
            <a:bgClr>
              <a:schemeClr val="bg1"/>
            </a:bgClr>
          </a:pattFill>
          <a:ln w="9525">
            <a:solidFill>
              <a:schemeClr val="tx1"/>
            </a:solidFill>
            <a:miter lim="800000"/>
            <a:headEnd/>
            <a:tailEnd/>
          </a:ln>
        </p:spPr>
        <p:txBody>
          <a:bodyPr wrap="none" anchor="ctr"/>
          <a:lstStyle/>
          <a:p>
            <a:pPr>
              <a:defRPr/>
            </a:pPr>
            <a:endParaRPr lang="en-US">
              <a:solidFill>
                <a:schemeClr val="tx1"/>
              </a:solidFill>
              <a:latin typeface="+mj-lt"/>
            </a:endParaRPr>
          </a:p>
        </p:txBody>
      </p:sp>
      <p:sp>
        <p:nvSpPr>
          <p:cNvPr id="32" name="AutoShape 14" descr="Small checker board">
            <a:extLst>
              <a:ext uri="{FF2B5EF4-FFF2-40B4-BE49-F238E27FC236}">
                <a16:creationId xmlns:a16="http://schemas.microsoft.com/office/drawing/2014/main" id="{746FA99C-13FF-441B-BBF6-90FB0226E00B}"/>
              </a:ext>
            </a:extLst>
          </p:cNvPr>
          <p:cNvSpPr>
            <a:spLocks noChangeArrowheads="1"/>
          </p:cNvSpPr>
          <p:nvPr/>
        </p:nvSpPr>
        <p:spPr bwMode="auto">
          <a:xfrm flipV="1">
            <a:off x="370649" y="3121630"/>
            <a:ext cx="258762" cy="177800"/>
          </a:xfrm>
          <a:prstGeom prst="triangle">
            <a:avLst>
              <a:gd name="adj" fmla="val 50000"/>
            </a:avLst>
          </a:prstGeom>
          <a:pattFill prst="smCheck">
            <a:fgClr>
              <a:schemeClr val="tx1"/>
            </a:fgClr>
            <a:bgClr>
              <a:schemeClr val="bg1"/>
            </a:bgClr>
          </a:pattFill>
          <a:ln w="9525">
            <a:solidFill>
              <a:schemeClr val="tx1"/>
            </a:solidFill>
            <a:miter lim="800000"/>
            <a:headEnd/>
            <a:tailEnd/>
          </a:ln>
        </p:spPr>
        <p:txBody>
          <a:bodyPr rot="10800000" wrap="none" anchor="ctr"/>
          <a:lstStyle/>
          <a:p>
            <a:pPr>
              <a:spcBef>
                <a:spcPct val="50000"/>
              </a:spcBef>
              <a:buClr>
                <a:schemeClr val="accent1"/>
              </a:buClr>
              <a:defRPr/>
            </a:pPr>
            <a:endParaRPr lang="en-US">
              <a:solidFill>
                <a:schemeClr val="tx1"/>
              </a:solidFill>
              <a:latin typeface="+mj-lt"/>
            </a:endParaRPr>
          </a:p>
        </p:txBody>
      </p:sp>
      <p:sp>
        <p:nvSpPr>
          <p:cNvPr id="33" name="Rectangle 15" descr="75%">
            <a:extLst>
              <a:ext uri="{FF2B5EF4-FFF2-40B4-BE49-F238E27FC236}">
                <a16:creationId xmlns:a16="http://schemas.microsoft.com/office/drawing/2014/main" id="{896FEECB-80B3-4670-85D6-29A5DBB19E7F}"/>
              </a:ext>
            </a:extLst>
          </p:cNvPr>
          <p:cNvSpPr>
            <a:spLocks noChangeArrowheads="1"/>
          </p:cNvSpPr>
          <p:nvPr/>
        </p:nvSpPr>
        <p:spPr bwMode="auto">
          <a:xfrm>
            <a:off x="472249" y="3301017"/>
            <a:ext cx="55562" cy="395288"/>
          </a:xfrm>
          <a:prstGeom prst="rect">
            <a:avLst/>
          </a:prstGeom>
          <a:pattFill prst="pct75">
            <a:fgClr>
              <a:schemeClr val="bg1"/>
            </a:fgClr>
            <a:bgClr>
              <a:srgbClr val="FF9900"/>
            </a:bgClr>
          </a:pattFill>
          <a:ln w="9525" algn="ctr">
            <a:no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34" name="Rectangle 16" descr="20%">
            <a:extLst>
              <a:ext uri="{FF2B5EF4-FFF2-40B4-BE49-F238E27FC236}">
                <a16:creationId xmlns:a16="http://schemas.microsoft.com/office/drawing/2014/main" id="{C1F1C3AF-D764-4009-A184-A42006E56BBE}"/>
              </a:ext>
            </a:extLst>
          </p:cNvPr>
          <p:cNvSpPr>
            <a:spLocks noChangeArrowheads="1"/>
          </p:cNvSpPr>
          <p:nvPr/>
        </p:nvSpPr>
        <p:spPr bwMode="auto">
          <a:xfrm>
            <a:off x="945324" y="3201005"/>
            <a:ext cx="55562" cy="495300"/>
          </a:xfrm>
          <a:prstGeom prst="rect">
            <a:avLst/>
          </a:prstGeom>
          <a:pattFill prst="pct20">
            <a:fgClr>
              <a:srgbClr val="0066FF"/>
            </a:fgClr>
            <a:bgClr>
              <a:schemeClr val="bg1"/>
            </a:bgClr>
          </a:pattFill>
          <a:ln w="9525" algn="ctr">
            <a:no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35" name="Rectangle 17" descr="20%">
            <a:extLst>
              <a:ext uri="{FF2B5EF4-FFF2-40B4-BE49-F238E27FC236}">
                <a16:creationId xmlns:a16="http://schemas.microsoft.com/office/drawing/2014/main" id="{8E17D43F-9543-4481-B1A4-113AD969AC51}"/>
              </a:ext>
            </a:extLst>
          </p:cNvPr>
          <p:cNvSpPr>
            <a:spLocks noChangeArrowheads="1"/>
          </p:cNvSpPr>
          <p:nvPr/>
        </p:nvSpPr>
        <p:spPr bwMode="auto">
          <a:xfrm>
            <a:off x="1389824" y="3250217"/>
            <a:ext cx="57150" cy="446088"/>
          </a:xfrm>
          <a:prstGeom prst="rect">
            <a:avLst/>
          </a:prstGeom>
          <a:pattFill prst="pct20">
            <a:fgClr>
              <a:srgbClr val="00CC00"/>
            </a:fgClr>
            <a:bgClr>
              <a:schemeClr val="bg1"/>
            </a:bgClr>
          </a:pattFill>
          <a:ln w="9525" algn="ctr">
            <a:no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36" name="Freeform 18">
            <a:extLst>
              <a:ext uri="{FF2B5EF4-FFF2-40B4-BE49-F238E27FC236}">
                <a16:creationId xmlns:a16="http://schemas.microsoft.com/office/drawing/2014/main" id="{E97DF194-0A96-455B-97E6-06985464C61B}"/>
              </a:ext>
            </a:extLst>
          </p:cNvPr>
          <p:cNvSpPr>
            <a:spLocks/>
          </p:cNvSpPr>
          <p:nvPr/>
        </p:nvSpPr>
        <p:spPr bwMode="auto">
          <a:xfrm>
            <a:off x="1223136" y="2378680"/>
            <a:ext cx="388938" cy="741362"/>
          </a:xfrm>
          <a:custGeom>
            <a:avLst/>
            <a:gdLst/>
            <a:ahLst/>
            <a:cxnLst>
              <a:cxn ang="0">
                <a:pos x="0" y="0"/>
              </a:cxn>
              <a:cxn ang="0">
                <a:pos x="408" y="0"/>
              </a:cxn>
              <a:cxn ang="0">
                <a:pos x="317" y="499"/>
              </a:cxn>
              <a:cxn ang="0">
                <a:pos x="317" y="1225"/>
              </a:cxn>
              <a:cxn ang="0">
                <a:pos x="90" y="1225"/>
              </a:cxn>
              <a:cxn ang="0">
                <a:pos x="90" y="499"/>
              </a:cxn>
              <a:cxn ang="0">
                <a:pos x="0" y="0"/>
              </a:cxn>
            </a:cxnLst>
            <a:rect l="0" t="0" r="r" b="b"/>
            <a:pathLst>
              <a:path w="408" h="1225">
                <a:moveTo>
                  <a:pt x="0" y="0"/>
                </a:moveTo>
                <a:lnTo>
                  <a:pt x="408" y="0"/>
                </a:lnTo>
                <a:lnTo>
                  <a:pt x="317" y="499"/>
                </a:lnTo>
                <a:lnTo>
                  <a:pt x="317" y="1225"/>
                </a:lnTo>
                <a:lnTo>
                  <a:pt x="90" y="1225"/>
                </a:lnTo>
                <a:lnTo>
                  <a:pt x="90" y="499"/>
                </a:lnTo>
                <a:lnTo>
                  <a:pt x="0" y="0"/>
                </a:lnTo>
                <a:close/>
              </a:path>
            </a:pathLst>
          </a:cu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37" name="AutoShape 19" descr="Outlined diamond">
            <a:extLst>
              <a:ext uri="{FF2B5EF4-FFF2-40B4-BE49-F238E27FC236}">
                <a16:creationId xmlns:a16="http://schemas.microsoft.com/office/drawing/2014/main" id="{7ABD15FC-6FBF-430F-ABEB-C4DE61B7C023}"/>
              </a:ext>
            </a:extLst>
          </p:cNvPr>
          <p:cNvSpPr>
            <a:spLocks noChangeArrowheads="1"/>
          </p:cNvSpPr>
          <p:nvPr/>
        </p:nvSpPr>
        <p:spPr bwMode="auto">
          <a:xfrm>
            <a:off x="1310449" y="2378680"/>
            <a:ext cx="214312" cy="34925"/>
          </a:xfrm>
          <a:custGeom>
            <a:avLst/>
            <a:gdLst>
              <a:gd name="T0" fmla="*/ 199062 w 21600"/>
              <a:gd name="T1" fmla="*/ 17463 h 21600"/>
              <a:gd name="T2" fmla="*/ 107156 w 21600"/>
              <a:gd name="T3" fmla="*/ 34925 h 21600"/>
              <a:gd name="T4" fmla="*/ 15250 w 21600"/>
              <a:gd name="T5" fmla="*/ 17463 h 21600"/>
              <a:gd name="T6" fmla="*/ 107156 w 21600"/>
              <a:gd name="T7" fmla="*/ 0 h 21600"/>
              <a:gd name="T8" fmla="*/ 0 60000 65536"/>
              <a:gd name="T9" fmla="*/ 0 60000 65536"/>
              <a:gd name="T10" fmla="*/ 0 60000 65536"/>
              <a:gd name="T11" fmla="*/ 0 60000 65536"/>
              <a:gd name="T12" fmla="*/ 3337 w 21600"/>
              <a:gd name="T13" fmla="*/ 3337 h 21600"/>
              <a:gd name="T14" fmla="*/ 18263 w 21600"/>
              <a:gd name="T15" fmla="*/ 18263 h 21600"/>
            </a:gdLst>
            <a:ahLst/>
            <a:cxnLst>
              <a:cxn ang="T8">
                <a:pos x="T0" y="T1"/>
              </a:cxn>
              <a:cxn ang="T9">
                <a:pos x="T2" y="T3"/>
              </a:cxn>
              <a:cxn ang="T10">
                <a:pos x="T4" y="T5"/>
              </a:cxn>
              <a:cxn ang="T11">
                <a:pos x="T6" y="T7"/>
              </a:cxn>
            </a:cxnLst>
            <a:rect l="T12" t="T13" r="T14" b="T15"/>
            <a:pathLst>
              <a:path w="21600" h="21600">
                <a:moveTo>
                  <a:pt x="0" y="0"/>
                </a:moveTo>
                <a:lnTo>
                  <a:pt x="3073" y="21600"/>
                </a:lnTo>
                <a:lnTo>
                  <a:pt x="18527" y="21600"/>
                </a:lnTo>
                <a:lnTo>
                  <a:pt x="21600" y="0"/>
                </a:lnTo>
                <a:close/>
              </a:path>
            </a:pathLst>
          </a:custGeom>
          <a:pattFill prst="openDmnd">
            <a:fgClr>
              <a:schemeClr val="tx1"/>
            </a:fgClr>
            <a:bgClr>
              <a:schemeClr val="bg1"/>
            </a:bgClr>
          </a:pattFill>
          <a:ln w="9525" algn="ctr">
            <a:solidFill>
              <a:schemeClr val="tx1"/>
            </a:solidFill>
            <a:miter lim="800000"/>
            <a:headEnd/>
            <a:tailEnd/>
          </a:ln>
        </p:spPr>
        <p:txBody>
          <a:bodyPr wrap="none" anchor="ctr"/>
          <a:lstStyle/>
          <a:p>
            <a:pPr>
              <a:defRPr/>
            </a:pPr>
            <a:endParaRPr lang="en-US">
              <a:solidFill>
                <a:schemeClr val="tx1"/>
              </a:solidFill>
              <a:latin typeface="+mj-lt"/>
            </a:endParaRPr>
          </a:p>
        </p:txBody>
      </p:sp>
      <p:sp>
        <p:nvSpPr>
          <p:cNvPr id="38" name="AutoShape 20" descr="Small checker board">
            <a:extLst>
              <a:ext uri="{FF2B5EF4-FFF2-40B4-BE49-F238E27FC236}">
                <a16:creationId xmlns:a16="http://schemas.microsoft.com/office/drawing/2014/main" id="{F45AE481-8A9F-488E-93B7-258404B9F02A}"/>
              </a:ext>
            </a:extLst>
          </p:cNvPr>
          <p:cNvSpPr>
            <a:spLocks noChangeArrowheads="1"/>
          </p:cNvSpPr>
          <p:nvPr/>
        </p:nvSpPr>
        <p:spPr bwMode="auto">
          <a:xfrm flipV="1">
            <a:off x="1288224" y="3121630"/>
            <a:ext cx="258762" cy="177800"/>
          </a:xfrm>
          <a:prstGeom prst="triangle">
            <a:avLst>
              <a:gd name="adj" fmla="val 50000"/>
            </a:avLst>
          </a:prstGeom>
          <a:pattFill prst="smCheck">
            <a:fgClr>
              <a:schemeClr val="tx1"/>
            </a:fgClr>
            <a:bgClr>
              <a:schemeClr val="bg1"/>
            </a:bgClr>
          </a:pattFill>
          <a:ln w="9525">
            <a:solidFill>
              <a:schemeClr val="tx1"/>
            </a:solidFill>
            <a:miter lim="800000"/>
            <a:headEnd/>
            <a:tailEnd/>
          </a:ln>
        </p:spPr>
        <p:txBody>
          <a:bodyPr rot="10800000" wrap="none" anchor="ctr"/>
          <a:lstStyle/>
          <a:p>
            <a:pPr>
              <a:spcBef>
                <a:spcPct val="50000"/>
              </a:spcBef>
              <a:buClr>
                <a:schemeClr val="accent1"/>
              </a:buClr>
              <a:defRPr/>
            </a:pPr>
            <a:endParaRPr lang="en-US">
              <a:solidFill>
                <a:schemeClr val="tx1"/>
              </a:solidFill>
              <a:latin typeface="+mj-lt"/>
            </a:endParaRPr>
          </a:p>
        </p:txBody>
      </p:sp>
      <p:grpSp>
        <p:nvGrpSpPr>
          <p:cNvPr id="39" name="Group 21">
            <a:extLst>
              <a:ext uri="{FF2B5EF4-FFF2-40B4-BE49-F238E27FC236}">
                <a16:creationId xmlns:a16="http://schemas.microsoft.com/office/drawing/2014/main" id="{E000E6F6-2F57-439E-9305-C984BBF09F7A}"/>
              </a:ext>
            </a:extLst>
          </p:cNvPr>
          <p:cNvGrpSpPr>
            <a:grpSpLocks/>
          </p:cNvGrpSpPr>
          <p:nvPr/>
        </p:nvGrpSpPr>
        <p:grpSpPr bwMode="auto">
          <a:xfrm>
            <a:off x="388111" y="3596292"/>
            <a:ext cx="1114425" cy="790575"/>
            <a:chOff x="113" y="1389"/>
            <a:chExt cx="908" cy="907"/>
          </a:xfrm>
        </p:grpSpPr>
        <p:sp>
          <p:nvSpPr>
            <p:cNvPr id="40" name="AutoShape 22" descr="60%">
              <a:extLst>
                <a:ext uri="{FF2B5EF4-FFF2-40B4-BE49-F238E27FC236}">
                  <a16:creationId xmlns:a16="http://schemas.microsoft.com/office/drawing/2014/main" id="{4E385CF9-2927-4EDF-A9BD-41F9D2CA8E27}"/>
                </a:ext>
              </a:extLst>
            </p:cNvPr>
            <p:cNvSpPr>
              <a:spLocks noChangeArrowheads="1"/>
            </p:cNvSpPr>
            <p:nvPr/>
          </p:nvSpPr>
          <p:spPr bwMode="auto">
            <a:xfrm>
              <a:off x="113" y="1389"/>
              <a:ext cx="908" cy="727"/>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pattFill prst="pct60">
              <a:fgClr>
                <a:schemeClr val="bg1"/>
              </a:fgClr>
              <a:bgClr>
                <a:srgbClr val="008000"/>
              </a:bgClr>
            </a:pattFill>
            <a:ln w="9525">
              <a:solidFill>
                <a:schemeClr val="tx1"/>
              </a:solidFill>
              <a:miter lim="800000"/>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41" name="AutoShape 23" descr="60%">
              <a:extLst>
                <a:ext uri="{FF2B5EF4-FFF2-40B4-BE49-F238E27FC236}">
                  <a16:creationId xmlns:a16="http://schemas.microsoft.com/office/drawing/2014/main" id="{966DD286-14B3-4B5A-B6C4-8717B96C9367}"/>
                </a:ext>
              </a:extLst>
            </p:cNvPr>
            <p:cNvSpPr>
              <a:spLocks noChangeArrowheads="1"/>
            </p:cNvSpPr>
            <p:nvPr/>
          </p:nvSpPr>
          <p:spPr bwMode="auto">
            <a:xfrm rot="-10800000">
              <a:off x="341" y="2116"/>
              <a:ext cx="454" cy="180"/>
            </a:xfrm>
            <a:prstGeom prst="triangle">
              <a:avLst>
                <a:gd name="adj" fmla="val 50000"/>
              </a:avLst>
            </a:prstGeom>
            <a:pattFill prst="pct60">
              <a:fgClr>
                <a:schemeClr val="bg1"/>
              </a:fgClr>
              <a:bgClr>
                <a:srgbClr val="008000"/>
              </a:bgClr>
            </a:pattFill>
            <a:ln w="9525">
              <a:solidFill>
                <a:schemeClr val="tx1"/>
              </a:solidFill>
              <a:miter lim="800000"/>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grpSp>
      <p:sp>
        <p:nvSpPr>
          <p:cNvPr id="42" name="Rectangle 24">
            <a:extLst>
              <a:ext uri="{FF2B5EF4-FFF2-40B4-BE49-F238E27FC236}">
                <a16:creationId xmlns:a16="http://schemas.microsoft.com/office/drawing/2014/main" id="{54A1CBC2-3052-4DDE-AB39-134F22F8A708}"/>
              </a:ext>
            </a:extLst>
          </p:cNvPr>
          <p:cNvSpPr>
            <a:spLocks noChangeArrowheads="1"/>
          </p:cNvSpPr>
          <p:nvPr/>
        </p:nvSpPr>
        <p:spPr bwMode="auto">
          <a:xfrm>
            <a:off x="4507674" y="4604355"/>
            <a:ext cx="501650" cy="414337"/>
          </a:xfrm>
          <a:prstGeom prst="rect">
            <a:avLst/>
          </a:prstGeom>
          <a:solidFill>
            <a:schemeClr val="bg1"/>
          </a:solidFill>
          <a:ln w="9525">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43" name="Rectangle 25">
            <a:extLst>
              <a:ext uri="{FF2B5EF4-FFF2-40B4-BE49-F238E27FC236}">
                <a16:creationId xmlns:a16="http://schemas.microsoft.com/office/drawing/2014/main" id="{AF6D6671-3B59-49DE-9A27-C17B86861ACD}"/>
              </a:ext>
            </a:extLst>
          </p:cNvPr>
          <p:cNvSpPr>
            <a:spLocks noChangeArrowheads="1"/>
          </p:cNvSpPr>
          <p:nvPr/>
        </p:nvSpPr>
        <p:spPr bwMode="auto">
          <a:xfrm>
            <a:off x="4648961" y="5474305"/>
            <a:ext cx="974725" cy="149225"/>
          </a:xfrm>
          <a:prstGeom prst="rect">
            <a:avLst/>
          </a:prstGeom>
          <a:solidFill>
            <a:schemeClr val="bg1"/>
          </a:solidFill>
          <a:ln w="9525">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grpSp>
        <p:nvGrpSpPr>
          <p:cNvPr id="44" name="Group 26">
            <a:extLst>
              <a:ext uri="{FF2B5EF4-FFF2-40B4-BE49-F238E27FC236}">
                <a16:creationId xmlns:a16="http://schemas.microsoft.com/office/drawing/2014/main" id="{45AB1BF0-6B3D-4EC5-BB44-4569F10FBF6D}"/>
              </a:ext>
            </a:extLst>
          </p:cNvPr>
          <p:cNvGrpSpPr>
            <a:grpSpLocks/>
          </p:cNvGrpSpPr>
          <p:nvPr/>
        </p:nvGrpSpPr>
        <p:grpSpPr bwMode="auto">
          <a:xfrm>
            <a:off x="5909436" y="6117242"/>
            <a:ext cx="109538" cy="98425"/>
            <a:chOff x="2472" y="3521"/>
            <a:chExt cx="90" cy="91"/>
          </a:xfrm>
        </p:grpSpPr>
        <p:sp>
          <p:nvSpPr>
            <p:cNvPr id="45" name="Oval 27">
              <a:extLst>
                <a:ext uri="{FF2B5EF4-FFF2-40B4-BE49-F238E27FC236}">
                  <a16:creationId xmlns:a16="http://schemas.microsoft.com/office/drawing/2014/main" id="{B80E41B1-0043-4576-AA88-212D40B1F36A}"/>
                </a:ext>
              </a:extLst>
            </p:cNvPr>
            <p:cNvSpPr>
              <a:spLocks noChangeArrowheads="1"/>
            </p:cNvSpPr>
            <p:nvPr/>
          </p:nvSpPr>
          <p:spPr bwMode="auto">
            <a:xfrm>
              <a:off x="2472" y="3521"/>
              <a:ext cx="90" cy="91"/>
            </a:xfrm>
            <a:prstGeom prst="ellipse">
              <a:avLst/>
            </a:prstGeom>
            <a:solidFill>
              <a:srgbClr val="008000"/>
            </a:solidFill>
            <a:ln w="9525">
              <a:solidFill>
                <a:schemeClr val="tx1"/>
              </a:solidFill>
              <a:round/>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46" name="Line 28">
              <a:extLst>
                <a:ext uri="{FF2B5EF4-FFF2-40B4-BE49-F238E27FC236}">
                  <a16:creationId xmlns:a16="http://schemas.microsoft.com/office/drawing/2014/main" id="{C7A5B00E-762A-48FC-9DF1-EA94EA8BDE50}"/>
                </a:ext>
              </a:extLst>
            </p:cNvPr>
            <p:cNvSpPr>
              <a:spLocks noChangeShapeType="1"/>
            </p:cNvSpPr>
            <p:nvPr/>
          </p:nvSpPr>
          <p:spPr bwMode="auto">
            <a:xfrm>
              <a:off x="2518" y="3521"/>
              <a:ext cx="0" cy="91"/>
            </a:xfrm>
            <a:prstGeom prst="line">
              <a:avLst/>
            </a:pr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grpSp>
      <p:grpSp>
        <p:nvGrpSpPr>
          <p:cNvPr id="47" name="Group 29">
            <a:extLst>
              <a:ext uri="{FF2B5EF4-FFF2-40B4-BE49-F238E27FC236}">
                <a16:creationId xmlns:a16="http://schemas.microsoft.com/office/drawing/2014/main" id="{B68641AC-B497-4D45-A16F-C7B125F4CBB6}"/>
              </a:ext>
            </a:extLst>
          </p:cNvPr>
          <p:cNvGrpSpPr>
            <a:grpSpLocks/>
          </p:cNvGrpSpPr>
          <p:nvPr/>
        </p:nvGrpSpPr>
        <p:grpSpPr bwMode="auto">
          <a:xfrm>
            <a:off x="5806249" y="5920392"/>
            <a:ext cx="109537" cy="100013"/>
            <a:chOff x="2472" y="3521"/>
            <a:chExt cx="90" cy="91"/>
          </a:xfrm>
        </p:grpSpPr>
        <p:sp>
          <p:nvSpPr>
            <p:cNvPr id="48" name="Oval 30">
              <a:extLst>
                <a:ext uri="{FF2B5EF4-FFF2-40B4-BE49-F238E27FC236}">
                  <a16:creationId xmlns:a16="http://schemas.microsoft.com/office/drawing/2014/main" id="{6A160C07-9CC0-419D-9A74-DC3906BED338}"/>
                </a:ext>
              </a:extLst>
            </p:cNvPr>
            <p:cNvSpPr>
              <a:spLocks noChangeArrowheads="1"/>
            </p:cNvSpPr>
            <p:nvPr/>
          </p:nvSpPr>
          <p:spPr bwMode="auto">
            <a:xfrm>
              <a:off x="2472" y="3521"/>
              <a:ext cx="90" cy="91"/>
            </a:xfrm>
            <a:prstGeom prst="ellipse">
              <a:avLst/>
            </a:prstGeom>
            <a:solidFill>
              <a:srgbClr val="008000"/>
            </a:solidFill>
            <a:ln w="9525">
              <a:solidFill>
                <a:schemeClr val="tx1"/>
              </a:solidFill>
              <a:round/>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49" name="Line 31">
              <a:extLst>
                <a:ext uri="{FF2B5EF4-FFF2-40B4-BE49-F238E27FC236}">
                  <a16:creationId xmlns:a16="http://schemas.microsoft.com/office/drawing/2014/main" id="{EC9DCAC0-CB16-4A2F-8905-95818EED332A}"/>
                </a:ext>
              </a:extLst>
            </p:cNvPr>
            <p:cNvSpPr>
              <a:spLocks noChangeShapeType="1"/>
            </p:cNvSpPr>
            <p:nvPr/>
          </p:nvSpPr>
          <p:spPr bwMode="auto">
            <a:xfrm>
              <a:off x="2518" y="3521"/>
              <a:ext cx="0" cy="91"/>
            </a:xfrm>
            <a:prstGeom prst="line">
              <a:avLst/>
            </a:pr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grpSp>
      <p:grpSp>
        <p:nvGrpSpPr>
          <p:cNvPr id="50" name="Group 32">
            <a:extLst>
              <a:ext uri="{FF2B5EF4-FFF2-40B4-BE49-F238E27FC236}">
                <a16:creationId xmlns:a16="http://schemas.microsoft.com/office/drawing/2014/main" id="{6AF5A993-147E-4759-94D7-865E8AACFF8E}"/>
              </a:ext>
            </a:extLst>
          </p:cNvPr>
          <p:cNvGrpSpPr>
            <a:grpSpLocks/>
          </p:cNvGrpSpPr>
          <p:nvPr/>
        </p:nvGrpSpPr>
        <p:grpSpPr bwMode="auto">
          <a:xfrm>
            <a:off x="5972936" y="5821967"/>
            <a:ext cx="109538" cy="98425"/>
            <a:chOff x="2472" y="3521"/>
            <a:chExt cx="90" cy="91"/>
          </a:xfrm>
        </p:grpSpPr>
        <p:sp>
          <p:nvSpPr>
            <p:cNvPr id="51" name="Oval 33">
              <a:extLst>
                <a:ext uri="{FF2B5EF4-FFF2-40B4-BE49-F238E27FC236}">
                  <a16:creationId xmlns:a16="http://schemas.microsoft.com/office/drawing/2014/main" id="{C089B39B-8EC3-46EA-BE88-4350058AA539}"/>
                </a:ext>
              </a:extLst>
            </p:cNvPr>
            <p:cNvSpPr>
              <a:spLocks noChangeArrowheads="1"/>
            </p:cNvSpPr>
            <p:nvPr/>
          </p:nvSpPr>
          <p:spPr bwMode="auto">
            <a:xfrm>
              <a:off x="2472" y="3521"/>
              <a:ext cx="90" cy="91"/>
            </a:xfrm>
            <a:prstGeom prst="ellipse">
              <a:avLst/>
            </a:prstGeom>
            <a:solidFill>
              <a:srgbClr val="008000"/>
            </a:solidFill>
            <a:ln w="9525">
              <a:solidFill>
                <a:schemeClr val="tx1"/>
              </a:solidFill>
              <a:round/>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52" name="Line 34">
              <a:extLst>
                <a:ext uri="{FF2B5EF4-FFF2-40B4-BE49-F238E27FC236}">
                  <a16:creationId xmlns:a16="http://schemas.microsoft.com/office/drawing/2014/main" id="{D837A7D0-080E-49AA-B108-8C82442590FE}"/>
                </a:ext>
              </a:extLst>
            </p:cNvPr>
            <p:cNvSpPr>
              <a:spLocks noChangeShapeType="1"/>
            </p:cNvSpPr>
            <p:nvPr/>
          </p:nvSpPr>
          <p:spPr bwMode="auto">
            <a:xfrm>
              <a:off x="2518" y="3521"/>
              <a:ext cx="0" cy="91"/>
            </a:xfrm>
            <a:prstGeom prst="line">
              <a:avLst/>
            </a:pr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grpSp>
      <p:grpSp>
        <p:nvGrpSpPr>
          <p:cNvPr id="53" name="Group 35">
            <a:extLst>
              <a:ext uri="{FF2B5EF4-FFF2-40B4-BE49-F238E27FC236}">
                <a16:creationId xmlns:a16="http://schemas.microsoft.com/office/drawing/2014/main" id="{47F388C7-721F-443C-8B65-C7E04C3D5DB5}"/>
              </a:ext>
            </a:extLst>
          </p:cNvPr>
          <p:cNvGrpSpPr>
            <a:grpSpLocks/>
          </p:cNvGrpSpPr>
          <p:nvPr/>
        </p:nvGrpSpPr>
        <p:grpSpPr bwMode="auto">
          <a:xfrm>
            <a:off x="5807836" y="5621942"/>
            <a:ext cx="109538" cy="100013"/>
            <a:chOff x="2472" y="3521"/>
            <a:chExt cx="90" cy="91"/>
          </a:xfrm>
        </p:grpSpPr>
        <p:sp>
          <p:nvSpPr>
            <p:cNvPr id="54" name="Oval 36">
              <a:extLst>
                <a:ext uri="{FF2B5EF4-FFF2-40B4-BE49-F238E27FC236}">
                  <a16:creationId xmlns:a16="http://schemas.microsoft.com/office/drawing/2014/main" id="{8E42C950-2AA0-4542-B76E-DC1BD49D9C20}"/>
                </a:ext>
              </a:extLst>
            </p:cNvPr>
            <p:cNvSpPr>
              <a:spLocks noChangeArrowheads="1"/>
            </p:cNvSpPr>
            <p:nvPr/>
          </p:nvSpPr>
          <p:spPr bwMode="auto">
            <a:xfrm>
              <a:off x="2472" y="3521"/>
              <a:ext cx="90" cy="91"/>
            </a:xfrm>
            <a:prstGeom prst="ellipse">
              <a:avLst/>
            </a:prstGeom>
            <a:solidFill>
              <a:srgbClr val="008000"/>
            </a:solidFill>
            <a:ln w="9525">
              <a:solidFill>
                <a:schemeClr val="tx1"/>
              </a:solidFill>
              <a:round/>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55" name="Line 37">
              <a:extLst>
                <a:ext uri="{FF2B5EF4-FFF2-40B4-BE49-F238E27FC236}">
                  <a16:creationId xmlns:a16="http://schemas.microsoft.com/office/drawing/2014/main" id="{1F04CC44-0886-42E3-8509-457383C24454}"/>
                </a:ext>
              </a:extLst>
            </p:cNvPr>
            <p:cNvSpPr>
              <a:spLocks noChangeShapeType="1"/>
            </p:cNvSpPr>
            <p:nvPr/>
          </p:nvSpPr>
          <p:spPr bwMode="auto">
            <a:xfrm>
              <a:off x="2518" y="3521"/>
              <a:ext cx="0" cy="91"/>
            </a:xfrm>
            <a:prstGeom prst="line">
              <a:avLst/>
            </a:pr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grpSp>
      <p:grpSp>
        <p:nvGrpSpPr>
          <p:cNvPr id="56" name="Group 38">
            <a:extLst>
              <a:ext uri="{FF2B5EF4-FFF2-40B4-BE49-F238E27FC236}">
                <a16:creationId xmlns:a16="http://schemas.microsoft.com/office/drawing/2014/main" id="{536C63C2-A70D-4F73-BD29-BABDD577B801}"/>
              </a:ext>
            </a:extLst>
          </p:cNvPr>
          <p:cNvGrpSpPr>
            <a:grpSpLocks/>
          </p:cNvGrpSpPr>
          <p:nvPr/>
        </p:nvGrpSpPr>
        <p:grpSpPr bwMode="auto">
          <a:xfrm>
            <a:off x="5696711" y="6018817"/>
            <a:ext cx="111125" cy="98425"/>
            <a:chOff x="2472" y="3521"/>
            <a:chExt cx="90" cy="91"/>
          </a:xfrm>
        </p:grpSpPr>
        <p:sp>
          <p:nvSpPr>
            <p:cNvPr id="57" name="Oval 39">
              <a:extLst>
                <a:ext uri="{FF2B5EF4-FFF2-40B4-BE49-F238E27FC236}">
                  <a16:creationId xmlns:a16="http://schemas.microsoft.com/office/drawing/2014/main" id="{94DBD71D-EC9C-4A21-8750-C9A4F12F3302}"/>
                </a:ext>
              </a:extLst>
            </p:cNvPr>
            <p:cNvSpPr>
              <a:spLocks noChangeArrowheads="1"/>
            </p:cNvSpPr>
            <p:nvPr/>
          </p:nvSpPr>
          <p:spPr bwMode="auto">
            <a:xfrm>
              <a:off x="2472" y="3521"/>
              <a:ext cx="90" cy="91"/>
            </a:xfrm>
            <a:prstGeom prst="ellipse">
              <a:avLst/>
            </a:prstGeom>
            <a:solidFill>
              <a:srgbClr val="008000"/>
            </a:solidFill>
            <a:ln w="9525">
              <a:solidFill>
                <a:schemeClr val="tx1"/>
              </a:solidFill>
              <a:round/>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58" name="Line 40">
              <a:extLst>
                <a:ext uri="{FF2B5EF4-FFF2-40B4-BE49-F238E27FC236}">
                  <a16:creationId xmlns:a16="http://schemas.microsoft.com/office/drawing/2014/main" id="{0E3EC9BA-FE4E-470A-8FD8-6B62ED9AD32F}"/>
                </a:ext>
              </a:extLst>
            </p:cNvPr>
            <p:cNvSpPr>
              <a:spLocks noChangeShapeType="1"/>
            </p:cNvSpPr>
            <p:nvPr/>
          </p:nvSpPr>
          <p:spPr bwMode="auto">
            <a:xfrm>
              <a:off x="2517" y="3521"/>
              <a:ext cx="0" cy="91"/>
            </a:xfrm>
            <a:prstGeom prst="line">
              <a:avLst/>
            </a:pr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grpSp>
      <p:grpSp>
        <p:nvGrpSpPr>
          <p:cNvPr id="59" name="Group 41">
            <a:extLst>
              <a:ext uri="{FF2B5EF4-FFF2-40B4-BE49-F238E27FC236}">
                <a16:creationId xmlns:a16="http://schemas.microsoft.com/office/drawing/2014/main" id="{094DCDC4-2E5F-4EAF-BA28-C5ED67BB74ED}"/>
              </a:ext>
            </a:extLst>
          </p:cNvPr>
          <p:cNvGrpSpPr>
            <a:grpSpLocks/>
          </p:cNvGrpSpPr>
          <p:nvPr/>
        </p:nvGrpSpPr>
        <p:grpSpPr bwMode="auto">
          <a:xfrm>
            <a:off x="5750686" y="5771167"/>
            <a:ext cx="111125" cy="100013"/>
            <a:chOff x="2472" y="3521"/>
            <a:chExt cx="90" cy="91"/>
          </a:xfrm>
        </p:grpSpPr>
        <p:sp>
          <p:nvSpPr>
            <p:cNvPr id="60" name="Oval 42">
              <a:extLst>
                <a:ext uri="{FF2B5EF4-FFF2-40B4-BE49-F238E27FC236}">
                  <a16:creationId xmlns:a16="http://schemas.microsoft.com/office/drawing/2014/main" id="{984C6F73-0791-4C7C-A465-1EFED1ED36EE}"/>
                </a:ext>
              </a:extLst>
            </p:cNvPr>
            <p:cNvSpPr>
              <a:spLocks noChangeArrowheads="1"/>
            </p:cNvSpPr>
            <p:nvPr/>
          </p:nvSpPr>
          <p:spPr bwMode="auto">
            <a:xfrm>
              <a:off x="2472" y="3521"/>
              <a:ext cx="90" cy="91"/>
            </a:xfrm>
            <a:prstGeom prst="ellipse">
              <a:avLst/>
            </a:prstGeom>
            <a:solidFill>
              <a:srgbClr val="008000"/>
            </a:solidFill>
            <a:ln w="9525">
              <a:solidFill>
                <a:schemeClr val="tx1"/>
              </a:solidFill>
              <a:round/>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61" name="Line 43">
              <a:extLst>
                <a:ext uri="{FF2B5EF4-FFF2-40B4-BE49-F238E27FC236}">
                  <a16:creationId xmlns:a16="http://schemas.microsoft.com/office/drawing/2014/main" id="{87E74E67-93DF-480F-BE72-481A5C9D7900}"/>
                </a:ext>
              </a:extLst>
            </p:cNvPr>
            <p:cNvSpPr>
              <a:spLocks noChangeShapeType="1"/>
            </p:cNvSpPr>
            <p:nvPr/>
          </p:nvSpPr>
          <p:spPr bwMode="auto">
            <a:xfrm>
              <a:off x="2517" y="3521"/>
              <a:ext cx="0" cy="91"/>
            </a:xfrm>
            <a:prstGeom prst="line">
              <a:avLst/>
            </a:pr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grpSp>
      <p:sp>
        <p:nvSpPr>
          <p:cNvPr id="62" name="Rectangle 44" descr="20%">
            <a:extLst>
              <a:ext uri="{FF2B5EF4-FFF2-40B4-BE49-F238E27FC236}">
                <a16:creationId xmlns:a16="http://schemas.microsoft.com/office/drawing/2014/main" id="{D77C92D8-5CB9-43AF-BACD-725EB281112D}"/>
              </a:ext>
            </a:extLst>
          </p:cNvPr>
          <p:cNvSpPr>
            <a:spLocks noChangeArrowheads="1"/>
          </p:cNvSpPr>
          <p:nvPr/>
        </p:nvSpPr>
        <p:spPr bwMode="auto">
          <a:xfrm>
            <a:off x="864361" y="2773967"/>
            <a:ext cx="215900" cy="346075"/>
          </a:xfrm>
          <a:prstGeom prst="rect">
            <a:avLst/>
          </a:prstGeom>
          <a:pattFill prst="pct20">
            <a:fgClr>
              <a:srgbClr val="0066FF"/>
            </a:fgClr>
            <a:bgClr>
              <a:schemeClr val="bg1"/>
            </a:bgClr>
          </a:pattFill>
          <a:ln w="9525" algn="ctr">
            <a:no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63" name="Freeform 45">
            <a:extLst>
              <a:ext uri="{FF2B5EF4-FFF2-40B4-BE49-F238E27FC236}">
                <a16:creationId xmlns:a16="http://schemas.microsoft.com/office/drawing/2014/main" id="{14FAD402-F89F-49AD-B369-ED206D119120}"/>
              </a:ext>
            </a:extLst>
          </p:cNvPr>
          <p:cNvSpPr>
            <a:spLocks/>
          </p:cNvSpPr>
          <p:nvPr/>
        </p:nvSpPr>
        <p:spPr bwMode="auto">
          <a:xfrm>
            <a:off x="777049" y="2378680"/>
            <a:ext cx="390525" cy="741362"/>
          </a:xfrm>
          <a:custGeom>
            <a:avLst/>
            <a:gdLst/>
            <a:ahLst/>
            <a:cxnLst>
              <a:cxn ang="0">
                <a:pos x="0" y="0"/>
              </a:cxn>
              <a:cxn ang="0">
                <a:pos x="408" y="0"/>
              </a:cxn>
              <a:cxn ang="0">
                <a:pos x="317" y="499"/>
              </a:cxn>
              <a:cxn ang="0">
                <a:pos x="317" y="1225"/>
              </a:cxn>
              <a:cxn ang="0">
                <a:pos x="90" y="1225"/>
              </a:cxn>
              <a:cxn ang="0">
                <a:pos x="90" y="499"/>
              </a:cxn>
              <a:cxn ang="0">
                <a:pos x="0" y="0"/>
              </a:cxn>
            </a:cxnLst>
            <a:rect l="0" t="0" r="r" b="b"/>
            <a:pathLst>
              <a:path w="408" h="1225">
                <a:moveTo>
                  <a:pt x="0" y="0"/>
                </a:moveTo>
                <a:lnTo>
                  <a:pt x="408" y="0"/>
                </a:lnTo>
                <a:lnTo>
                  <a:pt x="317" y="499"/>
                </a:lnTo>
                <a:lnTo>
                  <a:pt x="317" y="1225"/>
                </a:lnTo>
                <a:lnTo>
                  <a:pt x="90" y="1225"/>
                </a:lnTo>
                <a:lnTo>
                  <a:pt x="90" y="499"/>
                </a:lnTo>
                <a:lnTo>
                  <a:pt x="0" y="0"/>
                </a:lnTo>
                <a:close/>
              </a:path>
            </a:pathLst>
          </a:cu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64" name="AutoShape 46" descr="Outlined diamond">
            <a:extLst>
              <a:ext uri="{FF2B5EF4-FFF2-40B4-BE49-F238E27FC236}">
                <a16:creationId xmlns:a16="http://schemas.microsoft.com/office/drawing/2014/main" id="{5E51A378-B361-4BC9-BC9A-D3F0B1760A44}"/>
              </a:ext>
            </a:extLst>
          </p:cNvPr>
          <p:cNvSpPr>
            <a:spLocks noChangeArrowheads="1"/>
          </p:cNvSpPr>
          <p:nvPr/>
        </p:nvSpPr>
        <p:spPr bwMode="auto">
          <a:xfrm>
            <a:off x="864361" y="2378680"/>
            <a:ext cx="215900" cy="34925"/>
          </a:xfrm>
          <a:custGeom>
            <a:avLst/>
            <a:gdLst>
              <a:gd name="T0" fmla="*/ 200537 w 21600"/>
              <a:gd name="T1" fmla="*/ 17463 h 21600"/>
              <a:gd name="T2" fmla="*/ 107950 w 21600"/>
              <a:gd name="T3" fmla="*/ 34925 h 21600"/>
              <a:gd name="T4" fmla="*/ 15363 w 21600"/>
              <a:gd name="T5" fmla="*/ 17463 h 21600"/>
              <a:gd name="T6" fmla="*/ 107950 w 21600"/>
              <a:gd name="T7" fmla="*/ 0 h 21600"/>
              <a:gd name="T8" fmla="*/ 0 60000 65536"/>
              <a:gd name="T9" fmla="*/ 0 60000 65536"/>
              <a:gd name="T10" fmla="*/ 0 60000 65536"/>
              <a:gd name="T11" fmla="*/ 0 60000 65536"/>
              <a:gd name="T12" fmla="*/ 3337 w 21600"/>
              <a:gd name="T13" fmla="*/ 3337 h 21600"/>
              <a:gd name="T14" fmla="*/ 18263 w 21600"/>
              <a:gd name="T15" fmla="*/ 18263 h 21600"/>
            </a:gdLst>
            <a:ahLst/>
            <a:cxnLst>
              <a:cxn ang="T8">
                <a:pos x="T0" y="T1"/>
              </a:cxn>
              <a:cxn ang="T9">
                <a:pos x="T2" y="T3"/>
              </a:cxn>
              <a:cxn ang="T10">
                <a:pos x="T4" y="T5"/>
              </a:cxn>
              <a:cxn ang="T11">
                <a:pos x="T6" y="T7"/>
              </a:cxn>
            </a:cxnLst>
            <a:rect l="T12" t="T13" r="T14" b="T15"/>
            <a:pathLst>
              <a:path w="21600" h="21600">
                <a:moveTo>
                  <a:pt x="0" y="0"/>
                </a:moveTo>
                <a:lnTo>
                  <a:pt x="3073" y="21600"/>
                </a:lnTo>
                <a:lnTo>
                  <a:pt x="18527" y="21600"/>
                </a:lnTo>
                <a:lnTo>
                  <a:pt x="21600" y="0"/>
                </a:lnTo>
                <a:close/>
              </a:path>
            </a:pathLst>
          </a:custGeom>
          <a:pattFill prst="openDmnd">
            <a:fgClr>
              <a:schemeClr val="tx1"/>
            </a:fgClr>
            <a:bgClr>
              <a:schemeClr val="bg1"/>
            </a:bgClr>
          </a:pattFill>
          <a:ln w="9525" algn="ctr">
            <a:solidFill>
              <a:schemeClr val="tx1"/>
            </a:solidFill>
            <a:miter lim="800000"/>
            <a:headEnd/>
            <a:tailEnd/>
          </a:ln>
        </p:spPr>
        <p:txBody>
          <a:bodyPr wrap="none" anchor="ctr"/>
          <a:lstStyle/>
          <a:p>
            <a:pPr>
              <a:defRPr/>
            </a:pPr>
            <a:endParaRPr lang="en-US">
              <a:solidFill>
                <a:schemeClr val="tx1"/>
              </a:solidFill>
              <a:latin typeface="+mj-lt"/>
            </a:endParaRPr>
          </a:p>
        </p:txBody>
      </p:sp>
      <p:sp>
        <p:nvSpPr>
          <p:cNvPr id="65" name="AutoShape 47" descr="Small checker board">
            <a:extLst>
              <a:ext uri="{FF2B5EF4-FFF2-40B4-BE49-F238E27FC236}">
                <a16:creationId xmlns:a16="http://schemas.microsoft.com/office/drawing/2014/main" id="{4100893E-300A-496E-8C2F-4E5EE402BFAD}"/>
              </a:ext>
            </a:extLst>
          </p:cNvPr>
          <p:cNvSpPr>
            <a:spLocks noChangeArrowheads="1"/>
          </p:cNvSpPr>
          <p:nvPr/>
        </p:nvSpPr>
        <p:spPr bwMode="auto">
          <a:xfrm flipV="1">
            <a:off x="842136" y="3121630"/>
            <a:ext cx="260350" cy="177800"/>
          </a:xfrm>
          <a:prstGeom prst="triangle">
            <a:avLst>
              <a:gd name="adj" fmla="val 50000"/>
            </a:avLst>
          </a:prstGeom>
          <a:pattFill prst="smCheck">
            <a:fgClr>
              <a:schemeClr val="tx1"/>
            </a:fgClr>
            <a:bgClr>
              <a:schemeClr val="bg1"/>
            </a:bgClr>
          </a:pattFill>
          <a:ln w="9525">
            <a:solidFill>
              <a:schemeClr val="tx1"/>
            </a:solidFill>
            <a:miter lim="800000"/>
            <a:headEnd/>
            <a:tailEnd/>
          </a:ln>
        </p:spPr>
        <p:txBody>
          <a:bodyPr rot="10800000" wrap="none" anchor="ctr"/>
          <a:lstStyle/>
          <a:p>
            <a:pPr>
              <a:spcBef>
                <a:spcPct val="50000"/>
              </a:spcBef>
              <a:buClr>
                <a:schemeClr val="accent1"/>
              </a:buClr>
              <a:defRPr/>
            </a:pPr>
            <a:endParaRPr lang="en-US">
              <a:solidFill>
                <a:schemeClr val="tx1"/>
              </a:solidFill>
              <a:latin typeface="+mj-lt"/>
            </a:endParaRPr>
          </a:p>
        </p:txBody>
      </p:sp>
      <p:sp>
        <p:nvSpPr>
          <p:cNvPr id="66" name="Rectangle 48">
            <a:extLst>
              <a:ext uri="{FF2B5EF4-FFF2-40B4-BE49-F238E27FC236}">
                <a16:creationId xmlns:a16="http://schemas.microsoft.com/office/drawing/2014/main" id="{CE52AAC0-1310-4608-8C9A-CFE1F3BA185F}"/>
              </a:ext>
            </a:extLst>
          </p:cNvPr>
          <p:cNvSpPr>
            <a:spLocks noChangeArrowheads="1"/>
          </p:cNvSpPr>
          <p:nvPr/>
        </p:nvSpPr>
        <p:spPr bwMode="auto">
          <a:xfrm>
            <a:off x="4702936" y="5474305"/>
            <a:ext cx="168275" cy="49212"/>
          </a:xfrm>
          <a:prstGeom prst="rect">
            <a:avLst/>
          </a:prstGeom>
          <a:solidFill>
            <a:srgbClr val="008000"/>
          </a:solidFill>
          <a:ln w="9525">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67" name="Rectangle 49">
            <a:extLst>
              <a:ext uri="{FF2B5EF4-FFF2-40B4-BE49-F238E27FC236}">
                <a16:creationId xmlns:a16="http://schemas.microsoft.com/office/drawing/2014/main" id="{FBB4C0A9-E5DA-4BB3-B17D-76F20E1256D6}"/>
              </a:ext>
            </a:extLst>
          </p:cNvPr>
          <p:cNvSpPr>
            <a:spLocks noChangeArrowheads="1"/>
          </p:cNvSpPr>
          <p:nvPr/>
        </p:nvSpPr>
        <p:spPr bwMode="auto">
          <a:xfrm>
            <a:off x="4925186" y="5474305"/>
            <a:ext cx="166688" cy="49212"/>
          </a:xfrm>
          <a:prstGeom prst="rect">
            <a:avLst/>
          </a:prstGeom>
          <a:solidFill>
            <a:srgbClr val="008000"/>
          </a:solidFill>
          <a:ln w="9525">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68" name="Rectangle 50">
            <a:extLst>
              <a:ext uri="{FF2B5EF4-FFF2-40B4-BE49-F238E27FC236}">
                <a16:creationId xmlns:a16="http://schemas.microsoft.com/office/drawing/2014/main" id="{0FA31C23-FF62-4FA2-8838-EF18EF3B3B84}"/>
              </a:ext>
            </a:extLst>
          </p:cNvPr>
          <p:cNvSpPr>
            <a:spLocks noChangeArrowheads="1"/>
          </p:cNvSpPr>
          <p:nvPr/>
        </p:nvSpPr>
        <p:spPr bwMode="auto">
          <a:xfrm>
            <a:off x="5149024" y="5474305"/>
            <a:ext cx="166687" cy="49212"/>
          </a:xfrm>
          <a:prstGeom prst="rect">
            <a:avLst/>
          </a:prstGeom>
          <a:solidFill>
            <a:srgbClr val="008000"/>
          </a:solidFill>
          <a:ln w="9525">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69" name="Rectangle 51">
            <a:extLst>
              <a:ext uri="{FF2B5EF4-FFF2-40B4-BE49-F238E27FC236}">
                <a16:creationId xmlns:a16="http://schemas.microsoft.com/office/drawing/2014/main" id="{EE2DCC3B-F5E3-43B5-8261-F5EA964A2BFE}"/>
              </a:ext>
            </a:extLst>
          </p:cNvPr>
          <p:cNvSpPr>
            <a:spLocks noChangeArrowheads="1"/>
          </p:cNvSpPr>
          <p:nvPr/>
        </p:nvSpPr>
        <p:spPr bwMode="auto">
          <a:xfrm>
            <a:off x="5371274" y="5474305"/>
            <a:ext cx="166687" cy="49212"/>
          </a:xfrm>
          <a:prstGeom prst="rect">
            <a:avLst/>
          </a:prstGeom>
          <a:solidFill>
            <a:srgbClr val="008000"/>
          </a:solidFill>
          <a:ln w="9525">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grpSp>
        <p:nvGrpSpPr>
          <p:cNvPr id="70" name="Group 52">
            <a:extLst>
              <a:ext uri="{FF2B5EF4-FFF2-40B4-BE49-F238E27FC236}">
                <a16:creationId xmlns:a16="http://schemas.microsoft.com/office/drawing/2014/main" id="{6BEEDE6A-9831-4B50-8A5F-616910B00F6A}"/>
              </a:ext>
            </a:extLst>
          </p:cNvPr>
          <p:cNvGrpSpPr>
            <a:grpSpLocks/>
          </p:cNvGrpSpPr>
          <p:nvPr/>
        </p:nvGrpSpPr>
        <p:grpSpPr bwMode="auto">
          <a:xfrm>
            <a:off x="862774" y="5475892"/>
            <a:ext cx="1112837" cy="196850"/>
            <a:chOff x="567" y="2840"/>
            <a:chExt cx="952" cy="227"/>
          </a:xfrm>
        </p:grpSpPr>
        <p:sp>
          <p:nvSpPr>
            <p:cNvPr id="71" name="Rectangle 53">
              <a:extLst>
                <a:ext uri="{FF2B5EF4-FFF2-40B4-BE49-F238E27FC236}">
                  <a16:creationId xmlns:a16="http://schemas.microsoft.com/office/drawing/2014/main" id="{5A3AAE04-110C-4F84-A457-EA7CF9065D38}"/>
                </a:ext>
              </a:extLst>
            </p:cNvPr>
            <p:cNvSpPr>
              <a:spLocks noChangeArrowheads="1"/>
            </p:cNvSpPr>
            <p:nvPr/>
          </p:nvSpPr>
          <p:spPr bwMode="auto">
            <a:xfrm>
              <a:off x="567" y="2840"/>
              <a:ext cx="952" cy="227"/>
            </a:xfrm>
            <a:prstGeom prst="rect">
              <a:avLst/>
            </a:prstGeom>
            <a:solidFill>
              <a:schemeClr val="bg1"/>
            </a:solidFill>
            <a:ln w="9525">
              <a:solidFill>
                <a:schemeClr val="tx1"/>
              </a:solidFill>
              <a:miter lim="800000"/>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72" name="AutoShape 54">
              <a:extLst>
                <a:ext uri="{FF2B5EF4-FFF2-40B4-BE49-F238E27FC236}">
                  <a16:creationId xmlns:a16="http://schemas.microsoft.com/office/drawing/2014/main" id="{4EB061BF-8FAE-4683-A8C9-43C7EC7C3932}"/>
                </a:ext>
              </a:extLst>
            </p:cNvPr>
            <p:cNvSpPr>
              <a:spLocks noChangeArrowheads="1"/>
            </p:cNvSpPr>
            <p:nvPr/>
          </p:nvSpPr>
          <p:spPr bwMode="auto">
            <a:xfrm>
              <a:off x="612" y="2840"/>
              <a:ext cx="136" cy="227"/>
            </a:xfrm>
            <a:prstGeom prst="parallelogram">
              <a:avLst>
                <a:gd name="adj" fmla="val 77940"/>
              </a:avLst>
            </a:prstGeom>
            <a:solidFill>
              <a:schemeClr val="bg1"/>
            </a:solidFill>
            <a:ln w="9525" algn="ctr">
              <a:solidFill>
                <a:schemeClr val="tx1"/>
              </a:solidFill>
              <a:miter lim="800000"/>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73" name="AutoShape 55">
              <a:extLst>
                <a:ext uri="{FF2B5EF4-FFF2-40B4-BE49-F238E27FC236}">
                  <a16:creationId xmlns:a16="http://schemas.microsoft.com/office/drawing/2014/main" id="{09777475-CA6F-4B9C-8710-EE83C12DF455}"/>
                </a:ext>
              </a:extLst>
            </p:cNvPr>
            <p:cNvSpPr>
              <a:spLocks noChangeArrowheads="1"/>
            </p:cNvSpPr>
            <p:nvPr/>
          </p:nvSpPr>
          <p:spPr bwMode="auto">
            <a:xfrm>
              <a:off x="748" y="2840"/>
              <a:ext cx="136" cy="227"/>
            </a:xfrm>
            <a:prstGeom prst="parallelogram">
              <a:avLst>
                <a:gd name="adj" fmla="val 77940"/>
              </a:avLst>
            </a:prstGeom>
            <a:solidFill>
              <a:schemeClr val="bg1"/>
            </a:solidFill>
            <a:ln w="9525" algn="ctr">
              <a:solidFill>
                <a:schemeClr val="tx1"/>
              </a:solidFill>
              <a:miter lim="800000"/>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74" name="AutoShape 56">
              <a:extLst>
                <a:ext uri="{FF2B5EF4-FFF2-40B4-BE49-F238E27FC236}">
                  <a16:creationId xmlns:a16="http://schemas.microsoft.com/office/drawing/2014/main" id="{56CA5B07-852C-41AC-9063-CA979A41C047}"/>
                </a:ext>
              </a:extLst>
            </p:cNvPr>
            <p:cNvSpPr>
              <a:spLocks noChangeArrowheads="1"/>
            </p:cNvSpPr>
            <p:nvPr/>
          </p:nvSpPr>
          <p:spPr bwMode="auto">
            <a:xfrm>
              <a:off x="883" y="2840"/>
              <a:ext cx="137" cy="227"/>
            </a:xfrm>
            <a:prstGeom prst="parallelogram">
              <a:avLst>
                <a:gd name="adj" fmla="val 77940"/>
              </a:avLst>
            </a:prstGeom>
            <a:solidFill>
              <a:schemeClr val="bg1"/>
            </a:solidFill>
            <a:ln w="9525" algn="ctr">
              <a:solidFill>
                <a:schemeClr val="tx1"/>
              </a:solidFill>
              <a:miter lim="800000"/>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75" name="AutoShape 57">
              <a:extLst>
                <a:ext uri="{FF2B5EF4-FFF2-40B4-BE49-F238E27FC236}">
                  <a16:creationId xmlns:a16="http://schemas.microsoft.com/office/drawing/2014/main" id="{3EFDB07C-134F-4CD0-9409-89920830C67B}"/>
                </a:ext>
              </a:extLst>
            </p:cNvPr>
            <p:cNvSpPr>
              <a:spLocks noChangeArrowheads="1"/>
            </p:cNvSpPr>
            <p:nvPr/>
          </p:nvSpPr>
          <p:spPr bwMode="auto">
            <a:xfrm>
              <a:off x="1021" y="2840"/>
              <a:ext cx="136" cy="227"/>
            </a:xfrm>
            <a:prstGeom prst="parallelogram">
              <a:avLst>
                <a:gd name="adj" fmla="val 77940"/>
              </a:avLst>
            </a:prstGeom>
            <a:solidFill>
              <a:schemeClr val="bg1"/>
            </a:solidFill>
            <a:ln w="9525" algn="ctr">
              <a:solidFill>
                <a:schemeClr val="tx1"/>
              </a:solidFill>
              <a:miter lim="800000"/>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76" name="AutoShape 58">
              <a:extLst>
                <a:ext uri="{FF2B5EF4-FFF2-40B4-BE49-F238E27FC236}">
                  <a16:creationId xmlns:a16="http://schemas.microsoft.com/office/drawing/2014/main" id="{727ADAB7-6941-4127-9EDB-F411846866E8}"/>
                </a:ext>
              </a:extLst>
            </p:cNvPr>
            <p:cNvSpPr>
              <a:spLocks noChangeArrowheads="1"/>
            </p:cNvSpPr>
            <p:nvPr/>
          </p:nvSpPr>
          <p:spPr bwMode="auto">
            <a:xfrm>
              <a:off x="1156" y="2840"/>
              <a:ext cx="136" cy="227"/>
            </a:xfrm>
            <a:prstGeom prst="parallelogram">
              <a:avLst>
                <a:gd name="adj" fmla="val 77940"/>
              </a:avLst>
            </a:prstGeom>
            <a:solidFill>
              <a:schemeClr val="bg1"/>
            </a:solidFill>
            <a:ln w="9525" algn="ctr">
              <a:solidFill>
                <a:schemeClr val="tx1"/>
              </a:solidFill>
              <a:miter lim="800000"/>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77" name="AutoShape 59">
              <a:extLst>
                <a:ext uri="{FF2B5EF4-FFF2-40B4-BE49-F238E27FC236}">
                  <a16:creationId xmlns:a16="http://schemas.microsoft.com/office/drawing/2014/main" id="{BE63BC1B-13BA-4295-AC5D-1BF16137B6DA}"/>
                </a:ext>
              </a:extLst>
            </p:cNvPr>
            <p:cNvSpPr>
              <a:spLocks noChangeArrowheads="1"/>
            </p:cNvSpPr>
            <p:nvPr/>
          </p:nvSpPr>
          <p:spPr bwMode="auto">
            <a:xfrm>
              <a:off x="1292" y="2840"/>
              <a:ext cx="136" cy="227"/>
            </a:xfrm>
            <a:prstGeom prst="parallelogram">
              <a:avLst>
                <a:gd name="adj" fmla="val 77940"/>
              </a:avLst>
            </a:prstGeom>
            <a:solidFill>
              <a:schemeClr val="bg1"/>
            </a:solidFill>
            <a:ln w="9525" algn="ctr">
              <a:solidFill>
                <a:schemeClr val="tx1"/>
              </a:solidFill>
              <a:miter lim="800000"/>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grpSp>
      <p:sp>
        <p:nvSpPr>
          <p:cNvPr id="78" name="Rectangle 60" descr="60%">
            <a:extLst>
              <a:ext uri="{FF2B5EF4-FFF2-40B4-BE49-F238E27FC236}">
                <a16:creationId xmlns:a16="http://schemas.microsoft.com/office/drawing/2014/main" id="{606F8633-1D38-45A8-854C-4BB61C291DF3}"/>
              </a:ext>
            </a:extLst>
          </p:cNvPr>
          <p:cNvSpPr>
            <a:spLocks noChangeArrowheads="1"/>
          </p:cNvSpPr>
          <p:nvPr/>
        </p:nvSpPr>
        <p:spPr bwMode="auto">
          <a:xfrm>
            <a:off x="1975611" y="5523517"/>
            <a:ext cx="222250" cy="49213"/>
          </a:xfrm>
          <a:prstGeom prst="rect">
            <a:avLst/>
          </a:prstGeom>
          <a:pattFill prst="pct60">
            <a:fgClr>
              <a:schemeClr val="bg1"/>
            </a:fgClr>
            <a:bgClr>
              <a:srgbClr val="008000"/>
            </a:bgClr>
          </a:pattFill>
          <a:ln w="9525" algn="ctr">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79" name="Rectangle 61" descr="60%">
            <a:extLst>
              <a:ext uri="{FF2B5EF4-FFF2-40B4-BE49-F238E27FC236}">
                <a16:creationId xmlns:a16="http://schemas.microsoft.com/office/drawing/2014/main" id="{42E16CF4-FC5A-4BB8-8573-CD1657ED4250}"/>
              </a:ext>
            </a:extLst>
          </p:cNvPr>
          <p:cNvSpPr>
            <a:spLocks noChangeArrowheads="1"/>
          </p:cNvSpPr>
          <p:nvPr/>
        </p:nvSpPr>
        <p:spPr bwMode="auto">
          <a:xfrm>
            <a:off x="2255011" y="3497867"/>
            <a:ext cx="779463" cy="49213"/>
          </a:xfrm>
          <a:prstGeom prst="rect">
            <a:avLst/>
          </a:prstGeom>
          <a:pattFill prst="pct60">
            <a:fgClr>
              <a:schemeClr val="bg1"/>
            </a:fgClr>
            <a:bgClr>
              <a:srgbClr val="008000"/>
            </a:bgClr>
          </a:pattFill>
          <a:ln w="9525" algn="ctr">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80" name="Rectangle 62" descr="60%">
            <a:extLst>
              <a:ext uri="{FF2B5EF4-FFF2-40B4-BE49-F238E27FC236}">
                <a16:creationId xmlns:a16="http://schemas.microsoft.com/office/drawing/2014/main" id="{EA8EEC9D-22C0-44A1-86D3-9A0070DB4DF3}"/>
              </a:ext>
            </a:extLst>
          </p:cNvPr>
          <p:cNvSpPr>
            <a:spLocks noChangeArrowheads="1"/>
          </p:cNvSpPr>
          <p:nvPr/>
        </p:nvSpPr>
        <p:spPr bwMode="auto">
          <a:xfrm>
            <a:off x="3090036" y="3547080"/>
            <a:ext cx="53975" cy="100012"/>
          </a:xfrm>
          <a:prstGeom prst="rect">
            <a:avLst/>
          </a:prstGeom>
          <a:pattFill prst="pct60">
            <a:fgClr>
              <a:schemeClr val="bg1"/>
            </a:fgClr>
            <a:bgClr>
              <a:srgbClr val="FF9900"/>
            </a:bgClr>
          </a:pattFill>
          <a:ln w="9525" algn="ctr">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81" name="Rectangle 63" descr="60%">
            <a:extLst>
              <a:ext uri="{FF2B5EF4-FFF2-40B4-BE49-F238E27FC236}">
                <a16:creationId xmlns:a16="http://schemas.microsoft.com/office/drawing/2014/main" id="{376EFAD1-9C1B-445E-A64B-8391EEDACD42}"/>
              </a:ext>
            </a:extLst>
          </p:cNvPr>
          <p:cNvSpPr>
            <a:spLocks noChangeArrowheads="1"/>
          </p:cNvSpPr>
          <p:nvPr/>
        </p:nvSpPr>
        <p:spPr bwMode="auto">
          <a:xfrm>
            <a:off x="3170999" y="5031392"/>
            <a:ext cx="976312" cy="47625"/>
          </a:xfrm>
          <a:prstGeom prst="rect">
            <a:avLst/>
          </a:prstGeom>
          <a:pattFill prst="pct60">
            <a:fgClr>
              <a:schemeClr val="bg1"/>
            </a:fgClr>
            <a:bgClr>
              <a:srgbClr val="008000"/>
            </a:bgClr>
          </a:pattFill>
          <a:ln w="9525" algn="ctr">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82" name="Rectangle 64" descr="60%">
            <a:extLst>
              <a:ext uri="{FF2B5EF4-FFF2-40B4-BE49-F238E27FC236}">
                <a16:creationId xmlns:a16="http://schemas.microsoft.com/office/drawing/2014/main" id="{990D97FE-73B7-4F81-B0D0-9AF54EB0BF19}"/>
              </a:ext>
            </a:extLst>
          </p:cNvPr>
          <p:cNvSpPr>
            <a:spLocks noChangeArrowheads="1"/>
          </p:cNvSpPr>
          <p:nvPr/>
        </p:nvSpPr>
        <p:spPr bwMode="auto">
          <a:xfrm>
            <a:off x="4193349" y="3647092"/>
            <a:ext cx="55562" cy="1431925"/>
          </a:xfrm>
          <a:prstGeom prst="rect">
            <a:avLst/>
          </a:prstGeom>
          <a:pattFill prst="pct60">
            <a:fgClr>
              <a:schemeClr val="bg1"/>
            </a:fgClr>
            <a:bgClr>
              <a:srgbClr val="008000"/>
            </a:bgClr>
          </a:pattFill>
          <a:ln w="9525" algn="ctr">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83" name="Rectangle 65" descr="60%">
            <a:extLst>
              <a:ext uri="{FF2B5EF4-FFF2-40B4-BE49-F238E27FC236}">
                <a16:creationId xmlns:a16="http://schemas.microsoft.com/office/drawing/2014/main" id="{5D3F92F5-F98F-4472-B852-30D7CDE9761D}"/>
              </a:ext>
            </a:extLst>
          </p:cNvPr>
          <p:cNvSpPr>
            <a:spLocks noChangeArrowheads="1"/>
          </p:cNvSpPr>
          <p:nvPr/>
        </p:nvSpPr>
        <p:spPr bwMode="auto">
          <a:xfrm>
            <a:off x="4193349" y="3596292"/>
            <a:ext cx="455612" cy="50800"/>
          </a:xfrm>
          <a:prstGeom prst="rect">
            <a:avLst/>
          </a:prstGeom>
          <a:pattFill prst="pct60">
            <a:fgClr>
              <a:schemeClr val="bg1"/>
            </a:fgClr>
            <a:bgClr>
              <a:srgbClr val="008000"/>
            </a:bgClr>
          </a:pattFill>
          <a:ln w="9525" algn="ctr">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84" name="Rectangle 66" descr="60%">
            <a:extLst>
              <a:ext uri="{FF2B5EF4-FFF2-40B4-BE49-F238E27FC236}">
                <a16:creationId xmlns:a16="http://schemas.microsoft.com/office/drawing/2014/main" id="{8D7906AB-1DF1-49B9-B3BD-30AAC13C916B}"/>
              </a:ext>
            </a:extLst>
          </p:cNvPr>
          <p:cNvSpPr>
            <a:spLocks noChangeArrowheads="1"/>
          </p:cNvSpPr>
          <p:nvPr/>
        </p:nvSpPr>
        <p:spPr bwMode="auto">
          <a:xfrm>
            <a:off x="4733099" y="4732942"/>
            <a:ext cx="53975" cy="692150"/>
          </a:xfrm>
          <a:prstGeom prst="rect">
            <a:avLst/>
          </a:prstGeom>
          <a:pattFill prst="pct60">
            <a:fgClr>
              <a:schemeClr val="bg1"/>
            </a:fgClr>
            <a:bgClr>
              <a:srgbClr val="008000"/>
            </a:bgClr>
          </a:pattFill>
          <a:ln w="9525" algn="ctr">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85" name="Text Box 67">
            <a:extLst>
              <a:ext uri="{FF2B5EF4-FFF2-40B4-BE49-F238E27FC236}">
                <a16:creationId xmlns:a16="http://schemas.microsoft.com/office/drawing/2014/main" id="{E58F6C4A-BCBA-4482-8237-1B86B5A26FCA}"/>
              </a:ext>
            </a:extLst>
          </p:cNvPr>
          <p:cNvSpPr txBox="1">
            <a:spLocks noChangeArrowheads="1"/>
          </p:cNvSpPr>
          <p:nvPr/>
        </p:nvSpPr>
        <p:spPr bwMode="auto">
          <a:xfrm>
            <a:off x="1585086" y="2745392"/>
            <a:ext cx="492125" cy="277813"/>
          </a:xfrm>
          <a:prstGeom prst="rect">
            <a:avLst/>
          </a:prstGeom>
          <a:noFill/>
          <a:ln w="9525">
            <a:noFill/>
            <a:miter lim="800000"/>
            <a:headEnd/>
            <a:tailEnd/>
          </a:ln>
        </p:spPr>
        <p:txBody>
          <a:bodyPr wrap="none">
            <a:spAutoFit/>
          </a:bodyPr>
          <a:lstStyle/>
          <a:p>
            <a:r>
              <a:rPr lang="zh-CN" altLang="en-US" sz="1200" b="1">
                <a:solidFill>
                  <a:schemeClr val="tx1"/>
                </a:solidFill>
              </a:rPr>
              <a:t>原料</a:t>
            </a:r>
            <a:endParaRPr lang="en-US" sz="1200" b="1">
              <a:solidFill>
                <a:schemeClr val="tx1"/>
              </a:solidFill>
            </a:endParaRPr>
          </a:p>
        </p:txBody>
      </p:sp>
      <p:sp>
        <p:nvSpPr>
          <p:cNvPr id="86" name="Text Box 68">
            <a:extLst>
              <a:ext uri="{FF2B5EF4-FFF2-40B4-BE49-F238E27FC236}">
                <a16:creationId xmlns:a16="http://schemas.microsoft.com/office/drawing/2014/main" id="{2DE01A28-6F29-4C02-B7A9-9C12502B2BF4}"/>
              </a:ext>
            </a:extLst>
          </p:cNvPr>
          <p:cNvSpPr txBox="1">
            <a:spLocks noChangeArrowheads="1"/>
          </p:cNvSpPr>
          <p:nvPr/>
        </p:nvSpPr>
        <p:spPr bwMode="auto">
          <a:xfrm>
            <a:off x="2353436" y="4934555"/>
            <a:ext cx="492125" cy="277812"/>
          </a:xfrm>
          <a:prstGeom prst="rect">
            <a:avLst/>
          </a:prstGeom>
          <a:noFill/>
          <a:ln w="9525">
            <a:noFill/>
            <a:miter lim="800000"/>
            <a:headEnd/>
            <a:tailEnd/>
          </a:ln>
        </p:spPr>
        <p:txBody>
          <a:bodyPr wrap="none">
            <a:spAutoFit/>
          </a:bodyPr>
          <a:lstStyle/>
          <a:p>
            <a:r>
              <a:rPr lang="zh-CN" altLang="en-US" sz="1200" b="1">
                <a:solidFill>
                  <a:schemeClr val="tx1"/>
                </a:solidFill>
              </a:rPr>
              <a:t>干燥</a:t>
            </a:r>
            <a:endParaRPr lang="en-US" sz="1200" b="1">
              <a:solidFill>
                <a:schemeClr val="tx1"/>
              </a:solidFill>
            </a:endParaRPr>
          </a:p>
        </p:txBody>
      </p:sp>
      <p:sp>
        <p:nvSpPr>
          <p:cNvPr id="87" name="Text Box 69">
            <a:extLst>
              <a:ext uri="{FF2B5EF4-FFF2-40B4-BE49-F238E27FC236}">
                <a16:creationId xmlns:a16="http://schemas.microsoft.com/office/drawing/2014/main" id="{6F28A94B-2344-4000-9D8B-8E7632C8FEFF}"/>
              </a:ext>
            </a:extLst>
          </p:cNvPr>
          <p:cNvSpPr txBox="1">
            <a:spLocks noChangeArrowheads="1"/>
          </p:cNvSpPr>
          <p:nvPr/>
        </p:nvSpPr>
        <p:spPr bwMode="auto">
          <a:xfrm>
            <a:off x="186499" y="5621942"/>
            <a:ext cx="1179512" cy="274638"/>
          </a:xfrm>
          <a:prstGeom prst="rect">
            <a:avLst/>
          </a:prstGeom>
          <a:noFill/>
          <a:ln w="9525">
            <a:noFill/>
            <a:miter lim="800000"/>
            <a:headEnd/>
            <a:tailEnd/>
          </a:ln>
        </p:spPr>
        <p:txBody>
          <a:bodyPr>
            <a:spAutoFit/>
          </a:bodyPr>
          <a:lstStyle/>
          <a:p>
            <a:pPr>
              <a:defRPr/>
            </a:pPr>
            <a:r>
              <a:rPr lang="en-US" sz="1200">
                <a:solidFill>
                  <a:schemeClr val="tx1"/>
                </a:solidFill>
                <a:latin typeface="+mj-lt"/>
              </a:rPr>
              <a:t>Granulator</a:t>
            </a:r>
          </a:p>
        </p:txBody>
      </p:sp>
      <p:sp>
        <p:nvSpPr>
          <p:cNvPr id="88" name="Text Box 70">
            <a:extLst>
              <a:ext uri="{FF2B5EF4-FFF2-40B4-BE49-F238E27FC236}">
                <a16:creationId xmlns:a16="http://schemas.microsoft.com/office/drawing/2014/main" id="{6749FAB8-1E7F-4F9D-BC85-AA503AB15FE7}"/>
              </a:ext>
            </a:extLst>
          </p:cNvPr>
          <p:cNvSpPr txBox="1">
            <a:spLocks noChangeArrowheads="1"/>
          </p:cNvSpPr>
          <p:nvPr/>
        </p:nvSpPr>
        <p:spPr bwMode="auto">
          <a:xfrm>
            <a:off x="4506086" y="5569555"/>
            <a:ext cx="646113" cy="277812"/>
          </a:xfrm>
          <a:prstGeom prst="rect">
            <a:avLst/>
          </a:prstGeom>
          <a:noFill/>
          <a:ln w="9525">
            <a:noFill/>
            <a:miter lim="800000"/>
            <a:headEnd/>
            <a:tailEnd/>
          </a:ln>
        </p:spPr>
        <p:txBody>
          <a:bodyPr wrap="none">
            <a:spAutoFit/>
          </a:bodyPr>
          <a:lstStyle/>
          <a:p>
            <a:r>
              <a:rPr lang="zh-CN" altLang="en-US" sz="1200" b="1">
                <a:solidFill>
                  <a:schemeClr val="tx1"/>
                </a:solidFill>
              </a:rPr>
              <a:t>压片机</a:t>
            </a:r>
            <a:endParaRPr lang="en-US" sz="1200" b="1">
              <a:solidFill>
                <a:schemeClr val="tx1"/>
              </a:solidFill>
            </a:endParaRPr>
          </a:p>
        </p:txBody>
      </p:sp>
      <p:sp>
        <p:nvSpPr>
          <p:cNvPr id="89" name="Text Box 71">
            <a:extLst>
              <a:ext uri="{FF2B5EF4-FFF2-40B4-BE49-F238E27FC236}">
                <a16:creationId xmlns:a16="http://schemas.microsoft.com/office/drawing/2014/main" id="{0874AD15-20CD-41DF-AD34-E54D1E3B59E7}"/>
              </a:ext>
            </a:extLst>
          </p:cNvPr>
          <p:cNvSpPr txBox="1">
            <a:spLocks noChangeArrowheads="1"/>
          </p:cNvSpPr>
          <p:nvPr/>
        </p:nvSpPr>
        <p:spPr bwMode="auto">
          <a:xfrm>
            <a:off x="-172276" y="4934555"/>
            <a:ext cx="1177925" cy="277812"/>
          </a:xfrm>
          <a:prstGeom prst="rect">
            <a:avLst/>
          </a:prstGeom>
          <a:noFill/>
          <a:ln w="9525">
            <a:noFill/>
            <a:miter lim="800000"/>
            <a:headEnd/>
            <a:tailEnd/>
          </a:ln>
        </p:spPr>
        <p:txBody>
          <a:bodyPr>
            <a:spAutoFit/>
          </a:bodyPr>
          <a:lstStyle/>
          <a:p>
            <a:pPr algn="ctr"/>
            <a:r>
              <a:rPr lang="zh-CN" altLang="en-US" sz="1200" b="1">
                <a:solidFill>
                  <a:schemeClr val="tx1"/>
                </a:solidFill>
              </a:rPr>
              <a:t>混合搅拌</a:t>
            </a:r>
            <a:endParaRPr lang="en-US" sz="1200" b="1">
              <a:solidFill>
                <a:schemeClr val="tx1"/>
              </a:solidFill>
            </a:endParaRPr>
          </a:p>
        </p:txBody>
      </p:sp>
      <p:sp>
        <p:nvSpPr>
          <p:cNvPr id="90" name="Oval 72">
            <a:extLst>
              <a:ext uri="{FF2B5EF4-FFF2-40B4-BE49-F238E27FC236}">
                <a16:creationId xmlns:a16="http://schemas.microsoft.com/office/drawing/2014/main" id="{29B19CF9-DC16-44F3-AB8F-E2486AD1EF46}"/>
              </a:ext>
            </a:extLst>
          </p:cNvPr>
          <p:cNvSpPr>
            <a:spLocks noChangeArrowheads="1"/>
          </p:cNvSpPr>
          <p:nvPr/>
        </p:nvSpPr>
        <p:spPr bwMode="auto">
          <a:xfrm>
            <a:off x="4756911" y="4299555"/>
            <a:ext cx="53975" cy="49212"/>
          </a:xfrm>
          <a:prstGeom prst="ellipse">
            <a:avLst/>
          </a:prstGeom>
          <a:solidFill>
            <a:srgbClr val="000066"/>
          </a:solidFill>
          <a:ln w="9525">
            <a:solidFill>
              <a:schemeClr val="tx1"/>
            </a:solidFill>
            <a:round/>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91" name="Oval 73">
            <a:extLst>
              <a:ext uri="{FF2B5EF4-FFF2-40B4-BE49-F238E27FC236}">
                <a16:creationId xmlns:a16="http://schemas.microsoft.com/office/drawing/2014/main" id="{34221B68-C9D2-4FC0-88A8-6D94B235323D}"/>
              </a:ext>
            </a:extLst>
          </p:cNvPr>
          <p:cNvSpPr>
            <a:spLocks noChangeArrowheads="1"/>
          </p:cNvSpPr>
          <p:nvPr/>
        </p:nvSpPr>
        <p:spPr bwMode="auto">
          <a:xfrm>
            <a:off x="2867786" y="4142392"/>
            <a:ext cx="53975" cy="49213"/>
          </a:xfrm>
          <a:prstGeom prst="ellipse">
            <a:avLst/>
          </a:prstGeom>
          <a:solidFill>
            <a:srgbClr val="000066"/>
          </a:solidFill>
          <a:ln w="9525">
            <a:solidFill>
              <a:schemeClr val="tx1"/>
            </a:solidFill>
            <a:round/>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92" name="Oval 74">
            <a:extLst>
              <a:ext uri="{FF2B5EF4-FFF2-40B4-BE49-F238E27FC236}">
                <a16:creationId xmlns:a16="http://schemas.microsoft.com/office/drawing/2014/main" id="{F9D03826-D7F7-4BA0-A2A8-2DE9503A6F55}"/>
              </a:ext>
            </a:extLst>
          </p:cNvPr>
          <p:cNvSpPr>
            <a:spLocks noChangeArrowheads="1"/>
          </p:cNvSpPr>
          <p:nvPr/>
        </p:nvSpPr>
        <p:spPr bwMode="auto">
          <a:xfrm>
            <a:off x="929449" y="5029805"/>
            <a:ext cx="53975" cy="49212"/>
          </a:xfrm>
          <a:prstGeom prst="ellipse">
            <a:avLst/>
          </a:prstGeom>
          <a:solidFill>
            <a:srgbClr val="000066"/>
          </a:solidFill>
          <a:ln w="9525">
            <a:solidFill>
              <a:schemeClr val="tx1"/>
            </a:solidFill>
            <a:round/>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93" name="Text Box 75">
            <a:extLst>
              <a:ext uri="{FF2B5EF4-FFF2-40B4-BE49-F238E27FC236}">
                <a16:creationId xmlns:a16="http://schemas.microsoft.com/office/drawing/2014/main" id="{82CFFCB9-C0E8-43DC-A138-A4811725B6EC}"/>
              </a:ext>
            </a:extLst>
          </p:cNvPr>
          <p:cNvSpPr txBox="1">
            <a:spLocks noChangeArrowheads="1"/>
          </p:cNvSpPr>
          <p:nvPr/>
        </p:nvSpPr>
        <p:spPr bwMode="auto">
          <a:xfrm>
            <a:off x="4796599" y="3337530"/>
            <a:ext cx="1177925" cy="244475"/>
          </a:xfrm>
          <a:prstGeom prst="rect">
            <a:avLst/>
          </a:prstGeom>
          <a:noFill/>
          <a:ln w="9525">
            <a:noFill/>
            <a:miter lim="800000"/>
            <a:headEnd/>
            <a:tailEnd/>
          </a:ln>
        </p:spPr>
        <p:txBody>
          <a:bodyPr>
            <a:spAutoFit/>
          </a:bodyPr>
          <a:lstStyle/>
          <a:p>
            <a:pPr>
              <a:defRPr/>
            </a:pPr>
            <a:r>
              <a:rPr lang="en-US" sz="1000">
                <a:solidFill>
                  <a:schemeClr val="tx1"/>
                </a:solidFill>
                <a:latin typeface="+mj-lt"/>
              </a:rPr>
              <a:t>Mill</a:t>
            </a:r>
          </a:p>
        </p:txBody>
      </p:sp>
      <p:sp>
        <p:nvSpPr>
          <p:cNvPr id="94" name="Freeform 77" descr="60%">
            <a:extLst>
              <a:ext uri="{FF2B5EF4-FFF2-40B4-BE49-F238E27FC236}">
                <a16:creationId xmlns:a16="http://schemas.microsoft.com/office/drawing/2014/main" id="{75CA49C1-0D3F-4C1F-8DB5-79580643B963}"/>
              </a:ext>
            </a:extLst>
          </p:cNvPr>
          <p:cNvSpPr>
            <a:spLocks/>
          </p:cNvSpPr>
          <p:nvPr/>
        </p:nvSpPr>
        <p:spPr bwMode="auto">
          <a:xfrm>
            <a:off x="2031174" y="5425092"/>
            <a:ext cx="166687" cy="147638"/>
          </a:xfrm>
          <a:custGeom>
            <a:avLst/>
            <a:gdLst/>
            <a:ahLst/>
            <a:cxnLst>
              <a:cxn ang="0">
                <a:pos x="0" y="136"/>
              </a:cxn>
              <a:cxn ang="0">
                <a:pos x="136" y="136"/>
              </a:cxn>
              <a:cxn ang="0">
                <a:pos x="136" y="0"/>
              </a:cxn>
              <a:cxn ang="0">
                <a:pos x="91" y="0"/>
              </a:cxn>
              <a:cxn ang="0">
                <a:pos x="91" y="90"/>
              </a:cxn>
              <a:cxn ang="0">
                <a:pos x="0" y="90"/>
              </a:cxn>
              <a:cxn ang="0">
                <a:pos x="0" y="136"/>
              </a:cxn>
            </a:cxnLst>
            <a:rect l="0" t="0" r="r" b="b"/>
            <a:pathLst>
              <a:path w="136" h="136">
                <a:moveTo>
                  <a:pt x="0" y="136"/>
                </a:moveTo>
                <a:lnTo>
                  <a:pt x="136" y="136"/>
                </a:lnTo>
                <a:lnTo>
                  <a:pt x="136" y="0"/>
                </a:lnTo>
                <a:lnTo>
                  <a:pt x="91" y="0"/>
                </a:lnTo>
                <a:lnTo>
                  <a:pt x="91" y="90"/>
                </a:lnTo>
                <a:lnTo>
                  <a:pt x="0" y="90"/>
                </a:lnTo>
                <a:lnTo>
                  <a:pt x="0" y="136"/>
                </a:lnTo>
                <a:close/>
              </a:path>
            </a:pathLst>
          </a:custGeom>
          <a:pattFill prst="pct60">
            <a:fgClr>
              <a:schemeClr val="bg1"/>
            </a:fgClr>
            <a:bgClr>
              <a:srgbClr val="008000"/>
            </a:bgClr>
          </a:pattFill>
          <a:ln w="9525" cap="flat" cmpd="sng">
            <a:noFill/>
            <a:prstDash val="solid"/>
            <a:round/>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95" name="Freeform 78">
            <a:extLst>
              <a:ext uri="{FF2B5EF4-FFF2-40B4-BE49-F238E27FC236}">
                <a16:creationId xmlns:a16="http://schemas.microsoft.com/office/drawing/2014/main" id="{D6CAE584-B61E-4BB9-8215-7DE9C9A03D9C}"/>
              </a:ext>
            </a:extLst>
          </p:cNvPr>
          <p:cNvSpPr>
            <a:spLocks/>
          </p:cNvSpPr>
          <p:nvPr/>
        </p:nvSpPr>
        <p:spPr bwMode="auto">
          <a:xfrm>
            <a:off x="2031174" y="5425092"/>
            <a:ext cx="111125" cy="98425"/>
          </a:xfrm>
          <a:custGeom>
            <a:avLst/>
            <a:gdLst/>
            <a:ahLst/>
            <a:cxnLst>
              <a:cxn ang="0">
                <a:pos x="0" y="90"/>
              </a:cxn>
              <a:cxn ang="0">
                <a:pos x="91" y="90"/>
              </a:cxn>
              <a:cxn ang="0">
                <a:pos x="91" y="0"/>
              </a:cxn>
            </a:cxnLst>
            <a:rect l="0" t="0" r="r" b="b"/>
            <a:pathLst>
              <a:path w="91" h="90">
                <a:moveTo>
                  <a:pt x="0" y="90"/>
                </a:moveTo>
                <a:lnTo>
                  <a:pt x="91" y="90"/>
                </a:lnTo>
                <a:lnTo>
                  <a:pt x="91" y="0"/>
                </a:lnTo>
              </a:path>
            </a:pathLst>
          </a:cu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96" name="Freeform 79">
            <a:extLst>
              <a:ext uri="{FF2B5EF4-FFF2-40B4-BE49-F238E27FC236}">
                <a16:creationId xmlns:a16="http://schemas.microsoft.com/office/drawing/2014/main" id="{0ED54AA8-DB5F-4F8C-99BA-21F64AFD0CB6}"/>
              </a:ext>
            </a:extLst>
          </p:cNvPr>
          <p:cNvSpPr>
            <a:spLocks/>
          </p:cNvSpPr>
          <p:nvPr/>
        </p:nvSpPr>
        <p:spPr bwMode="auto">
          <a:xfrm>
            <a:off x="2031174" y="5375880"/>
            <a:ext cx="166687" cy="196850"/>
          </a:xfrm>
          <a:custGeom>
            <a:avLst/>
            <a:gdLst/>
            <a:ahLst/>
            <a:cxnLst>
              <a:cxn ang="0">
                <a:pos x="0" y="182"/>
              </a:cxn>
              <a:cxn ang="0">
                <a:pos x="136" y="182"/>
              </a:cxn>
              <a:cxn ang="0">
                <a:pos x="136" y="0"/>
              </a:cxn>
            </a:cxnLst>
            <a:rect l="0" t="0" r="r" b="b"/>
            <a:pathLst>
              <a:path w="136" h="182">
                <a:moveTo>
                  <a:pt x="0" y="182"/>
                </a:moveTo>
                <a:lnTo>
                  <a:pt x="136" y="182"/>
                </a:lnTo>
                <a:lnTo>
                  <a:pt x="136" y="0"/>
                </a:lnTo>
              </a:path>
            </a:pathLst>
          </a:cu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grpSp>
        <p:nvGrpSpPr>
          <p:cNvPr id="97" name="Group 80">
            <a:extLst>
              <a:ext uri="{FF2B5EF4-FFF2-40B4-BE49-F238E27FC236}">
                <a16:creationId xmlns:a16="http://schemas.microsoft.com/office/drawing/2014/main" id="{1C7810B0-0807-42D3-A88E-BF35ADBF6863}"/>
              </a:ext>
            </a:extLst>
          </p:cNvPr>
          <p:cNvGrpSpPr>
            <a:grpSpLocks/>
          </p:cNvGrpSpPr>
          <p:nvPr/>
        </p:nvGrpSpPr>
        <p:grpSpPr bwMode="auto">
          <a:xfrm flipH="1" flipV="1">
            <a:off x="2142299" y="3497867"/>
            <a:ext cx="166687" cy="198438"/>
            <a:chOff x="2154" y="3203"/>
            <a:chExt cx="136" cy="182"/>
          </a:xfrm>
        </p:grpSpPr>
        <p:sp>
          <p:nvSpPr>
            <p:cNvPr id="98" name="Freeform 81" descr="60%">
              <a:extLst>
                <a:ext uri="{FF2B5EF4-FFF2-40B4-BE49-F238E27FC236}">
                  <a16:creationId xmlns:a16="http://schemas.microsoft.com/office/drawing/2014/main" id="{E82285D4-3FE2-4A24-9E9C-F243C4DCB6B7}"/>
                </a:ext>
              </a:extLst>
            </p:cNvPr>
            <p:cNvSpPr>
              <a:spLocks/>
            </p:cNvSpPr>
            <p:nvPr/>
          </p:nvSpPr>
          <p:spPr bwMode="auto">
            <a:xfrm>
              <a:off x="2154" y="3250"/>
              <a:ext cx="136" cy="135"/>
            </a:xfrm>
            <a:custGeom>
              <a:avLst/>
              <a:gdLst/>
              <a:ahLst/>
              <a:cxnLst>
                <a:cxn ang="0">
                  <a:pos x="0" y="136"/>
                </a:cxn>
                <a:cxn ang="0">
                  <a:pos x="136" y="136"/>
                </a:cxn>
                <a:cxn ang="0">
                  <a:pos x="136" y="0"/>
                </a:cxn>
                <a:cxn ang="0">
                  <a:pos x="91" y="0"/>
                </a:cxn>
                <a:cxn ang="0">
                  <a:pos x="91" y="90"/>
                </a:cxn>
                <a:cxn ang="0">
                  <a:pos x="0" y="90"/>
                </a:cxn>
                <a:cxn ang="0">
                  <a:pos x="0" y="136"/>
                </a:cxn>
              </a:cxnLst>
              <a:rect l="0" t="0" r="r" b="b"/>
              <a:pathLst>
                <a:path w="136" h="136">
                  <a:moveTo>
                    <a:pt x="0" y="136"/>
                  </a:moveTo>
                  <a:lnTo>
                    <a:pt x="136" y="136"/>
                  </a:lnTo>
                  <a:lnTo>
                    <a:pt x="136" y="0"/>
                  </a:lnTo>
                  <a:lnTo>
                    <a:pt x="91" y="0"/>
                  </a:lnTo>
                  <a:lnTo>
                    <a:pt x="91" y="90"/>
                  </a:lnTo>
                  <a:lnTo>
                    <a:pt x="0" y="90"/>
                  </a:lnTo>
                  <a:lnTo>
                    <a:pt x="0" y="136"/>
                  </a:lnTo>
                  <a:close/>
                </a:path>
              </a:pathLst>
            </a:custGeom>
            <a:pattFill prst="pct60">
              <a:fgClr>
                <a:schemeClr val="bg1"/>
              </a:fgClr>
              <a:bgClr>
                <a:srgbClr val="008000"/>
              </a:bgClr>
            </a:pattFill>
            <a:ln w="9525" cap="flat" cmpd="sng">
              <a:noFill/>
              <a:prstDash val="solid"/>
              <a:round/>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99" name="Freeform 82">
              <a:extLst>
                <a:ext uri="{FF2B5EF4-FFF2-40B4-BE49-F238E27FC236}">
                  <a16:creationId xmlns:a16="http://schemas.microsoft.com/office/drawing/2014/main" id="{48685193-D92A-4BB7-A09B-B8AE83CAAC49}"/>
                </a:ext>
              </a:extLst>
            </p:cNvPr>
            <p:cNvSpPr>
              <a:spLocks/>
            </p:cNvSpPr>
            <p:nvPr/>
          </p:nvSpPr>
          <p:spPr bwMode="auto">
            <a:xfrm>
              <a:off x="2154" y="3250"/>
              <a:ext cx="91" cy="89"/>
            </a:xfrm>
            <a:custGeom>
              <a:avLst/>
              <a:gdLst/>
              <a:ahLst/>
              <a:cxnLst>
                <a:cxn ang="0">
                  <a:pos x="0" y="90"/>
                </a:cxn>
                <a:cxn ang="0">
                  <a:pos x="91" y="90"/>
                </a:cxn>
                <a:cxn ang="0">
                  <a:pos x="91" y="0"/>
                </a:cxn>
              </a:cxnLst>
              <a:rect l="0" t="0" r="r" b="b"/>
              <a:pathLst>
                <a:path w="91" h="90">
                  <a:moveTo>
                    <a:pt x="0" y="90"/>
                  </a:moveTo>
                  <a:lnTo>
                    <a:pt x="91" y="90"/>
                  </a:lnTo>
                  <a:lnTo>
                    <a:pt x="91" y="0"/>
                  </a:lnTo>
                </a:path>
              </a:pathLst>
            </a:cu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00" name="Freeform 83">
              <a:extLst>
                <a:ext uri="{FF2B5EF4-FFF2-40B4-BE49-F238E27FC236}">
                  <a16:creationId xmlns:a16="http://schemas.microsoft.com/office/drawing/2014/main" id="{6AF24908-751A-4BC1-BE16-C4AAAD58FC2E}"/>
                </a:ext>
              </a:extLst>
            </p:cNvPr>
            <p:cNvSpPr>
              <a:spLocks/>
            </p:cNvSpPr>
            <p:nvPr/>
          </p:nvSpPr>
          <p:spPr bwMode="auto">
            <a:xfrm>
              <a:off x="2154" y="3203"/>
              <a:ext cx="136" cy="182"/>
            </a:xfrm>
            <a:custGeom>
              <a:avLst/>
              <a:gdLst/>
              <a:ahLst/>
              <a:cxnLst>
                <a:cxn ang="0">
                  <a:pos x="0" y="182"/>
                </a:cxn>
                <a:cxn ang="0">
                  <a:pos x="136" y="182"/>
                </a:cxn>
                <a:cxn ang="0">
                  <a:pos x="136" y="0"/>
                </a:cxn>
              </a:cxnLst>
              <a:rect l="0" t="0" r="r" b="b"/>
              <a:pathLst>
                <a:path w="136" h="182">
                  <a:moveTo>
                    <a:pt x="0" y="182"/>
                  </a:moveTo>
                  <a:lnTo>
                    <a:pt x="136" y="182"/>
                  </a:lnTo>
                  <a:lnTo>
                    <a:pt x="136" y="0"/>
                  </a:lnTo>
                </a:path>
              </a:pathLst>
            </a:cu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grpSp>
      <p:grpSp>
        <p:nvGrpSpPr>
          <p:cNvPr id="101" name="Group 84">
            <a:extLst>
              <a:ext uri="{FF2B5EF4-FFF2-40B4-BE49-F238E27FC236}">
                <a16:creationId xmlns:a16="http://schemas.microsoft.com/office/drawing/2014/main" id="{E29F6329-E201-454E-A0A2-DAF3A59ECB79}"/>
              </a:ext>
            </a:extLst>
          </p:cNvPr>
          <p:cNvGrpSpPr>
            <a:grpSpLocks/>
          </p:cNvGrpSpPr>
          <p:nvPr/>
        </p:nvGrpSpPr>
        <p:grpSpPr bwMode="auto">
          <a:xfrm rot="5400000" flipH="1" flipV="1">
            <a:off x="2959067" y="3460561"/>
            <a:ext cx="149225" cy="223838"/>
            <a:chOff x="2154" y="3203"/>
            <a:chExt cx="136" cy="182"/>
          </a:xfrm>
        </p:grpSpPr>
        <p:sp>
          <p:nvSpPr>
            <p:cNvPr id="102" name="Freeform 85" descr="60%">
              <a:extLst>
                <a:ext uri="{FF2B5EF4-FFF2-40B4-BE49-F238E27FC236}">
                  <a16:creationId xmlns:a16="http://schemas.microsoft.com/office/drawing/2014/main" id="{9616FDD2-0642-4C24-9655-1C82E69EA37C}"/>
                </a:ext>
              </a:extLst>
            </p:cNvPr>
            <p:cNvSpPr>
              <a:spLocks/>
            </p:cNvSpPr>
            <p:nvPr/>
          </p:nvSpPr>
          <p:spPr bwMode="auto">
            <a:xfrm>
              <a:off x="2154" y="3249"/>
              <a:ext cx="136" cy="136"/>
            </a:xfrm>
            <a:custGeom>
              <a:avLst/>
              <a:gdLst/>
              <a:ahLst/>
              <a:cxnLst>
                <a:cxn ang="0">
                  <a:pos x="0" y="136"/>
                </a:cxn>
                <a:cxn ang="0">
                  <a:pos x="136" y="136"/>
                </a:cxn>
                <a:cxn ang="0">
                  <a:pos x="136" y="0"/>
                </a:cxn>
                <a:cxn ang="0">
                  <a:pos x="91" y="0"/>
                </a:cxn>
                <a:cxn ang="0">
                  <a:pos x="91" y="90"/>
                </a:cxn>
                <a:cxn ang="0">
                  <a:pos x="0" y="90"/>
                </a:cxn>
                <a:cxn ang="0">
                  <a:pos x="0" y="136"/>
                </a:cxn>
              </a:cxnLst>
              <a:rect l="0" t="0" r="r" b="b"/>
              <a:pathLst>
                <a:path w="136" h="136">
                  <a:moveTo>
                    <a:pt x="0" y="136"/>
                  </a:moveTo>
                  <a:lnTo>
                    <a:pt x="136" y="136"/>
                  </a:lnTo>
                  <a:lnTo>
                    <a:pt x="136" y="0"/>
                  </a:lnTo>
                  <a:lnTo>
                    <a:pt x="91" y="0"/>
                  </a:lnTo>
                  <a:lnTo>
                    <a:pt x="91" y="90"/>
                  </a:lnTo>
                  <a:lnTo>
                    <a:pt x="0" y="90"/>
                  </a:lnTo>
                  <a:lnTo>
                    <a:pt x="0" y="136"/>
                  </a:lnTo>
                  <a:close/>
                </a:path>
              </a:pathLst>
            </a:custGeom>
            <a:pattFill prst="pct60">
              <a:fgClr>
                <a:schemeClr val="bg1"/>
              </a:fgClr>
              <a:bgClr>
                <a:srgbClr val="008000"/>
              </a:bgClr>
            </a:pattFill>
            <a:ln w="9525" cap="flat" cmpd="sng">
              <a:noFill/>
              <a:prstDash val="solid"/>
              <a:round/>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03" name="Freeform 86">
              <a:extLst>
                <a:ext uri="{FF2B5EF4-FFF2-40B4-BE49-F238E27FC236}">
                  <a16:creationId xmlns:a16="http://schemas.microsoft.com/office/drawing/2014/main" id="{AAEA7EFB-AC56-4BF1-A8F1-C1605706F215}"/>
                </a:ext>
              </a:extLst>
            </p:cNvPr>
            <p:cNvSpPr>
              <a:spLocks/>
            </p:cNvSpPr>
            <p:nvPr/>
          </p:nvSpPr>
          <p:spPr bwMode="auto">
            <a:xfrm>
              <a:off x="2154" y="3249"/>
              <a:ext cx="91" cy="89"/>
            </a:xfrm>
            <a:custGeom>
              <a:avLst/>
              <a:gdLst/>
              <a:ahLst/>
              <a:cxnLst>
                <a:cxn ang="0">
                  <a:pos x="0" y="90"/>
                </a:cxn>
                <a:cxn ang="0">
                  <a:pos x="91" y="90"/>
                </a:cxn>
                <a:cxn ang="0">
                  <a:pos x="91" y="0"/>
                </a:cxn>
              </a:cxnLst>
              <a:rect l="0" t="0" r="r" b="b"/>
              <a:pathLst>
                <a:path w="91" h="90">
                  <a:moveTo>
                    <a:pt x="0" y="90"/>
                  </a:moveTo>
                  <a:lnTo>
                    <a:pt x="91" y="90"/>
                  </a:lnTo>
                  <a:lnTo>
                    <a:pt x="91" y="0"/>
                  </a:lnTo>
                </a:path>
              </a:pathLst>
            </a:cu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04" name="Freeform 87">
              <a:extLst>
                <a:ext uri="{FF2B5EF4-FFF2-40B4-BE49-F238E27FC236}">
                  <a16:creationId xmlns:a16="http://schemas.microsoft.com/office/drawing/2014/main" id="{DB7DFECB-7B91-477D-B316-5DEFD6584FD0}"/>
                </a:ext>
              </a:extLst>
            </p:cNvPr>
            <p:cNvSpPr>
              <a:spLocks/>
            </p:cNvSpPr>
            <p:nvPr/>
          </p:nvSpPr>
          <p:spPr bwMode="auto">
            <a:xfrm>
              <a:off x="2154" y="3203"/>
              <a:ext cx="136" cy="182"/>
            </a:xfrm>
            <a:custGeom>
              <a:avLst/>
              <a:gdLst/>
              <a:ahLst/>
              <a:cxnLst>
                <a:cxn ang="0">
                  <a:pos x="0" y="182"/>
                </a:cxn>
                <a:cxn ang="0">
                  <a:pos x="136" y="182"/>
                </a:cxn>
                <a:cxn ang="0">
                  <a:pos x="136" y="0"/>
                </a:cxn>
              </a:cxnLst>
              <a:rect l="0" t="0" r="r" b="b"/>
              <a:pathLst>
                <a:path w="136" h="182">
                  <a:moveTo>
                    <a:pt x="0" y="182"/>
                  </a:moveTo>
                  <a:lnTo>
                    <a:pt x="136" y="182"/>
                  </a:lnTo>
                  <a:lnTo>
                    <a:pt x="136" y="0"/>
                  </a:lnTo>
                </a:path>
              </a:pathLst>
            </a:cu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grpSp>
      <p:grpSp>
        <p:nvGrpSpPr>
          <p:cNvPr id="105" name="Group 88">
            <a:extLst>
              <a:ext uri="{FF2B5EF4-FFF2-40B4-BE49-F238E27FC236}">
                <a16:creationId xmlns:a16="http://schemas.microsoft.com/office/drawing/2014/main" id="{1132F95D-9361-4219-A79B-CBD334BFF9FD}"/>
              </a:ext>
            </a:extLst>
          </p:cNvPr>
          <p:cNvGrpSpPr>
            <a:grpSpLocks/>
          </p:cNvGrpSpPr>
          <p:nvPr/>
        </p:nvGrpSpPr>
        <p:grpSpPr bwMode="auto">
          <a:xfrm flipH="1">
            <a:off x="3144011" y="4880580"/>
            <a:ext cx="166688" cy="198437"/>
            <a:chOff x="2154" y="3203"/>
            <a:chExt cx="136" cy="182"/>
          </a:xfrm>
        </p:grpSpPr>
        <p:sp>
          <p:nvSpPr>
            <p:cNvPr id="106" name="Freeform 89" descr="60%">
              <a:extLst>
                <a:ext uri="{FF2B5EF4-FFF2-40B4-BE49-F238E27FC236}">
                  <a16:creationId xmlns:a16="http://schemas.microsoft.com/office/drawing/2014/main" id="{1E989BB6-42A8-40C0-857B-7DBE31B966CD}"/>
                </a:ext>
              </a:extLst>
            </p:cNvPr>
            <p:cNvSpPr>
              <a:spLocks/>
            </p:cNvSpPr>
            <p:nvPr/>
          </p:nvSpPr>
          <p:spPr bwMode="auto">
            <a:xfrm>
              <a:off x="2154" y="3250"/>
              <a:ext cx="136" cy="135"/>
            </a:xfrm>
            <a:custGeom>
              <a:avLst/>
              <a:gdLst/>
              <a:ahLst/>
              <a:cxnLst>
                <a:cxn ang="0">
                  <a:pos x="0" y="136"/>
                </a:cxn>
                <a:cxn ang="0">
                  <a:pos x="136" y="136"/>
                </a:cxn>
                <a:cxn ang="0">
                  <a:pos x="136" y="0"/>
                </a:cxn>
                <a:cxn ang="0">
                  <a:pos x="91" y="0"/>
                </a:cxn>
                <a:cxn ang="0">
                  <a:pos x="91" y="90"/>
                </a:cxn>
                <a:cxn ang="0">
                  <a:pos x="0" y="90"/>
                </a:cxn>
                <a:cxn ang="0">
                  <a:pos x="0" y="136"/>
                </a:cxn>
              </a:cxnLst>
              <a:rect l="0" t="0" r="r" b="b"/>
              <a:pathLst>
                <a:path w="136" h="136">
                  <a:moveTo>
                    <a:pt x="0" y="136"/>
                  </a:moveTo>
                  <a:lnTo>
                    <a:pt x="136" y="136"/>
                  </a:lnTo>
                  <a:lnTo>
                    <a:pt x="136" y="0"/>
                  </a:lnTo>
                  <a:lnTo>
                    <a:pt x="91" y="0"/>
                  </a:lnTo>
                  <a:lnTo>
                    <a:pt x="91" y="90"/>
                  </a:lnTo>
                  <a:lnTo>
                    <a:pt x="0" y="90"/>
                  </a:lnTo>
                  <a:lnTo>
                    <a:pt x="0" y="136"/>
                  </a:lnTo>
                  <a:close/>
                </a:path>
              </a:pathLst>
            </a:custGeom>
            <a:pattFill prst="pct60">
              <a:fgClr>
                <a:schemeClr val="bg1"/>
              </a:fgClr>
              <a:bgClr>
                <a:srgbClr val="008000"/>
              </a:bgClr>
            </a:pattFill>
            <a:ln w="9525" cap="flat" cmpd="sng">
              <a:noFill/>
              <a:prstDash val="solid"/>
              <a:round/>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07" name="Freeform 90">
              <a:extLst>
                <a:ext uri="{FF2B5EF4-FFF2-40B4-BE49-F238E27FC236}">
                  <a16:creationId xmlns:a16="http://schemas.microsoft.com/office/drawing/2014/main" id="{453C5585-894E-4CEE-9E7A-B133826B933C}"/>
                </a:ext>
              </a:extLst>
            </p:cNvPr>
            <p:cNvSpPr>
              <a:spLocks/>
            </p:cNvSpPr>
            <p:nvPr/>
          </p:nvSpPr>
          <p:spPr bwMode="auto">
            <a:xfrm>
              <a:off x="2154" y="3250"/>
              <a:ext cx="91" cy="89"/>
            </a:xfrm>
            <a:custGeom>
              <a:avLst/>
              <a:gdLst/>
              <a:ahLst/>
              <a:cxnLst>
                <a:cxn ang="0">
                  <a:pos x="0" y="90"/>
                </a:cxn>
                <a:cxn ang="0">
                  <a:pos x="91" y="90"/>
                </a:cxn>
                <a:cxn ang="0">
                  <a:pos x="91" y="0"/>
                </a:cxn>
              </a:cxnLst>
              <a:rect l="0" t="0" r="r" b="b"/>
              <a:pathLst>
                <a:path w="91" h="90">
                  <a:moveTo>
                    <a:pt x="0" y="90"/>
                  </a:moveTo>
                  <a:lnTo>
                    <a:pt x="91" y="90"/>
                  </a:lnTo>
                  <a:lnTo>
                    <a:pt x="91" y="0"/>
                  </a:lnTo>
                </a:path>
              </a:pathLst>
            </a:cu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08" name="Freeform 91">
              <a:extLst>
                <a:ext uri="{FF2B5EF4-FFF2-40B4-BE49-F238E27FC236}">
                  <a16:creationId xmlns:a16="http://schemas.microsoft.com/office/drawing/2014/main" id="{A55B685D-77A9-4D9B-8991-5CEB804B72C0}"/>
                </a:ext>
              </a:extLst>
            </p:cNvPr>
            <p:cNvSpPr>
              <a:spLocks/>
            </p:cNvSpPr>
            <p:nvPr/>
          </p:nvSpPr>
          <p:spPr bwMode="auto">
            <a:xfrm>
              <a:off x="2154" y="3203"/>
              <a:ext cx="136" cy="182"/>
            </a:xfrm>
            <a:custGeom>
              <a:avLst/>
              <a:gdLst/>
              <a:ahLst/>
              <a:cxnLst>
                <a:cxn ang="0">
                  <a:pos x="0" y="182"/>
                </a:cxn>
                <a:cxn ang="0">
                  <a:pos x="136" y="182"/>
                </a:cxn>
                <a:cxn ang="0">
                  <a:pos x="136" y="0"/>
                </a:cxn>
              </a:cxnLst>
              <a:rect l="0" t="0" r="r" b="b"/>
              <a:pathLst>
                <a:path w="136" h="182">
                  <a:moveTo>
                    <a:pt x="0" y="182"/>
                  </a:moveTo>
                  <a:lnTo>
                    <a:pt x="136" y="182"/>
                  </a:lnTo>
                  <a:lnTo>
                    <a:pt x="136" y="0"/>
                  </a:lnTo>
                </a:path>
              </a:pathLst>
            </a:cu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grpSp>
      <p:grpSp>
        <p:nvGrpSpPr>
          <p:cNvPr id="109" name="Group 92">
            <a:extLst>
              <a:ext uri="{FF2B5EF4-FFF2-40B4-BE49-F238E27FC236}">
                <a16:creationId xmlns:a16="http://schemas.microsoft.com/office/drawing/2014/main" id="{7A8C4495-8267-46D5-933E-88B2BB5E01CD}"/>
              </a:ext>
            </a:extLst>
          </p:cNvPr>
          <p:cNvGrpSpPr>
            <a:grpSpLocks/>
          </p:cNvGrpSpPr>
          <p:nvPr/>
        </p:nvGrpSpPr>
        <p:grpSpPr bwMode="auto">
          <a:xfrm>
            <a:off x="4082224" y="4880580"/>
            <a:ext cx="166687" cy="198437"/>
            <a:chOff x="2154" y="3203"/>
            <a:chExt cx="136" cy="182"/>
          </a:xfrm>
        </p:grpSpPr>
        <p:sp>
          <p:nvSpPr>
            <p:cNvPr id="110" name="Freeform 93" descr="60%">
              <a:extLst>
                <a:ext uri="{FF2B5EF4-FFF2-40B4-BE49-F238E27FC236}">
                  <a16:creationId xmlns:a16="http://schemas.microsoft.com/office/drawing/2014/main" id="{97BB14B9-B7E9-4239-B685-8CEE7E4F6884}"/>
                </a:ext>
              </a:extLst>
            </p:cNvPr>
            <p:cNvSpPr>
              <a:spLocks/>
            </p:cNvSpPr>
            <p:nvPr/>
          </p:nvSpPr>
          <p:spPr bwMode="auto">
            <a:xfrm>
              <a:off x="2154" y="3250"/>
              <a:ext cx="136" cy="135"/>
            </a:xfrm>
            <a:custGeom>
              <a:avLst/>
              <a:gdLst/>
              <a:ahLst/>
              <a:cxnLst>
                <a:cxn ang="0">
                  <a:pos x="0" y="136"/>
                </a:cxn>
                <a:cxn ang="0">
                  <a:pos x="136" y="136"/>
                </a:cxn>
                <a:cxn ang="0">
                  <a:pos x="136" y="0"/>
                </a:cxn>
                <a:cxn ang="0">
                  <a:pos x="91" y="0"/>
                </a:cxn>
                <a:cxn ang="0">
                  <a:pos x="91" y="90"/>
                </a:cxn>
                <a:cxn ang="0">
                  <a:pos x="0" y="90"/>
                </a:cxn>
                <a:cxn ang="0">
                  <a:pos x="0" y="136"/>
                </a:cxn>
              </a:cxnLst>
              <a:rect l="0" t="0" r="r" b="b"/>
              <a:pathLst>
                <a:path w="136" h="136">
                  <a:moveTo>
                    <a:pt x="0" y="136"/>
                  </a:moveTo>
                  <a:lnTo>
                    <a:pt x="136" y="136"/>
                  </a:lnTo>
                  <a:lnTo>
                    <a:pt x="136" y="0"/>
                  </a:lnTo>
                  <a:lnTo>
                    <a:pt x="91" y="0"/>
                  </a:lnTo>
                  <a:lnTo>
                    <a:pt x="91" y="90"/>
                  </a:lnTo>
                  <a:lnTo>
                    <a:pt x="0" y="90"/>
                  </a:lnTo>
                  <a:lnTo>
                    <a:pt x="0" y="136"/>
                  </a:lnTo>
                  <a:close/>
                </a:path>
              </a:pathLst>
            </a:custGeom>
            <a:pattFill prst="pct60">
              <a:fgClr>
                <a:schemeClr val="bg1"/>
              </a:fgClr>
              <a:bgClr>
                <a:srgbClr val="008000"/>
              </a:bgClr>
            </a:pattFill>
            <a:ln w="9525" cap="flat" cmpd="sng">
              <a:noFill/>
              <a:prstDash val="solid"/>
              <a:round/>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11" name="Freeform 94">
              <a:extLst>
                <a:ext uri="{FF2B5EF4-FFF2-40B4-BE49-F238E27FC236}">
                  <a16:creationId xmlns:a16="http://schemas.microsoft.com/office/drawing/2014/main" id="{B93BEDD0-E093-46E4-B31C-BCF00E7EB3F1}"/>
                </a:ext>
              </a:extLst>
            </p:cNvPr>
            <p:cNvSpPr>
              <a:spLocks/>
            </p:cNvSpPr>
            <p:nvPr/>
          </p:nvSpPr>
          <p:spPr bwMode="auto">
            <a:xfrm>
              <a:off x="2154" y="3250"/>
              <a:ext cx="91" cy="89"/>
            </a:xfrm>
            <a:custGeom>
              <a:avLst/>
              <a:gdLst/>
              <a:ahLst/>
              <a:cxnLst>
                <a:cxn ang="0">
                  <a:pos x="0" y="90"/>
                </a:cxn>
                <a:cxn ang="0">
                  <a:pos x="91" y="90"/>
                </a:cxn>
                <a:cxn ang="0">
                  <a:pos x="91" y="0"/>
                </a:cxn>
              </a:cxnLst>
              <a:rect l="0" t="0" r="r" b="b"/>
              <a:pathLst>
                <a:path w="91" h="90">
                  <a:moveTo>
                    <a:pt x="0" y="90"/>
                  </a:moveTo>
                  <a:lnTo>
                    <a:pt x="91" y="90"/>
                  </a:lnTo>
                  <a:lnTo>
                    <a:pt x="91" y="0"/>
                  </a:lnTo>
                </a:path>
              </a:pathLst>
            </a:cu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12" name="Freeform 95">
              <a:extLst>
                <a:ext uri="{FF2B5EF4-FFF2-40B4-BE49-F238E27FC236}">
                  <a16:creationId xmlns:a16="http://schemas.microsoft.com/office/drawing/2014/main" id="{E67F0D51-E9F5-41B5-BE0D-5762EBDA0C91}"/>
                </a:ext>
              </a:extLst>
            </p:cNvPr>
            <p:cNvSpPr>
              <a:spLocks/>
            </p:cNvSpPr>
            <p:nvPr/>
          </p:nvSpPr>
          <p:spPr bwMode="auto">
            <a:xfrm>
              <a:off x="2154" y="3203"/>
              <a:ext cx="136" cy="182"/>
            </a:xfrm>
            <a:custGeom>
              <a:avLst/>
              <a:gdLst/>
              <a:ahLst/>
              <a:cxnLst>
                <a:cxn ang="0">
                  <a:pos x="0" y="182"/>
                </a:cxn>
                <a:cxn ang="0">
                  <a:pos x="136" y="182"/>
                </a:cxn>
                <a:cxn ang="0">
                  <a:pos x="136" y="0"/>
                </a:cxn>
              </a:cxnLst>
              <a:rect l="0" t="0" r="r" b="b"/>
              <a:pathLst>
                <a:path w="136" h="182">
                  <a:moveTo>
                    <a:pt x="0" y="182"/>
                  </a:moveTo>
                  <a:lnTo>
                    <a:pt x="136" y="182"/>
                  </a:lnTo>
                  <a:lnTo>
                    <a:pt x="136" y="0"/>
                  </a:lnTo>
                </a:path>
              </a:pathLst>
            </a:cu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grpSp>
      <p:grpSp>
        <p:nvGrpSpPr>
          <p:cNvPr id="113" name="Group 96">
            <a:extLst>
              <a:ext uri="{FF2B5EF4-FFF2-40B4-BE49-F238E27FC236}">
                <a16:creationId xmlns:a16="http://schemas.microsoft.com/office/drawing/2014/main" id="{BAE27457-0DB4-4419-9685-26F479E04045}"/>
              </a:ext>
            </a:extLst>
          </p:cNvPr>
          <p:cNvGrpSpPr>
            <a:grpSpLocks/>
          </p:cNvGrpSpPr>
          <p:nvPr/>
        </p:nvGrpSpPr>
        <p:grpSpPr bwMode="auto">
          <a:xfrm flipH="1" flipV="1">
            <a:off x="4193349" y="3596292"/>
            <a:ext cx="166687" cy="198438"/>
            <a:chOff x="2154" y="3203"/>
            <a:chExt cx="136" cy="182"/>
          </a:xfrm>
        </p:grpSpPr>
        <p:sp>
          <p:nvSpPr>
            <p:cNvPr id="114" name="Freeform 97" descr="60%">
              <a:extLst>
                <a:ext uri="{FF2B5EF4-FFF2-40B4-BE49-F238E27FC236}">
                  <a16:creationId xmlns:a16="http://schemas.microsoft.com/office/drawing/2014/main" id="{288B8FA4-2393-40D6-A298-8BAAD4D081D3}"/>
                </a:ext>
              </a:extLst>
            </p:cNvPr>
            <p:cNvSpPr>
              <a:spLocks/>
            </p:cNvSpPr>
            <p:nvPr/>
          </p:nvSpPr>
          <p:spPr bwMode="auto">
            <a:xfrm>
              <a:off x="2154" y="3250"/>
              <a:ext cx="136" cy="135"/>
            </a:xfrm>
            <a:custGeom>
              <a:avLst/>
              <a:gdLst/>
              <a:ahLst/>
              <a:cxnLst>
                <a:cxn ang="0">
                  <a:pos x="0" y="136"/>
                </a:cxn>
                <a:cxn ang="0">
                  <a:pos x="136" y="136"/>
                </a:cxn>
                <a:cxn ang="0">
                  <a:pos x="136" y="0"/>
                </a:cxn>
                <a:cxn ang="0">
                  <a:pos x="91" y="0"/>
                </a:cxn>
                <a:cxn ang="0">
                  <a:pos x="91" y="90"/>
                </a:cxn>
                <a:cxn ang="0">
                  <a:pos x="0" y="90"/>
                </a:cxn>
                <a:cxn ang="0">
                  <a:pos x="0" y="136"/>
                </a:cxn>
              </a:cxnLst>
              <a:rect l="0" t="0" r="r" b="b"/>
              <a:pathLst>
                <a:path w="136" h="136">
                  <a:moveTo>
                    <a:pt x="0" y="136"/>
                  </a:moveTo>
                  <a:lnTo>
                    <a:pt x="136" y="136"/>
                  </a:lnTo>
                  <a:lnTo>
                    <a:pt x="136" y="0"/>
                  </a:lnTo>
                  <a:lnTo>
                    <a:pt x="91" y="0"/>
                  </a:lnTo>
                  <a:lnTo>
                    <a:pt x="91" y="90"/>
                  </a:lnTo>
                  <a:lnTo>
                    <a:pt x="0" y="90"/>
                  </a:lnTo>
                  <a:lnTo>
                    <a:pt x="0" y="136"/>
                  </a:lnTo>
                  <a:close/>
                </a:path>
              </a:pathLst>
            </a:custGeom>
            <a:pattFill prst="pct60">
              <a:fgClr>
                <a:schemeClr val="bg1"/>
              </a:fgClr>
              <a:bgClr>
                <a:srgbClr val="008000"/>
              </a:bgClr>
            </a:pattFill>
            <a:ln w="9525" cap="flat" cmpd="sng">
              <a:noFill/>
              <a:prstDash val="solid"/>
              <a:round/>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15" name="Freeform 98">
              <a:extLst>
                <a:ext uri="{FF2B5EF4-FFF2-40B4-BE49-F238E27FC236}">
                  <a16:creationId xmlns:a16="http://schemas.microsoft.com/office/drawing/2014/main" id="{A2133133-CE7E-485F-BA3E-DF4718F13FE0}"/>
                </a:ext>
              </a:extLst>
            </p:cNvPr>
            <p:cNvSpPr>
              <a:spLocks/>
            </p:cNvSpPr>
            <p:nvPr/>
          </p:nvSpPr>
          <p:spPr bwMode="auto">
            <a:xfrm>
              <a:off x="2154" y="3250"/>
              <a:ext cx="91" cy="89"/>
            </a:xfrm>
            <a:custGeom>
              <a:avLst/>
              <a:gdLst/>
              <a:ahLst/>
              <a:cxnLst>
                <a:cxn ang="0">
                  <a:pos x="0" y="90"/>
                </a:cxn>
                <a:cxn ang="0">
                  <a:pos x="91" y="90"/>
                </a:cxn>
                <a:cxn ang="0">
                  <a:pos x="91" y="0"/>
                </a:cxn>
              </a:cxnLst>
              <a:rect l="0" t="0" r="r" b="b"/>
              <a:pathLst>
                <a:path w="91" h="90">
                  <a:moveTo>
                    <a:pt x="0" y="90"/>
                  </a:moveTo>
                  <a:lnTo>
                    <a:pt x="91" y="90"/>
                  </a:lnTo>
                  <a:lnTo>
                    <a:pt x="91" y="0"/>
                  </a:lnTo>
                </a:path>
              </a:pathLst>
            </a:cu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16" name="Freeform 99">
              <a:extLst>
                <a:ext uri="{FF2B5EF4-FFF2-40B4-BE49-F238E27FC236}">
                  <a16:creationId xmlns:a16="http://schemas.microsoft.com/office/drawing/2014/main" id="{CAB0D6B0-9EF8-4BE8-B67F-EEC34842392B}"/>
                </a:ext>
              </a:extLst>
            </p:cNvPr>
            <p:cNvSpPr>
              <a:spLocks/>
            </p:cNvSpPr>
            <p:nvPr/>
          </p:nvSpPr>
          <p:spPr bwMode="auto">
            <a:xfrm>
              <a:off x="2154" y="3203"/>
              <a:ext cx="136" cy="182"/>
            </a:xfrm>
            <a:custGeom>
              <a:avLst/>
              <a:gdLst/>
              <a:ahLst/>
              <a:cxnLst>
                <a:cxn ang="0">
                  <a:pos x="0" y="182"/>
                </a:cxn>
                <a:cxn ang="0">
                  <a:pos x="136" y="182"/>
                </a:cxn>
                <a:cxn ang="0">
                  <a:pos x="136" y="0"/>
                </a:cxn>
              </a:cxnLst>
              <a:rect l="0" t="0" r="r" b="b"/>
              <a:pathLst>
                <a:path w="136" h="182">
                  <a:moveTo>
                    <a:pt x="0" y="182"/>
                  </a:moveTo>
                  <a:lnTo>
                    <a:pt x="136" y="182"/>
                  </a:lnTo>
                  <a:lnTo>
                    <a:pt x="136" y="0"/>
                  </a:lnTo>
                </a:path>
              </a:pathLst>
            </a:cu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grpSp>
      <p:grpSp>
        <p:nvGrpSpPr>
          <p:cNvPr id="117" name="Group 100">
            <a:extLst>
              <a:ext uri="{FF2B5EF4-FFF2-40B4-BE49-F238E27FC236}">
                <a16:creationId xmlns:a16="http://schemas.microsoft.com/office/drawing/2014/main" id="{1F9DA531-4BDD-46C1-91D8-182F36E64A25}"/>
              </a:ext>
            </a:extLst>
          </p:cNvPr>
          <p:cNvGrpSpPr>
            <a:grpSpLocks/>
          </p:cNvGrpSpPr>
          <p:nvPr/>
        </p:nvGrpSpPr>
        <p:grpSpPr bwMode="auto">
          <a:xfrm rot="5400000" flipH="1" flipV="1">
            <a:off x="4596574" y="3558192"/>
            <a:ext cx="147638" cy="223837"/>
            <a:chOff x="2154" y="3203"/>
            <a:chExt cx="136" cy="182"/>
          </a:xfrm>
        </p:grpSpPr>
        <p:sp>
          <p:nvSpPr>
            <p:cNvPr id="118" name="Freeform 101" descr="60%">
              <a:extLst>
                <a:ext uri="{FF2B5EF4-FFF2-40B4-BE49-F238E27FC236}">
                  <a16:creationId xmlns:a16="http://schemas.microsoft.com/office/drawing/2014/main" id="{1B3D9AF7-5BC2-4ADE-884D-9DF7A399AAE7}"/>
                </a:ext>
              </a:extLst>
            </p:cNvPr>
            <p:cNvSpPr>
              <a:spLocks/>
            </p:cNvSpPr>
            <p:nvPr/>
          </p:nvSpPr>
          <p:spPr bwMode="auto">
            <a:xfrm>
              <a:off x="2154" y="3249"/>
              <a:ext cx="136" cy="136"/>
            </a:xfrm>
            <a:custGeom>
              <a:avLst/>
              <a:gdLst/>
              <a:ahLst/>
              <a:cxnLst>
                <a:cxn ang="0">
                  <a:pos x="0" y="136"/>
                </a:cxn>
                <a:cxn ang="0">
                  <a:pos x="136" y="136"/>
                </a:cxn>
                <a:cxn ang="0">
                  <a:pos x="136" y="0"/>
                </a:cxn>
                <a:cxn ang="0">
                  <a:pos x="91" y="0"/>
                </a:cxn>
                <a:cxn ang="0">
                  <a:pos x="91" y="90"/>
                </a:cxn>
                <a:cxn ang="0">
                  <a:pos x="0" y="90"/>
                </a:cxn>
                <a:cxn ang="0">
                  <a:pos x="0" y="136"/>
                </a:cxn>
              </a:cxnLst>
              <a:rect l="0" t="0" r="r" b="b"/>
              <a:pathLst>
                <a:path w="136" h="136">
                  <a:moveTo>
                    <a:pt x="0" y="136"/>
                  </a:moveTo>
                  <a:lnTo>
                    <a:pt x="136" y="136"/>
                  </a:lnTo>
                  <a:lnTo>
                    <a:pt x="136" y="0"/>
                  </a:lnTo>
                  <a:lnTo>
                    <a:pt x="91" y="0"/>
                  </a:lnTo>
                  <a:lnTo>
                    <a:pt x="91" y="90"/>
                  </a:lnTo>
                  <a:lnTo>
                    <a:pt x="0" y="90"/>
                  </a:lnTo>
                  <a:lnTo>
                    <a:pt x="0" y="136"/>
                  </a:lnTo>
                  <a:close/>
                </a:path>
              </a:pathLst>
            </a:custGeom>
            <a:pattFill prst="pct60">
              <a:fgClr>
                <a:schemeClr val="bg1"/>
              </a:fgClr>
              <a:bgClr>
                <a:srgbClr val="008000"/>
              </a:bgClr>
            </a:pattFill>
            <a:ln w="9525" cap="flat" cmpd="sng">
              <a:noFill/>
              <a:prstDash val="solid"/>
              <a:round/>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19" name="Freeform 102">
              <a:extLst>
                <a:ext uri="{FF2B5EF4-FFF2-40B4-BE49-F238E27FC236}">
                  <a16:creationId xmlns:a16="http://schemas.microsoft.com/office/drawing/2014/main" id="{19A9279B-F26A-4884-9504-ADD06100A9C4}"/>
                </a:ext>
              </a:extLst>
            </p:cNvPr>
            <p:cNvSpPr>
              <a:spLocks/>
            </p:cNvSpPr>
            <p:nvPr/>
          </p:nvSpPr>
          <p:spPr bwMode="auto">
            <a:xfrm>
              <a:off x="2154" y="3249"/>
              <a:ext cx="91" cy="89"/>
            </a:xfrm>
            <a:custGeom>
              <a:avLst/>
              <a:gdLst/>
              <a:ahLst/>
              <a:cxnLst>
                <a:cxn ang="0">
                  <a:pos x="0" y="90"/>
                </a:cxn>
                <a:cxn ang="0">
                  <a:pos x="91" y="90"/>
                </a:cxn>
                <a:cxn ang="0">
                  <a:pos x="91" y="0"/>
                </a:cxn>
              </a:cxnLst>
              <a:rect l="0" t="0" r="r" b="b"/>
              <a:pathLst>
                <a:path w="91" h="90">
                  <a:moveTo>
                    <a:pt x="0" y="90"/>
                  </a:moveTo>
                  <a:lnTo>
                    <a:pt x="91" y="90"/>
                  </a:lnTo>
                  <a:lnTo>
                    <a:pt x="91" y="0"/>
                  </a:lnTo>
                </a:path>
              </a:pathLst>
            </a:cu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20" name="Freeform 103">
              <a:extLst>
                <a:ext uri="{FF2B5EF4-FFF2-40B4-BE49-F238E27FC236}">
                  <a16:creationId xmlns:a16="http://schemas.microsoft.com/office/drawing/2014/main" id="{7FC524F7-EA64-44AE-B9B3-81F03DE7869B}"/>
                </a:ext>
              </a:extLst>
            </p:cNvPr>
            <p:cNvSpPr>
              <a:spLocks/>
            </p:cNvSpPr>
            <p:nvPr/>
          </p:nvSpPr>
          <p:spPr bwMode="auto">
            <a:xfrm>
              <a:off x="2154" y="3203"/>
              <a:ext cx="136" cy="182"/>
            </a:xfrm>
            <a:custGeom>
              <a:avLst/>
              <a:gdLst/>
              <a:ahLst/>
              <a:cxnLst>
                <a:cxn ang="0">
                  <a:pos x="0" y="182"/>
                </a:cxn>
                <a:cxn ang="0">
                  <a:pos x="136" y="182"/>
                </a:cxn>
                <a:cxn ang="0">
                  <a:pos x="136" y="0"/>
                </a:cxn>
              </a:cxnLst>
              <a:rect l="0" t="0" r="r" b="b"/>
              <a:pathLst>
                <a:path w="136" h="182">
                  <a:moveTo>
                    <a:pt x="0" y="182"/>
                  </a:moveTo>
                  <a:lnTo>
                    <a:pt x="136" y="182"/>
                  </a:lnTo>
                  <a:lnTo>
                    <a:pt x="136" y="0"/>
                  </a:lnTo>
                </a:path>
              </a:pathLst>
            </a:cu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grpSp>
      <p:grpSp>
        <p:nvGrpSpPr>
          <p:cNvPr id="121" name="Group 104">
            <a:extLst>
              <a:ext uri="{FF2B5EF4-FFF2-40B4-BE49-F238E27FC236}">
                <a16:creationId xmlns:a16="http://schemas.microsoft.com/office/drawing/2014/main" id="{5D2B72D7-17E6-43B4-B4EF-6748773AE09F}"/>
              </a:ext>
            </a:extLst>
          </p:cNvPr>
          <p:cNvGrpSpPr>
            <a:grpSpLocks/>
          </p:cNvGrpSpPr>
          <p:nvPr/>
        </p:nvGrpSpPr>
        <p:grpSpPr bwMode="auto">
          <a:xfrm>
            <a:off x="4563236" y="3732817"/>
            <a:ext cx="388938" cy="1055688"/>
            <a:chOff x="476" y="1117"/>
            <a:chExt cx="408" cy="1451"/>
          </a:xfrm>
        </p:grpSpPr>
        <p:sp>
          <p:nvSpPr>
            <p:cNvPr id="122" name="Freeform 105">
              <a:extLst>
                <a:ext uri="{FF2B5EF4-FFF2-40B4-BE49-F238E27FC236}">
                  <a16:creationId xmlns:a16="http://schemas.microsoft.com/office/drawing/2014/main" id="{4684E417-B433-404E-A185-E7DA565BF45A}"/>
                </a:ext>
              </a:extLst>
            </p:cNvPr>
            <p:cNvSpPr>
              <a:spLocks/>
            </p:cNvSpPr>
            <p:nvPr/>
          </p:nvSpPr>
          <p:spPr bwMode="auto">
            <a:xfrm>
              <a:off x="476" y="1117"/>
              <a:ext cx="408" cy="1224"/>
            </a:xfrm>
            <a:custGeom>
              <a:avLst/>
              <a:gdLst/>
              <a:ahLst/>
              <a:cxnLst>
                <a:cxn ang="0">
                  <a:pos x="0" y="0"/>
                </a:cxn>
                <a:cxn ang="0">
                  <a:pos x="408" y="0"/>
                </a:cxn>
                <a:cxn ang="0">
                  <a:pos x="317" y="499"/>
                </a:cxn>
                <a:cxn ang="0">
                  <a:pos x="317" y="1225"/>
                </a:cxn>
                <a:cxn ang="0">
                  <a:pos x="90" y="1225"/>
                </a:cxn>
                <a:cxn ang="0">
                  <a:pos x="90" y="499"/>
                </a:cxn>
                <a:cxn ang="0">
                  <a:pos x="0" y="0"/>
                </a:cxn>
              </a:cxnLst>
              <a:rect l="0" t="0" r="r" b="b"/>
              <a:pathLst>
                <a:path w="408" h="1225">
                  <a:moveTo>
                    <a:pt x="0" y="0"/>
                  </a:moveTo>
                  <a:lnTo>
                    <a:pt x="408" y="0"/>
                  </a:lnTo>
                  <a:lnTo>
                    <a:pt x="317" y="499"/>
                  </a:lnTo>
                  <a:lnTo>
                    <a:pt x="317" y="1225"/>
                  </a:lnTo>
                  <a:lnTo>
                    <a:pt x="90" y="1225"/>
                  </a:lnTo>
                  <a:lnTo>
                    <a:pt x="90" y="499"/>
                  </a:lnTo>
                  <a:lnTo>
                    <a:pt x="0" y="0"/>
                  </a:lnTo>
                  <a:close/>
                </a:path>
              </a:pathLst>
            </a:custGeom>
            <a:solidFill>
              <a:schemeClr val="bg1"/>
            </a:solid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23" name="AutoShape 106" descr="Outlined diamond">
              <a:extLst>
                <a:ext uri="{FF2B5EF4-FFF2-40B4-BE49-F238E27FC236}">
                  <a16:creationId xmlns:a16="http://schemas.microsoft.com/office/drawing/2014/main" id="{3AD0AD55-0FC3-4688-9CEE-64BCD10CC254}"/>
                </a:ext>
              </a:extLst>
            </p:cNvPr>
            <p:cNvSpPr>
              <a:spLocks noChangeArrowheads="1"/>
            </p:cNvSpPr>
            <p:nvPr/>
          </p:nvSpPr>
          <p:spPr bwMode="auto">
            <a:xfrm>
              <a:off x="568" y="1117"/>
              <a:ext cx="225" cy="46"/>
            </a:xfrm>
            <a:custGeom>
              <a:avLst/>
              <a:gdLst>
                <a:gd name="G0" fmla="+- 3073 0 0"/>
                <a:gd name="G1" fmla="+- 21600 0 3073"/>
                <a:gd name="G2" fmla="*/ 3073 1 2"/>
                <a:gd name="G3" fmla="+- 21600 0 G2"/>
                <a:gd name="G4" fmla="+/ 3073 21600 2"/>
                <a:gd name="G5" fmla="+/ G1 0 2"/>
                <a:gd name="G6" fmla="*/ 21600 21600 3073"/>
                <a:gd name="G7" fmla="*/ G6 1 2"/>
                <a:gd name="G8" fmla="+- 21600 0 G7"/>
                <a:gd name="G9" fmla="*/ 21600 1 2"/>
                <a:gd name="G10" fmla="+- 3073 0 G9"/>
                <a:gd name="G11" fmla="?: G10 G8 0"/>
                <a:gd name="G12" fmla="?: G10 G7 21600"/>
                <a:gd name="T0" fmla="*/ 20063 w 21600"/>
                <a:gd name="T1" fmla="*/ 10800 h 21600"/>
                <a:gd name="T2" fmla="*/ 10800 w 21600"/>
                <a:gd name="T3" fmla="*/ 21600 h 21600"/>
                <a:gd name="T4" fmla="*/ 1537 w 21600"/>
                <a:gd name="T5" fmla="*/ 10800 h 21600"/>
                <a:gd name="T6" fmla="*/ 10800 w 21600"/>
                <a:gd name="T7" fmla="*/ 0 h 21600"/>
                <a:gd name="T8" fmla="*/ 3337 w 21600"/>
                <a:gd name="T9" fmla="*/ 3337 h 21600"/>
                <a:gd name="T10" fmla="*/ 18263 w 21600"/>
                <a:gd name="T11" fmla="*/ 18263 h 21600"/>
              </a:gdLst>
              <a:ahLst/>
              <a:cxnLst>
                <a:cxn ang="0">
                  <a:pos x="T0" y="T1"/>
                </a:cxn>
                <a:cxn ang="0">
                  <a:pos x="T2" y="T3"/>
                </a:cxn>
                <a:cxn ang="0">
                  <a:pos x="T4" y="T5"/>
                </a:cxn>
                <a:cxn ang="0">
                  <a:pos x="T6" y="T7"/>
                </a:cxn>
              </a:cxnLst>
              <a:rect l="T8" t="T9" r="T10" b="T11"/>
              <a:pathLst>
                <a:path w="21600" h="21600">
                  <a:moveTo>
                    <a:pt x="0" y="0"/>
                  </a:moveTo>
                  <a:lnTo>
                    <a:pt x="3073" y="21600"/>
                  </a:lnTo>
                  <a:lnTo>
                    <a:pt x="18527" y="21600"/>
                  </a:lnTo>
                  <a:lnTo>
                    <a:pt x="21600" y="0"/>
                  </a:lnTo>
                  <a:close/>
                </a:path>
              </a:pathLst>
            </a:custGeom>
            <a:pattFill prst="openDmnd">
              <a:fgClr>
                <a:schemeClr val="tx1"/>
              </a:fgClr>
              <a:bgClr>
                <a:schemeClr val="bg1"/>
              </a:bgClr>
            </a:pattFill>
            <a:ln w="9525">
              <a:solidFill>
                <a:schemeClr val="tx1"/>
              </a:solidFill>
              <a:miter lim="800000"/>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24" name="AutoShape 107" descr="Small checker board">
              <a:extLst>
                <a:ext uri="{FF2B5EF4-FFF2-40B4-BE49-F238E27FC236}">
                  <a16:creationId xmlns:a16="http://schemas.microsoft.com/office/drawing/2014/main" id="{784D2B3F-370B-4352-8BA9-CB005A860227}"/>
                </a:ext>
              </a:extLst>
            </p:cNvPr>
            <p:cNvSpPr>
              <a:spLocks noChangeArrowheads="1"/>
            </p:cNvSpPr>
            <p:nvPr/>
          </p:nvSpPr>
          <p:spPr bwMode="auto">
            <a:xfrm flipV="1">
              <a:off x="544" y="2341"/>
              <a:ext cx="271" cy="227"/>
            </a:xfrm>
            <a:prstGeom prst="triangle">
              <a:avLst>
                <a:gd name="adj" fmla="val 50000"/>
              </a:avLst>
            </a:prstGeom>
            <a:pattFill prst="smCheck">
              <a:fgClr>
                <a:schemeClr val="tx1"/>
              </a:fgClr>
              <a:bgClr>
                <a:schemeClr val="bg1"/>
              </a:bgClr>
            </a:pattFill>
            <a:ln w="9525">
              <a:solidFill>
                <a:schemeClr val="tx1"/>
              </a:solidFill>
              <a:miter lim="800000"/>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grpSp>
      <p:sp>
        <p:nvSpPr>
          <p:cNvPr id="125" name="Line 108">
            <a:extLst>
              <a:ext uri="{FF2B5EF4-FFF2-40B4-BE49-F238E27FC236}">
                <a16:creationId xmlns:a16="http://schemas.microsoft.com/office/drawing/2014/main" id="{289909F9-1043-413C-9AAB-747DFB38D4EF}"/>
              </a:ext>
            </a:extLst>
          </p:cNvPr>
          <p:cNvSpPr>
            <a:spLocks noChangeShapeType="1"/>
          </p:cNvSpPr>
          <p:nvPr/>
        </p:nvSpPr>
        <p:spPr bwMode="auto">
          <a:xfrm>
            <a:off x="4620386" y="4078892"/>
            <a:ext cx="277813" cy="0"/>
          </a:xfrm>
          <a:prstGeom prst="line">
            <a:avLst/>
          </a:prstGeom>
          <a:noFill/>
          <a:ln w="2857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26" name="Rectangle 109" descr="60%">
            <a:extLst>
              <a:ext uri="{FF2B5EF4-FFF2-40B4-BE49-F238E27FC236}">
                <a16:creationId xmlns:a16="http://schemas.microsoft.com/office/drawing/2014/main" id="{9F6DE54F-8F66-49A5-8A2E-0C6B291D12D5}"/>
              </a:ext>
            </a:extLst>
          </p:cNvPr>
          <p:cNvSpPr>
            <a:spLocks noChangeArrowheads="1"/>
          </p:cNvSpPr>
          <p:nvPr/>
        </p:nvSpPr>
        <p:spPr bwMode="auto">
          <a:xfrm>
            <a:off x="918336" y="5079017"/>
            <a:ext cx="53975" cy="346075"/>
          </a:xfrm>
          <a:prstGeom prst="rect">
            <a:avLst/>
          </a:prstGeom>
          <a:pattFill prst="pct60">
            <a:fgClr>
              <a:schemeClr val="bg1"/>
            </a:fgClr>
            <a:bgClr>
              <a:srgbClr val="008000"/>
            </a:bgClr>
          </a:pattFill>
          <a:ln w="9525" algn="ctr">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grpSp>
        <p:nvGrpSpPr>
          <p:cNvPr id="127" name="Group 110">
            <a:extLst>
              <a:ext uri="{FF2B5EF4-FFF2-40B4-BE49-F238E27FC236}">
                <a16:creationId xmlns:a16="http://schemas.microsoft.com/office/drawing/2014/main" id="{C83EA5AE-02DB-48C5-8C41-4A9F6EB5B9F8}"/>
              </a:ext>
            </a:extLst>
          </p:cNvPr>
          <p:cNvGrpSpPr>
            <a:grpSpLocks/>
          </p:cNvGrpSpPr>
          <p:nvPr/>
        </p:nvGrpSpPr>
        <p:grpSpPr bwMode="auto">
          <a:xfrm>
            <a:off x="721486" y="4386867"/>
            <a:ext cx="446088" cy="741363"/>
            <a:chOff x="340" y="2296"/>
            <a:chExt cx="453" cy="952"/>
          </a:xfrm>
        </p:grpSpPr>
        <p:sp>
          <p:nvSpPr>
            <p:cNvPr id="128" name="AutoShape 111">
              <a:extLst>
                <a:ext uri="{FF2B5EF4-FFF2-40B4-BE49-F238E27FC236}">
                  <a16:creationId xmlns:a16="http://schemas.microsoft.com/office/drawing/2014/main" id="{2A63B3AF-F5F4-4208-ACF6-475402984F1C}"/>
                </a:ext>
              </a:extLst>
            </p:cNvPr>
            <p:cNvSpPr>
              <a:spLocks noChangeArrowheads="1"/>
            </p:cNvSpPr>
            <p:nvPr/>
          </p:nvSpPr>
          <p:spPr bwMode="auto">
            <a:xfrm>
              <a:off x="340" y="2296"/>
              <a:ext cx="453" cy="181"/>
            </a:xfrm>
            <a:prstGeom prst="triangle">
              <a:avLst>
                <a:gd name="adj" fmla="val 50000"/>
              </a:avLst>
            </a:prstGeom>
            <a:solidFill>
              <a:schemeClr val="bg1"/>
            </a:solidFill>
            <a:ln w="9525">
              <a:solidFill>
                <a:schemeClr val="tx1"/>
              </a:solidFill>
              <a:miter lim="800000"/>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29" name="AutoShape 112">
              <a:extLst>
                <a:ext uri="{FF2B5EF4-FFF2-40B4-BE49-F238E27FC236}">
                  <a16:creationId xmlns:a16="http://schemas.microsoft.com/office/drawing/2014/main" id="{2693245A-7081-4450-80FA-8D812466533F}"/>
                </a:ext>
              </a:extLst>
            </p:cNvPr>
            <p:cNvSpPr>
              <a:spLocks noChangeArrowheads="1"/>
            </p:cNvSpPr>
            <p:nvPr/>
          </p:nvSpPr>
          <p:spPr bwMode="auto">
            <a:xfrm>
              <a:off x="340" y="2477"/>
              <a:ext cx="453" cy="589"/>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chemeClr val="bg1"/>
            </a:solidFill>
            <a:ln w="9525">
              <a:solidFill>
                <a:schemeClr val="tx1"/>
              </a:solidFill>
              <a:miter lim="800000"/>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30" name="AutoShape 113">
              <a:extLst>
                <a:ext uri="{FF2B5EF4-FFF2-40B4-BE49-F238E27FC236}">
                  <a16:creationId xmlns:a16="http://schemas.microsoft.com/office/drawing/2014/main" id="{D485443D-A4A6-4409-8B33-D9AB4681E5DC}"/>
                </a:ext>
              </a:extLst>
            </p:cNvPr>
            <p:cNvSpPr>
              <a:spLocks noChangeArrowheads="1"/>
            </p:cNvSpPr>
            <p:nvPr/>
          </p:nvSpPr>
          <p:spPr bwMode="auto">
            <a:xfrm rot="-10800000">
              <a:off x="430" y="3067"/>
              <a:ext cx="272" cy="181"/>
            </a:xfrm>
            <a:prstGeom prst="triangle">
              <a:avLst>
                <a:gd name="adj" fmla="val 50000"/>
              </a:avLst>
            </a:prstGeom>
            <a:solidFill>
              <a:schemeClr val="bg1"/>
            </a:solidFill>
            <a:ln w="9525">
              <a:solidFill>
                <a:schemeClr val="tx1"/>
              </a:solidFill>
              <a:miter lim="800000"/>
              <a:headEnd/>
              <a:tailEnd/>
            </a:ln>
            <a:effectLst/>
          </p:spPr>
          <p:txBody>
            <a:bodyPr wrap="none" anchor="ct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31" name="Freeform 114">
              <a:extLst>
                <a:ext uri="{FF2B5EF4-FFF2-40B4-BE49-F238E27FC236}">
                  <a16:creationId xmlns:a16="http://schemas.microsoft.com/office/drawing/2014/main" id="{028ADA54-2BBB-48B2-814C-76F4C354A85B}"/>
                </a:ext>
              </a:extLst>
            </p:cNvPr>
            <p:cNvSpPr>
              <a:spLocks/>
            </p:cNvSpPr>
            <p:nvPr/>
          </p:nvSpPr>
          <p:spPr bwMode="auto">
            <a:xfrm>
              <a:off x="385" y="2651"/>
              <a:ext cx="363" cy="100"/>
            </a:xfrm>
            <a:custGeom>
              <a:avLst/>
              <a:gdLst/>
              <a:ahLst/>
              <a:cxnLst>
                <a:cxn ang="0">
                  <a:pos x="0" y="53"/>
                </a:cxn>
                <a:cxn ang="0">
                  <a:pos x="91" y="8"/>
                </a:cxn>
                <a:cxn ang="0">
                  <a:pos x="227" y="99"/>
                </a:cxn>
                <a:cxn ang="0">
                  <a:pos x="363" y="8"/>
                </a:cxn>
              </a:cxnLst>
              <a:rect l="0" t="0" r="r" b="b"/>
              <a:pathLst>
                <a:path w="363" h="99">
                  <a:moveTo>
                    <a:pt x="0" y="53"/>
                  </a:moveTo>
                  <a:cubicBezTo>
                    <a:pt x="26" y="26"/>
                    <a:pt x="53" y="0"/>
                    <a:pt x="91" y="8"/>
                  </a:cubicBezTo>
                  <a:cubicBezTo>
                    <a:pt x="129" y="16"/>
                    <a:pt x="182" y="99"/>
                    <a:pt x="227" y="99"/>
                  </a:cubicBezTo>
                  <a:cubicBezTo>
                    <a:pt x="272" y="99"/>
                    <a:pt x="340" y="23"/>
                    <a:pt x="363" y="8"/>
                  </a:cubicBezTo>
                </a:path>
              </a:pathLst>
            </a:custGeom>
            <a:solidFill>
              <a:schemeClr val="bg1"/>
            </a:solidFill>
            <a:ln w="9525" cap="flat">
              <a:solidFill>
                <a:schemeClr val="tx1"/>
              </a:solidFill>
              <a:prstDash val="sysDot"/>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grpSp>
      <p:sp>
        <p:nvSpPr>
          <p:cNvPr id="132" name="AutoShape 115" descr="60%">
            <a:extLst>
              <a:ext uri="{FF2B5EF4-FFF2-40B4-BE49-F238E27FC236}">
                <a16:creationId xmlns:a16="http://schemas.microsoft.com/office/drawing/2014/main" id="{3543FF3D-10F9-4258-AC25-4A576777AC6A}"/>
              </a:ext>
            </a:extLst>
          </p:cNvPr>
          <p:cNvSpPr>
            <a:spLocks noChangeArrowheads="1"/>
          </p:cNvSpPr>
          <p:nvPr/>
        </p:nvSpPr>
        <p:spPr bwMode="auto">
          <a:xfrm>
            <a:off x="2618549" y="3893155"/>
            <a:ext cx="1057275" cy="790575"/>
          </a:xfrm>
          <a:custGeom>
            <a:avLst/>
            <a:gdLst>
              <a:gd name="T0" fmla="*/ 899026 w 21600"/>
              <a:gd name="T1" fmla="*/ 395288 h 21600"/>
              <a:gd name="T2" fmla="*/ 528638 w 21600"/>
              <a:gd name="T3" fmla="*/ 790575 h 21600"/>
              <a:gd name="T4" fmla="*/ 158249 w 21600"/>
              <a:gd name="T5" fmla="*/ 395288 h 21600"/>
              <a:gd name="T6" fmla="*/ 528638 w 21600"/>
              <a:gd name="T7" fmla="*/ 0 h 21600"/>
              <a:gd name="T8" fmla="*/ 0 60000 65536"/>
              <a:gd name="T9" fmla="*/ 0 60000 65536"/>
              <a:gd name="T10" fmla="*/ 0 60000 65536"/>
              <a:gd name="T11" fmla="*/ 0 60000 65536"/>
              <a:gd name="T12" fmla="*/ 5033 w 21600"/>
              <a:gd name="T13" fmla="*/ 5033 h 21600"/>
              <a:gd name="T14" fmla="*/ 16567 w 21600"/>
              <a:gd name="T15" fmla="*/ 16567 h 21600"/>
            </a:gdLst>
            <a:ahLst/>
            <a:cxnLst>
              <a:cxn ang="T8">
                <a:pos x="T0" y="T1"/>
              </a:cxn>
              <a:cxn ang="T9">
                <a:pos x="T2" y="T3"/>
              </a:cxn>
              <a:cxn ang="T10">
                <a:pos x="T4" y="T5"/>
              </a:cxn>
              <a:cxn ang="T11">
                <a:pos x="T6" y="T7"/>
              </a:cxn>
            </a:cxnLst>
            <a:rect l="T12" t="T13" r="T14" b="T15"/>
            <a:pathLst>
              <a:path w="21600" h="21600">
                <a:moveTo>
                  <a:pt x="0" y="0"/>
                </a:moveTo>
                <a:lnTo>
                  <a:pt x="6465" y="21600"/>
                </a:lnTo>
                <a:lnTo>
                  <a:pt x="15135" y="21600"/>
                </a:lnTo>
                <a:lnTo>
                  <a:pt x="21600" y="0"/>
                </a:lnTo>
                <a:close/>
              </a:path>
            </a:pathLst>
          </a:custGeom>
          <a:pattFill prst="pct60">
            <a:fgClr>
              <a:schemeClr val="bg1"/>
            </a:fgClr>
            <a:bgClr>
              <a:srgbClr val="008000"/>
            </a:bgClr>
          </a:pattFill>
          <a:ln w="9525" algn="ctr">
            <a:solidFill>
              <a:schemeClr val="tx1"/>
            </a:solidFill>
            <a:miter lim="800000"/>
            <a:headEnd/>
            <a:tailEnd/>
          </a:ln>
        </p:spPr>
        <p:txBody>
          <a:bodyPr wrap="none" anchor="ctr"/>
          <a:lstStyle/>
          <a:p>
            <a:pPr>
              <a:defRPr/>
            </a:pPr>
            <a:endParaRPr lang="en-US">
              <a:solidFill>
                <a:schemeClr val="tx1"/>
              </a:solidFill>
              <a:latin typeface="+mj-lt"/>
            </a:endParaRPr>
          </a:p>
        </p:txBody>
      </p:sp>
      <p:sp>
        <p:nvSpPr>
          <p:cNvPr id="133" name="Rectangle 116">
            <a:extLst>
              <a:ext uri="{FF2B5EF4-FFF2-40B4-BE49-F238E27FC236}">
                <a16:creationId xmlns:a16="http://schemas.microsoft.com/office/drawing/2014/main" id="{5D3EAAC9-8CE2-4DBF-AD87-1BA802F3A030}"/>
              </a:ext>
            </a:extLst>
          </p:cNvPr>
          <p:cNvSpPr>
            <a:spLocks noChangeArrowheads="1"/>
          </p:cNvSpPr>
          <p:nvPr/>
        </p:nvSpPr>
        <p:spPr bwMode="auto">
          <a:xfrm>
            <a:off x="3093211" y="4621817"/>
            <a:ext cx="136525" cy="309563"/>
          </a:xfrm>
          <a:prstGeom prst="rect">
            <a:avLst/>
          </a:prstGeom>
          <a:solidFill>
            <a:schemeClr val="bg1"/>
          </a:solidFill>
          <a:ln w="9525">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147" name="Rectangle 117">
            <a:extLst>
              <a:ext uri="{FF2B5EF4-FFF2-40B4-BE49-F238E27FC236}">
                <a16:creationId xmlns:a16="http://schemas.microsoft.com/office/drawing/2014/main" id="{E824E729-A67C-48B4-BA60-3A311078BA3F}"/>
              </a:ext>
            </a:extLst>
          </p:cNvPr>
          <p:cNvSpPr>
            <a:spLocks noChangeArrowheads="1"/>
          </p:cNvSpPr>
          <p:nvPr/>
        </p:nvSpPr>
        <p:spPr bwMode="auto">
          <a:xfrm>
            <a:off x="2615374" y="3647092"/>
            <a:ext cx="1058862" cy="255588"/>
          </a:xfrm>
          <a:prstGeom prst="rect">
            <a:avLst/>
          </a:prstGeom>
          <a:solidFill>
            <a:schemeClr val="bg1"/>
          </a:solidFill>
          <a:ln w="9525">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148" name="Rectangle 118">
            <a:extLst>
              <a:ext uri="{FF2B5EF4-FFF2-40B4-BE49-F238E27FC236}">
                <a16:creationId xmlns:a16="http://schemas.microsoft.com/office/drawing/2014/main" id="{F6D8B6D9-396B-4B8C-9261-A58232818A87}"/>
              </a:ext>
            </a:extLst>
          </p:cNvPr>
          <p:cNvSpPr>
            <a:spLocks noChangeArrowheads="1"/>
          </p:cNvSpPr>
          <p:nvPr/>
        </p:nvSpPr>
        <p:spPr bwMode="auto">
          <a:xfrm>
            <a:off x="2956686" y="4725005"/>
            <a:ext cx="409575" cy="128587"/>
          </a:xfrm>
          <a:prstGeom prst="rect">
            <a:avLst/>
          </a:prstGeom>
          <a:solidFill>
            <a:schemeClr val="bg1"/>
          </a:solidFill>
          <a:ln w="9525">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149" name="Line 119">
            <a:extLst>
              <a:ext uri="{FF2B5EF4-FFF2-40B4-BE49-F238E27FC236}">
                <a16:creationId xmlns:a16="http://schemas.microsoft.com/office/drawing/2014/main" id="{F6E5C7DB-5777-41E2-88DD-76CFBB24429B}"/>
              </a:ext>
            </a:extLst>
          </p:cNvPr>
          <p:cNvSpPr>
            <a:spLocks noChangeShapeType="1"/>
          </p:cNvSpPr>
          <p:nvPr/>
        </p:nvSpPr>
        <p:spPr bwMode="auto">
          <a:xfrm flipV="1">
            <a:off x="3093211" y="4571017"/>
            <a:ext cx="33338" cy="50800"/>
          </a:xfrm>
          <a:prstGeom prst="line">
            <a:avLst/>
          </a:pr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50" name="Line 120">
            <a:extLst>
              <a:ext uri="{FF2B5EF4-FFF2-40B4-BE49-F238E27FC236}">
                <a16:creationId xmlns:a16="http://schemas.microsoft.com/office/drawing/2014/main" id="{F76AC1B0-708F-4C99-9EA5-353B930419A7}"/>
              </a:ext>
            </a:extLst>
          </p:cNvPr>
          <p:cNvSpPr>
            <a:spLocks noChangeShapeType="1"/>
          </p:cNvSpPr>
          <p:nvPr/>
        </p:nvSpPr>
        <p:spPr bwMode="auto">
          <a:xfrm flipH="1" flipV="1">
            <a:off x="3196399" y="4571017"/>
            <a:ext cx="33337" cy="50800"/>
          </a:xfrm>
          <a:prstGeom prst="line">
            <a:avLst/>
          </a:prstGeom>
          <a:noFill/>
          <a:ln w="9525">
            <a:solidFill>
              <a:schemeClr val="tx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51" name="Rectangle 121">
            <a:extLst>
              <a:ext uri="{FF2B5EF4-FFF2-40B4-BE49-F238E27FC236}">
                <a16:creationId xmlns:a16="http://schemas.microsoft.com/office/drawing/2014/main" id="{F3DEF27B-0288-4FB1-B62B-46873439766F}"/>
              </a:ext>
            </a:extLst>
          </p:cNvPr>
          <p:cNvSpPr>
            <a:spLocks noChangeArrowheads="1"/>
          </p:cNvSpPr>
          <p:nvPr/>
        </p:nvSpPr>
        <p:spPr bwMode="auto">
          <a:xfrm>
            <a:off x="3126549" y="3902680"/>
            <a:ext cx="69850" cy="668337"/>
          </a:xfrm>
          <a:prstGeom prst="rect">
            <a:avLst/>
          </a:prstGeom>
          <a:solidFill>
            <a:schemeClr val="bg1"/>
          </a:solidFill>
          <a:ln w="9525">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152" name="Line 122">
            <a:extLst>
              <a:ext uri="{FF2B5EF4-FFF2-40B4-BE49-F238E27FC236}">
                <a16:creationId xmlns:a16="http://schemas.microsoft.com/office/drawing/2014/main" id="{805CCF58-CD5A-449F-940A-2F2F093F0CDC}"/>
              </a:ext>
            </a:extLst>
          </p:cNvPr>
          <p:cNvSpPr>
            <a:spLocks noChangeShapeType="1"/>
          </p:cNvSpPr>
          <p:nvPr/>
        </p:nvSpPr>
        <p:spPr bwMode="auto">
          <a:xfrm>
            <a:off x="2956686" y="4699605"/>
            <a:ext cx="409575" cy="0"/>
          </a:xfrm>
          <a:prstGeom prst="line">
            <a:avLst/>
          </a:prstGeom>
          <a:noFill/>
          <a:ln w="9525">
            <a:solidFill>
              <a:schemeClr val="tx1"/>
            </a:solidFill>
            <a:prstDash val="lgDashDot"/>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53" name="Line 125">
            <a:extLst>
              <a:ext uri="{FF2B5EF4-FFF2-40B4-BE49-F238E27FC236}">
                <a16:creationId xmlns:a16="http://schemas.microsoft.com/office/drawing/2014/main" id="{2C487E73-3DE7-4109-9250-048398D2B294}"/>
              </a:ext>
            </a:extLst>
          </p:cNvPr>
          <p:cNvSpPr>
            <a:spLocks noChangeShapeType="1"/>
          </p:cNvSpPr>
          <p:nvPr/>
        </p:nvSpPr>
        <p:spPr bwMode="auto">
          <a:xfrm>
            <a:off x="4714049" y="5215542"/>
            <a:ext cx="0" cy="96838"/>
          </a:xfrm>
          <a:prstGeom prst="line">
            <a:avLst/>
          </a:prstGeom>
          <a:noFill/>
          <a:ln w="38100">
            <a:solidFill>
              <a:schemeClr val="bg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54" name="Line 126">
            <a:extLst>
              <a:ext uri="{FF2B5EF4-FFF2-40B4-BE49-F238E27FC236}">
                <a16:creationId xmlns:a16="http://schemas.microsoft.com/office/drawing/2014/main" id="{C8F74DC9-6C0F-45C3-B399-222C991CB7CB}"/>
              </a:ext>
            </a:extLst>
          </p:cNvPr>
          <p:cNvSpPr>
            <a:spLocks noChangeShapeType="1"/>
          </p:cNvSpPr>
          <p:nvPr/>
        </p:nvSpPr>
        <p:spPr bwMode="auto">
          <a:xfrm>
            <a:off x="4806124" y="5217130"/>
            <a:ext cx="0" cy="98425"/>
          </a:xfrm>
          <a:prstGeom prst="line">
            <a:avLst/>
          </a:prstGeom>
          <a:noFill/>
          <a:ln w="38100">
            <a:solidFill>
              <a:schemeClr val="bg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55" name="Line 127">
            <a:extLst>
              <a:ext uri="{FF2B5EF4-FFF2-40B4-BE49-F238E27FC236}">
                <a16:creationId xmlns:a16="http://schemas.microsoft.com/office/drawing/2014/main" id="{10283F74-561D-4042-9B27-EDD915443D83}"/>
              </a:ext>
            </a:extLst>
          </p:cNvPr>
          <p:cNvSpPr>
            <a:spLocks noChangeShapeType="1"/>
          </p:cNvSpPr>
          <p:nvPr/>
        </p:nvSpPr>
        <p:spPr bwMode="auto">
          <a:xfrm>
            <a:off x="4075874" y="5013930"/>
            <a:ext cx="57150" cy="0"/>
          </a:xfrm>
          <a:prstGeom prst="line">
            <a:avLst/>
          </a:prstGeom>
          <a:noFill/>
          <a:ln w="38100">
            <a:solidFill>
              <a:schemeClr val="bg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56" name="Line 128">
            <a:extLst>
              <a:ext uri="{FF2B5EF4-FFF2-40B4-BE49-F238E27FC236}">
                <a16:creationId xmlns:a16="http://schemas.microsoft.com/office/drawing/2014/main" id="{2F058A2D-B2D1-4BC8-A02F-62F1BE0231B6}"/>
              </a:ext>
            </a:extLst>
          </p:cNvPr>
          <p:cNvSpPr>
            <a:spLocks noChangeShapeType="1"/>
          </p:cNvSpPr>
          <p:nvPr/>
        </p:nvSpPr>
        <p:spPr bwMode="auto">
          <a:xfrm>
            <a:off x="4074286" y="5094892"/>
            <a:ext cx="57150" cy="0"/>
          </a:xfrm>
          <a:prstGeom prst="line">
            <a:avLst/>
          </a:prstGeom>
          <a:noFill/>
          <a:ln w="38100">
            <a:solidFill>
              <a:schemeClr val="bg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57" name="Line 129">
            <a:extLst>
              <a:ext uri="{FF2B5EF4-FFF2-40B4-BE49-F238E27FC236}">
                <a16:creationId xmlns:a16="http://schemas.microsoft.com/office/drawing/2014/main" id="{B8D5CD54-A615-45D8-9B57-E5C29AB4FE83}"/>
              </a:ext>
            </a:extLst>
          </p:cNvPr>
          <p:cNvSpPr>
            <a:spLocks noChangeShapeType="1"/>
          </p:cNvSpPr>
          <p:nvPr/>
        </p:nvSpPr>
        <p:spPr bwMode="auto">
          <a:xfrm>
            <a:off x="2321686" y="3481992"/>
            <a:ext cx="57150" cy="0"/>
          </a:xfrm>
          <a:prstGeom prst="line">
            <a:avLst/>
          </a:prstGeom>
          <a:noFill/>
          <a:ln w="38100">
            <a:solidFill>
              <a:schemeClr val="bg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58" name="Line 130">
            <a:extLst>
              <a:ext uri="{FF2B5EF4-FFF2-40B4-BE49-F238E27FC236}">
                <a16:creationId xmlns:a16="http://schemas.microsoft.com/office/drawing/2014/main" id="{34D109F2-69B4-4BAC-882A-C445D0003962}"/>
              </a:ext>
            </a:extLst>
          </p:cNvPr>
          <p:cNvSpPr>
            <a:spLocks noChangeShapeType="1"/>
          </p:cNvSpPr>
          <p:nvPr/>
        </p:nvSpPr>
        <p:spPr bwMode="auto">
          <a:xfrm>
            <a:off x="2320099" y="3564542"/>
            <a:ext cx="57150" cy="0"/>
          </a:xfrm>
          <a:prstGeom prst="line">
            <a:avLst/>
          </a:prstGeom>
          <a:noFill/>
          <a:ln w="38100">
            <a:solidFill>
              <a:schemeClr val="bg1"/>
            </a:solidFill>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sp>
        <p:nvSpPr>
          <p:cNvPr id="159" name="Rectangle 131" descr="60%">
            <a:extLst>
              <a:ext uri="{FF2B5EF4-FFF2-40B4-BE49-F238E27FC236}">
                <a16:creationId xmlns:a16="http://schemas.microsoft.com/office/drawing/2014/main" id="{BEE350A4-691D-4EF1-A493-F006944F3B32}"/>
              </a:ext>
            </a:extLst>
          </p:cNvPr>
          <p:cNvSpPr>
            <a:spLocks noChangeArrowheads="1"/>
          </p:cNvSpPr>
          <p:nvPr/>
        </p:nvSpPr>
        <p:spPr bwMode="auto">
          <a:xfrm>
            <a:off x="4653724" y="4267805"/>
            <a:ext cx="207962" cy="350837"/>
          </a:xfrm>
          <a:prstGeom prst="rect">
            <a:avLst/>
          </a:prstGeom>
          <a:pattFill prst="pct60">
            <a:fgClr>
              <a:schemeClr val="bg1"/>
            </a:fgClr>
            <a:bgClr>
              <a:srgbClr val="008000"/>
            </a:bgClr>
          </a:pattFill>
          <a:ln w="9525" algn="ctr">
            <a:no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160" name="AutoShape 132">
            <a:extLst>
              <a:ext uri="{FF2B5EF4-FFF2-40B4-BE49-F238E27FC236}">
                <a16:creationId xmlns:a16="http://schemas.microsoft.com/office/drawing/2014/main" id="{B1088D48-ABC6-44AB-B441-F1A311F82284}"/>
              </a:ext>
            </a:extLst>
          </p:cNvPr>
          <p:cNvSpPr>
            <a:spLocks noChangeArrowheads="1"/>
          </p:cNvSpPr>
          <p:nvPr/>
        </p:nvSpPr>
        <p:spPr bwMode="auto">
          <a:xfrm>
            <a:off x="684974" y="3794730"/>
            <a:ext cx="111125" cy="98425"/>
          </a:xfrm>
          <a:custGeom>
            <a:avLst/>
            <a:gdLst>
              <a:gd name="T0" fmla="*/ 55563 w 21600"/>
              <a:gd name="T1" fmla="*/ 0 h 21600"/>
              <a:gd name="T2" fmla="*/ 16273 w 21600"/>
              <a:gd name="T3" fmla="*/ 14413 h 21600"/>
              <a:gd name="T4" fmla="*/ 0 w 21600"/>
              <a:gd name="T5" fmla="*/ 49213 h 21600"/>
              <a:gd name="T6" fmla="*/ 16273 w 21600"/>
              <a:gd name="T7" fmla="*/ 84012 h 21600"/>
              <a:gd name="T8" fmla="*/ 55563 w 21600"/>
              <a:gd name="T9" fmla="*/ 98425 h 21600"/>
              <a:gd name="T10" fmla="*/ 94852 w 21600"/>
              <a:gd name="T11" fmla="*/ 84012 h 21600"/>
              <a:gd name="T12" fmla="*/ 111125 w 21600"/>
              <a:gd name="T13" fmla="*/ 49213 h 21600"/>
              <a:gd name="T14" fmla="*/ 94852 w 21600"/>
              <a:gd name="T15" fmla="*/ 14413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0000FF"/>
          </a:solidFill>
          <a:ln w="9525">
            <a:solidFill>
              <a:schemeClr val="tx1"/>
            </a:solidFill>
            <a:round/>
            <a:headEnd/>
            <a:tailEnd/>
          </a:ln>
        </p:spPr>
        <p:txBody>
          <a:bodyPr wrap="none" anchor="ctr"/>
          <a:lstStyle/>
          <a:p>
            <a:pPr>
              <a:defRPr/>
            </a:pPr>
            <a:endParaRPr lang="en-US">
              <a:solidFill>
                <a:schemeClr val="tx1"/>
              </a:solidFill>
              <a:latin typeface="+mj-lt"/>
            </a:endParaRPr>
          </a:p>
        </p:txBody>
      </p:sp>
      <p:cxnSp>
        <p:nvCxnSpPr>
          <p:cNvPr id="161" name="AutoShape 133">
            <a:extLst>
              <a:ext uri="{FF2B5EF4-FFF2-40B4-BE49-F238E27FC236}">
                <a16:creationId xmlns:a16="http://schemas.microsoft.com/office/drawing/2014/main" id="{D5B5C6F4-B708-4172-A2D1-BD4EA329654A}"/>
              </a:ext>
            </a:extLst>
          </p:cNvPr>
          <p:cNvCxnSpPr>
            <a:cxnSpLocks noChangeShapeType="1"/>
            <a:stCxn id="167" idx="0"/>
            <a:endCxn id="160" idx="6"/>
          </p:cNvCxnSpPr>
          <p:nvPr/>
        </p:nvCxnSpPr>
        <p:spPr bwMode="auto">
          <a:xfrm flipH="1">
            <a:off x="796099" y="3829655"/>
            <a:ext cx="1073150" cy="14287"/>
          </a:xfrm>
          <a:prstGeom prst="straightConnector1">
            <a:avLst/>
          </a:prstGeom>
          <a:noFill/>
          <a:ln w="19050">
            <a:solidFill>
              <a:srgbClr val="0000FF"/>
            </a:solidFill>
            <a:prstDash val="dash"/>
            <a:round/>
            <a:headEnd/>
            <a:tailEnd/>
          </a:ln>
        </p:spPr>
      </p:cxnSp>
      <p:sp>
        <p:nvSpPr>
          <p:cNvPr id="162" name="AutoShape 134">
            <a:extLst>
              <a:ext uri="{FF2B5EF4-FFF2-40B4-BE49-F238E27FC236}">
                <a16:creationId xmlns:a16="http://schemas.microsoft.com/office/drawing/2014/main" id="{BDA90A29-16D3-4C8A-980D-71538FC84B42}"/>
              </a:ext>
            </a:extLst>
          </p:cNvPr>
          <p:cNvSpPr>
            <a:spLocks noChangeArrowheads="1"/>
          </p:cNvSpPr>
          <p:nvPr/>
        </p:nvSpPr>
        <p:spPr bwMode="auto">
          <a:xfrm>
            <a:off x="1854961" y="5525105"/>
            <a:ext cx="111125" cy="96837"/>
          </a:xfrm>
          <a:custGeom>
            <a:avLst/>
            <a:gdLst>
              <a:gd name="T0" fmla="*/ 55563 w 21600"/>
              <a:gd name="T1" fmla="*/ 0 h 21600"/>
              <a:gd name="T2" fmla="*/ 16273 w 21600"/>
              <a:gd name="T3" fmla="*/ 14180 h 21600"/>
              <a:gd name="T4" fmla="*/ 0 w 21600"/>
              <a:gd name="T5" fmla="*/ 48419 h 21600"/>
              <a:gd name="T6" fmla="*/ 16273 w 21600"/>
              <a:gd name="T7" fmla="*/ 82657 h 21600"/>
              <a:gd name="T8" fmla="*/ 55563 w 21600"/>
              <a:gd name="T9" fmla="*/ 96837 h 21600"/>
              <a:gd name="T10" fmla="*/ 94852 w 21600"/>
              <a:gd name="T11" fmla="*/ 82657 h 21600"/>
              <a:gd name="T12" fmla="*/ 111125 w 21600"/>
              <a:gd name="T13" fmla="*/ 48419 h 21600"/>
              <a:gd name="T14" fmla="*/ 94852 w 21600"/>
              <a:gd name="T15" fmla="*/ 14180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0000FF"/>
          </a:solidFill>
          <a:ln w="9525">
            <a:solidFill>
              <a:schemeClr val="tx1"/>
            </a:solidFill>
            <a:round/>
            <a:headEnd/>
            <a:tailEnd/>
          </a:ln>
        </p:spPr>
        <p:txBody>
          <a:bodyPr wrap="none" anchor="ctr"/>
          <a:lstStyle/>
          <a:p>
            <a:pPr>
              <a:defRPr/>
            </a:pPr>
            <a:endParaRPr lang="en-US">
              <a:solidFill>
                <a:schemeClr val="tx1"/>
              </a:solidFill>
              <a:latin typeface="+mj-lt"/>
            </a:endParaRPr>
          </a:p>
        </p:txBody>
      </p:sp>
      <p:sp>
        <p:nvSpPr>
          <p:cNvPr id="163" name="AutoShape 135">
            <a:extLst>
              <a:ext uri="{FF2B5EF4-FFF2-40B4-BE49-F238E27FC236}">
                <a16:creationId xmlns:a16="http://schemas.microsoft.com/office/drawing/2014/main" id="{FEDAE43D-E17E-402F-BC3A-E25CC73A91D2}"/>
              </a:ext>
            </a:extLst>
          </p:cNvPr>
          <p:cNvSpPr>
            <a:spLocks noChangeArrowheads="1"/>
          </p:cNvSpPr>
          <p:nvPr/>
        </p:nvSpPr>
        <p:spPr bwMode="auto">
          <a:xfrm>
            <a:off x="3302761" y="4091592"/>
            <a:ext cx="111125" cy="96838"/>
          </a:xfrm>
          <a:custGeom>
            <a:avLst/>
            <a:gdLst>
              <a:gd name="T0" fmla="*/ 55563 w 21600"/>
              <a:gd name="T1" fmla="*/ 0 h 21600"/>
              <a:gd name="T2" fmla="*/ 16273 w 21600"/>
              <a:gd name="T3" fmla="*/ 14180 h 21600"/>
              <a:gd name="T4" fmla="*/ 0 w 21600"/>
              <a:gd name="T5" fmla="*/ 48419 h 21600"/>
              <a:gd name="T6" fmla="*/ 16273 w 21600"/>
              <a:gd name="T7" fmla="*/ 82658 h 21600"/>
              <a:gd name="T8" fmla="*/ 55563 w 21600"/>
              <a:gd name="T9" fmla="*/ 96838 h 21600"/>
              <a:gd name="T10" fmla="*/ 94852 w 21600"/>
              <a:gd name="T11" fmla="*/ 82658 h 21600"/>
              <a:gd name="T12" fmla="*/ 111125 w 21600"/>
              <a:gd name="T13" fmla="*/ 48419 h 21600"/>
              <a:gd name="T14" fmla="*/ 94852 w 21600"/>
              <a:gd name="T15" fmla="*/ 14180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0000FF"/>
          </a:solidFill>
          <a:ln w="9525">
            <a:solidFill>
              <a:schemeClr val="tx1"/>
            </a:solidFill>
            <a:round/>
            <a:headEnd/>
            <a:tailEnd/>
          </a:ln>
        </p:spPr>
        <p:txBody>
          <a:bodyPr wrap="none" anchor="ctr"/>
          <a:lstStyle/>
          <a:p>
            <a:pPr>
              <a:defRPr/>
            </a:pPr>
            <a:endParaRPr lang="en-US">
              <a:solidFill>
                <a:schemeClr val="tx1"/>
              </a:solidFill>
              <a:latin typeface="+mj-lt"/>
            </a:endParaRPr>
          </a:p>
        </p:txBody>
      </p:sp>
      <p:sp>
        <p:nvSpPr>
          <p:cNvPr id="164" name="Line 136">
            <a:extLst>
              <a:ext uri="{FF2B5EF4-FFF2-40B4-BE49-F238E27FC236}">
                <a16:creationId xmlns:a16="http://schemas.microsoft.com/office/drawing/2014/main" id="{2AA4EB67-EA98-41C3-8854-FF12CE22C8F7}"/>
              </a:ext>
            </a:extLst>
          </p:cNvPr>
          <p:cNvSpPr>
            <a:spLocks noChangeShapeType="1"/>
          </p:cNvSpPr>
          <p:nvPr/>
        </p:nvSpPr>
        <p:spPr bwMode="auto">
          <a:xfrm flipV="1">
            <a:off x="2021649" y="3151792"/>
            <a:ext cx="0" cy="1928813"/>
          </a:xfrm>
          <a:prstGeom prst="line">
            <a:avLst/>
          </a:prstGeom>
          <a:noFill/>
          <a:ln w="19050">
            <a:solidFill>
              <a:srgbClr val="0000FF"/>
            </a:solidFill>
            <a:prstDash val="dash"/>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cxnSp>
        <p:nvCxnSpPr>
          <p:cNvPr id="165" name="AutoShape 137">
            <a:extLst>
              <a:ext uri="{FF2B5EF4-FFF2-40B4-BE49-F238E27FC236}">
                <a16:creationId xmlns:a16="http://schemas.microsoft.com/office/drawing/2014/main" id="{2182C547-CDED-4916-9560-A2AEF4D26AC9}"/>
              </a:ext>
            </a:extLst>
          </p:cNvPr>
          <p:cNvCxnSpPr>
            <a:cxnSpLocks noChangeShapeType="1"/>
            <a:stCxn id="163" idx="0"/>
          </p:cNvCxnSpPr>
          <p:nvPr/>
        </p:nvCxnSpPr>
        <p:spPr bwMode="auto">
          <a:xfrm flipV="1">
            <a:off x="3358324" y="3242280"/>
            <a:ext cx="23812" cy="849312"/>
          </a:xfrm>
          <a:prstGeom prst="straightConnector1">
            <a:avLst/>
          </a:prstGeom>
          <a:noFill/>
          <a:ln w="19050">
            <a:solidFill>
              <a:srgbClr val="0000FF"/>
            </a:solidFill>
            <a:prstDash val="dash"/>
            <a:round/>
            <a:headEnd/>
            <a:tailEnd/>
          </a:ln>
        </p:spPr>
      </p:cxnSp>
      <p:cxnSp>
        <p:nvCxnSpPr>
          <p:cNvPr id="166" name="AutoShape 138">
            <a:extLst>
              <a:ext uri="{FF2B5EF4-FFF2-40B4-BE49-F238E27FC236}">
                <a16:creationId xmlns:a16="http://schemas.microsoft.com/office/drawing/2014/main" id="{9103267E-5091-47A9-AABA-FE40AF6B8C60}"/>
              </a:ext>
            </a:extLst>
          </p:cNvPr>
          <p:cNvCxnSpPr>
            <a:cxnSpLocks noChangeShapeType="1"/>
            <a:stCxn id="167" idx="1"/>
            <a:endCxn id="174" idx="2"/>
          </p:cNvCxnSpPr>
          <p:nvPr/>
        </p:nvCxnSpPr>
        <p:spPr bwMode="auto">
          <a:xfrm rot="16200000">
            <a:off x="2500280" y="2134999"/>
            <a:ext cx="395287" cy="1657350"/>
          </a:xfrm>
          <a:prstGeom prst="bentConnector3">
            <a:avLst>
              <a:gd name="adj1" fmla="val 48995"/>
            </a:avLst>
          </a:prstGeom>
          <a:noFill/>
          <a:ln w="19050">
            <a:solidFill>
              <a:srgbClr val="0000FF"/>
            </a:solidFill>
            <a:prstDash val="dash"/>
            <a:miter lim="800000"/>
            <a:headEnd/>
            <a:tailEnd/>
          </a:ln>
        </p:spPr>
      </p:cxnSp>
      <p:sp>
        <p:nvSpPr>
          <p:cNvPr id="167" name="Line 139">
            <a:extLst>
              <a:ext uri="{FF2B5EF4-FFF2-40B4-BE49-F238E27FC236}">
                <a16:creationId xmlns:a16="http://schemas.microsoft.com/office/drawing/2014/main" id="{98EEB814-551D-4422-BE20-2E4E68EB9F59}"/>
              </a:ext>
            </a:extLst>
          </p:cNvPr>
          <p:cNvSpPr>
            <a:spLocks noChangeShapeType="1"/>
          </p:cNvSpPr>
          <p:nvPr/>
        </p:nvSpPr>
        <p:spPr bwMode="auto">
          <a:xfrm flipV="1">
            <a:off x="1869249" y="3169255"/>
            <a:ext cx="0" cy="649287"/>
          </a:xfrm>
          <a:prstGeom prst="line">
            <a:avLst/>
          </a:prstGeom>
          <a:noFill/>
          <a:ln w="19050">
            <a:solidFill>
              <a:srgbClr val="0000FF"/>
            </a:solidFill>
            <a:prstDash val="dash"/>
            <a:round/>
            <a:headEnd/>
            <a:tailEnd/>
          </a:ln>
          <a:effectLst/>
        </p:spPr>
        <p:txBody>
          <a:bodyPr/>
          <a:lstStyle/>
          <a:p>
            <a:pPr>
              <a:defRPr/>
            </a:pPr>
            <a:endParaRPr lang="en-US">
              <a:solidFill>
                <a:schemeClr val="tx1"/>
              </a:solidFill>
              <a:effectLst>
                <a:outerShdw blurRad="38100" dist="38100" dir="2700000" algn="tl">
                  <a:srgbClr val="000000">
                    <a:alpha val="43137"/>
                  </a:srgbClr>
                </a:outerShdw>
              </a:effectLst>
              <a:latin typeface="+mj-lt"/>
            </a:endParaRPr>
          </a:p>
        </p:txBody>
      </p:sp>
      <p:cxnSp>
        <p:nvCxnSpPr>
          <p:cNvPr id="168" name="AutoShape 141">
            <a:extLst>
              <a:ext uri="{FF2B5EF4-FFF2-40B4-BE49-F238E27FC236}">
                <a16:creationId xmlns:a16="http://schemas.microsoft.com/office/drawing/2014/main" id="{ED01D507-94A6-4993-A5BD-B8C3B6F0B528}"/>
              </a:ext>
            </a:extLst>
          </p:cNvPr>
          <p:cNvCxnSpPr>
            <a:cxnSpLocks noChangeShapeType="1"/>
            <a:stCxn id="164" idx="0"/>
            <a:endCxn id="162" idx="0"/>
          </p:cNvCxnSpPr>
          <p:nvPr/>
        </p:nvCxnSpPr>
        <p:spPr bwMode="auto">
          <a:xfrm rot="5400000">
            <a:off x="1747012" y="5250467"/>
            <a:ext cx="438150" cy="111125"/>
          </a:xfrm>
          <a:prstGeom prst="bentConnector3">
            <a:avLst>
              <a:gd name="adj1" fmla="val 49255"/>
            </a:avLst>
          </a:prstGeom>
          <a:noFill/>
          <a:ln w="19050">
            <a:solidFill>
              <a:srgbClr val="0000FF"/>
            </a:solidFill>
            <a:prstDash val="dash"/>
            <a:miter lim="800000"/>
            <a:headEnd/>
            <a:tailEnd/>
          </a:ln>
        </p:spPr>
      </p:cxnSp>
      <p:sp>
        <p:nvSpPr>
          <p:cNvPr id="169" name="AutoShape 142">
            <a:extLst>
              <a:ext uri="{FF2B5EF4-FFF2-40B4-BE49-F238E27FC236}">
                <a16:creationId xmlns:a16="http://schemas.microsoft.com/office/drawing/2014/main" id="{23BD8912-6240-46A5-BD55-4CF555485C08}"/>
              </a:ext>
            </a:extLst>
          </p:cNvPr>
          <p:cNvSpPr>
            <a:spLocks noChangeArrowheads="1"/>
          </p:cNvSpPr>
          <p:nvPr/>
        </p:nvSpPr>
        <p:spPr bwMode="auto">
          <a:xfrm>
            <a:off x="5807836" y="5523517"/>
            <a:ext cx="111125" cy="98425"/>
          </a:xfrm>
          <a:custGeom>
            <a:avLst/>
            <a:gdLst>
              <a:gd name="T0" fmla="*/ 55563 w 21600"/>
              <a:gd name="T1" fmla="*/ 0 h 21600"/>
              <a:gd name="T2" fmla="*/ 16273 w 21600"/>
              <a:gd name="T3" fmla="*/ 14413 h 21600"/>
              <a:gd name="T4" fmla="*/ 0 w 21600"/>
              <a:gd name="T5" fmla="*/ 49213 h 21600"/>
              <a:gd name="T6" fmla="*/ 16273 w 21600"/>
              <a:gd name="T7" fmla="*/ 84012 h 21600"/>
              <a:gd name="T8" fmla="*/ 55563 w 21600"/>
              <a:gd name="T9" fmla="*/ 98425 h 21600"/>
              <a:gd name="T10" fmla="*/ 94852 w 21600"/>
              <a:gd name="T11" fmla="*/ 84012 h 21600"/>
              <a:gd name="T12" fmla="*/ 111125 w 21600"/>
              <a:gd name="T13" fmla="*/ 49213 h 21600"/>
              <a:gd name="T14" fmla="*/ 94852 w 21600"/>
              <a:gd name="T15" fmla="*/ 14413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0000FF"/>
          </a:solidFill>
          <a:ln w="9525">
            <a:solidFill>
              <a:schemeClr val="tx1"/>
            </a:solidFill>
            <a:round/>
            <a:headEnd/>
            <a:tailEnd/>
          </a:ln>
        </p:spPr>
        <p:txBody>
          <a:bodyPr wrap="none" anchor="ctr"/>
          <a:lstStyle/>
          <a:p>
            <a:pPr>
              <a:defRPr/>
            </a:pPr>
            <a:endParaRPr lang="en-US">
              <a:solidFill>
                <a:schemeClr val="tx1"/>
              </a:solidFill>
              <a:latin typeface="+mj-lt"/>
            </a:endParaRPr>
          </a:p>
        </p:txBody>
      </p:sp>
      <p:cxnSp>
        <p:nvCxnSpPr>
          <p:cNvPr id="170" name="AutoShape 143">
            <a:extLst>
              <a:ext uri="{FF2B5EF4-FFF2-40B4-BE49-F238E27FC236}">
                <a16:creationId xmlns:a16="http://schemas.microsoft.com/office/drawing/2014/main" id="{D762F3D2-A284-4A98-BCD5-CFF9E0FC926A}"/>
              </a:ext>
            </a:extLst>
          </p:cNvPr>
          <p:cNvCxnSpPr>
            <a:cxnSpLocks noChangeShapeType="1"/>
            <a:stCxn id="184" idx="2"/>
            <a:endCxn id="169" idx="0"/>
          </p:cNvCxnSpPr>
          <p:nvPr/>
        </p:nvCxnSpPr>
        <p:spPr bwMode="auto">
          <a:xfrm rot="16200000" flipH="1">
            <a:off x="4206049" y="3866167"/>
            <a:ext cx="2757487" cy="557213"/>
          </a:xfrm>
          <a:prstGeom prst="bentConnector3">
            <a:avLst>
              <a:gd name="adj1" fmla="val 49972"/>
            </a:avLst>
          </a:prstGeom>
          <a:noFill/>
          <a:ln w="19050">
            <a:solidFill>
              <a:srgbClr val="0000FF"/>
            </a:solidFill>
            <a:prstDash val="dash"/>
            <a:miter lim="800000"/>
            <a:headEnd/>
            <a:tailEnd/>
          </a:ln>
        </p:spPr>
      </p:cxnSp>
      <p:cxnSp>
        <p:nvCxnSpPr>
          <p:cNvPr id="171" name="AutoShape 144">
            <a:extLst>
              <a:ext uri="{FF2B5EF4-FFF2-40B4-BE49-F238E27FC236}">
                <a16:creationId xmlns:a16="http://schemas.microsoft.com/office/drawing/2014/main" id="{B63846BE-9CD1-42C4-954E-8A0328B63C25}"/>
              </a:ext>
            </a:extLst>
          </p:cNvPr>
          <p:cNvCxnSpPr>
            <a:cxnSpLocks noChangeShapeType="1"/>
          </p:cNvCxnSpPr>
          <p:nvPr/>
        </p:nvCxnSpPr>
        <p:spPr bwMode="auto">
          <a:xfrm rot="16200000">
            <a:off x="4190174" y="2959705"/>
            <a:ext cx="811212" cy="557212"/>
          </a:xfrm>
          <a:prstGeom prst="bentConnector3">
            <a:avLst>
              <a:gd name="adj1" fmla="val 49903"/>
            </a:avLst>
          </a:prstGeom>
          <a:noFill/>
          <a:ln w="19050">
            <a:solidFill>
              <a:srgbClr val="0000FF"/>
            </a:solidFill>
            <a:prstDash val="dash"/>
            <a:miter lim="800000"/>
            <a:headEnd/>
            <a:tailEnd/>
          </a:ln>
        </p:spPr>
      </p:cxnSp>
      <p:sp>
        <p:nvSpPr>
          <p:cNvPr id="172" name="AutoShape 147">
            <a:extLst>
              <a:ext uri="{FF2B5EF4-FFF2-40B4-BE49-F238E27FC236}">
                <a16:creationId xmlns:a16="http://schemas.microsoft.com/office/drawing/2014/main" id="{96AB1C22-AB79-4321-A108-9C2D42983B04}"/>
              </a:ext>
            </a:extLst>
          </p:cNvPr>
          <p:cNvSpPr>
            <a:spLocks noChangeArrowheads="1"/>
          </p:cNvSpPr>
          <p:nvPr/>
        </p:nvSpPr>
        <p:spPr bwMode="auto">
          <a:xfrm>
            <a:off x="4248911" y="3577242"/>
            <a:ext cx="111125" cy="98425"/>
          </a:xfrm>
          <a:custGeom>
            <a:avLst/>
            <a:gdLst>
              <a:gd name="T0" fmla="*/ 55563 w 21600"/>
              <a:gd name="T1" fmla="*/ 0 h 21600"/>
              <a:gd name="T2" fmla="*/ 16273 w 21600"/>
              <a:gd name="T3" fmla="*/ 14413 h 21600"/>
              <a:gd name="T4" fmla="*/ 0 w 21600"/>
              <a:gd name="T5" fmla="*/ 49213 h 21600"/>
              <a:gd name="T6" fmla="*/ 16273 w 21600"/>
              <a:gd name="T7" fmla="*/ 84012 h 21600"/>
              <a:gd name="T8" fmla="*/ 55563 w 21600"/>
              <a:gd name="T9" fmla="*/ 98425 h 21600"/>
              <a:gd name="T10" fmla="*/ 94852 w 21600"/>
              <a:gd name="T11" fmla="*/ 84012 h 21600"/>
              <a:gd name="T12" fmla="*/ 111125 w 21600"/>
              <a:gd name="T13" fmla="*/ 49213 h 21600"/>
              <a:gd name="T14" fmla="*/ 94852 w 21600"/>
              <a:gd name="T15" fmla="*/ 14413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0000FF"/>
          </a:solidFill>
          <a:ln w="9525">
            <a:solidFill>
              <a:schemeClr val="tx1"/>
            </a:solidFill>
            <a:round/>
            <a:headEnd/>
            <a:tailEnd/>
          </a:ln>
        </p:spPr>
        <p:txBody>
          <a:bodyPr wrap="none" anchor="ctr"/>
          <a:lstStyle/>
          <a:p>
            <a:pPr>
              <a:defRPr/>
            </a:pPr>
            <a:endParaRPr lang="en-US">
              <a:solidFill>
                <a:schemeClr val="tx1"/>
              </a:solidFill>
              <a:latin typeface="+mj-lt"/>
            </a:endParaRPr>
          </a:p>
        </p:txBody>
      </p:sp>
      <p:sp>
        <p:nvSpPr>
          <p:cNvPr id="173" name="Text Box 149">
            <a:extLst>
              <a:ext uri="{FF2B5EF4-FFF2-40B4-BE49-F238E27FC236}">
                <a16:creationId xmlns:a16="http://schemas.microsoft.com/office/drawing/2014/main" id="{3FDA3E6A-5B5B-49E6-A0D7-C3EE5095E783}"/>
              </a:ext>
            </a:extLst>
          </p:cNvPr>
          <p:cNvSpPr txBox="1">
            <a:spLocks noChangeArrowheads="1"/>
          </p:cNvSpPr>
          <p:nvPr/>
        </p:nvSpPr>
        <p:spPr bwMode="auto">
          <a:xfrm>
            <a:off x="5739917" y="4423380"/>
            <a:ext cx="492125" cy="277812"/>
          </a:xfrm>
          <a:prstGeom prst="rect">
            <a:avLst/>
          </a:prstGeom>
          <a:noFill/>
          <a:ln w="9525">
            <a:noFill/>
            <a:miter lim="800000"/>
            <a:headEnd/>
            <a:tailEnd/>
          </a:ln>
        </p:spPr>
        <p:txBody>
          <a:bodyPr wrap="none">
            <a:spAutoFit/>
          </a:bodyPr>
          <a:lstStyle/>
          <a:p>
            <a:r>
              <a:rPr lang="zh-CN" altLang="en-US" sz="1200" b="1">
                <a:solidFill>
                  <a:schemeClr val="tx1"/>
                </a:solidFill>
              </a:rPr>
              <a:t>包衣</a:t>
            </a:r>
            <a:endParaRPr lang="en-US" sz="1200" b="1">
              <a:solidFill>
                <a:schemeClr val="tx1"/>
              </a:solidFill>
            </a:endParaRPr>
          </a:p>
        </p:txBody>
      </p:sp>
      <p:sp>
        <p:nvSpPr>
          <p:cNvPr id="174" name="Rectangle 151">
            <a:extLst>
              <a:ext uri="{FF2B5EF4-FFF2-40B4-BE49-F238E27FC236}">
                <a16:creationId xmlns:a16="http://schemas.microsoft.com/office/drawing/2014/main" id="{E0B25646-B47E-46E5-8BEF-0F7DF148C017}"/>
              </a:ext>
            </a:extLst>
          </p:cNvPr>
          <p:cNvSpPr>
            <a:spLocks noChangeArrowheads="1"/>
          </p:cNvSpPr>
          <p:nvPr/>
        </p:nvSpPr>
        <p:spPr bwMode="auto">
          <a:xfrm>
            <a:off x="3359911" y="2616805"/>
            <a:ext cx="333375" cy="149225"/>
          </a:xfrm>
          <a:prstGeom prst="rect">
            <a:avLst/>
          </a:prstGeom>
          <a:solidFill>
            <a:schemeClr val="accent1"/>
          </a:solidFill>
          <a:ln w="9525">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175" name="Rectangle 152">
            <a:extLst>
              <a:ext uri="{FF2B5EF4-FFF2-40B4-BE49-F238E27FC236}">
                <a16:creationId xmlns:a16="http://schemas.microsoft.com/office/drawing/2014/main" id="{E3B190E3-5E56-4995-B74F-2DCEC15DD5AD}"/>
              </a:ext>
            </a:extLst>
          </p:cNvPr>
          <p:cNvSpPr>
            <a:spLocks noChangeArrowheads="1"/>
          </p:cNvSpPr>
          <p:nvPr/>
        </p:nvSpPr>
        <p:spPr bwMode="auto">
          <a:xfrm>
            <a:off x="3804411" y="2616805"/>
            <a:ext cx="333375" cy="149225"/>
          </a:xfrm>
          <a:prstGeom prst="rect">
            <a:avLst/>
          </a:prstGeom>
          <a:solidFill>
            <a:schemeClr val="accent1"/>
          </a:solidFill>
          <a:ln w="9525">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176" name="Rectangle 153">
            <a:extLst>
              <a:ext uri="{FF2B5EF4-FFF2-40B4-BE49-F238E27FC236}">
                <a16:creationId xmlns:a16="http://schemas.microsoft.com/office/drawing/2014/main" id="{42051FE5-B94E-401E-86CD-7FB3268DC0DE}"/>
              </a:ext>
            </a:extLst>
          </p:cNvPr>
          <p:cNvSpPr>
            <a:spLocks noChangeArrowheads="1"/>
          </p:cNvSpPr>
          <p:nvPr/>
        </p:nvSpPr>
        <p:spPr bwMode="auto">
          <a:xfrm>
            <a:off x="4248911" y="2616805"/>
            <a:ext cx="334963" cy="149225"/>
          </a:xfrm>
          <a:prstGeom prst="rect">
            <a:avLst/>
          </a:prstGeom>
          <a:solidFill>
            <a:schemeClr val="accent1"/>
          </a:solidFill>
          <a:ln w="9525">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sp>
        <p:nvSpPr>
          <p:cNvPr id="177" name="Rectangle 154">
            <a:extLst>
              <a:ext uri="{FF2B5EF4-FFF2-40B4-BE49-F238E27FC236}">
                <a16:creationId xmlns:a16="http://schemas.microsoft.com/office/drawing/2014/main" id="{F2533747-A32D-4BA4-B550-3F77EE8264A7}"/>
              </a:ext>
            </a:extLst>
          </p:cNvPr>
          <p:cNvSpPr>
            <a:spLocks noChangeArrowheads="1"/>
          </p:cNvSpPr>
          <p:nvPr/>
        </p:nvSpPr>
        <p:spPr bwMode="auto">
          <a:xfrm>
            <a:off x="4694999" y="2616805"/>
            <a:ext cx="333375" cy="149225"/>
          </a:xfrm>
          <a:prstGeom prst="rect">
            <a:avLst/>
          </a:prstGeom>
          <a:solidFill>
            <a:schemeClr val="accent1"/>
          </a:solidFill>
          <a:ln w="9525">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cxnSp>
        <p:nvCxnSpPr>
          <p:cNvPr id="178" name="AutoShape 156">
            <a:extLst>
              <a:ext uri="{FF2B5EF4-FFF2-40B4-BE49-F238E27FC236}">
                <a16:creationId xmlns:a16="http://schemas.microsoft.com/office/drawing/2014/main" id="{C095A1C6-35B3-416F-A066-7C49DF448934}"/>
              </a:ext>
            </a:extLst>
          </p:cNvPr>
          <p:cNvCxnSpPr>
            <a:cxnSpLocks noChangeShapeType="1"/>
          </p:cNvCxnSpPr>
          <p:nvPr/>
        </p:nvCxnSpPr>
        <p:spPr bwMode="auto">
          <a:xfrm flipV="1">
            <a:off x="3382136" y="2688242"/>
            <a:ext cx="1035050" cy="481013"/>
          </a:xfrm>
          <a:prstGeom prst="bentConnector2">
            <a:avLst/>
          </a:prstGeom>
          <a:noFill/>
          <a:ln w="19050">
            <a:solidFill>
              <a:srgbClr val="0000FF"/>
            </a:solidFill>
            <a:prstDash val="dash"/>
            <a:miter lim="800000"/>
            <a:headEnd/>
            <a:tailEnd/>
          </a:ln>
        </p:spPr>
      </p:cxnSp>
      <p:cxnSp>
        <p:nvCxnSpPr>
          <p:cNvPr id="179" name="AutoShape 157">
            <a:extLst>
              <a:ext uri="{FF2B5EF4-FFF2-40B4-BE49-F238E27FC236}">
                <a16:creationId xmlns:a16="http://schemas.microsoft.com/office/drawing/2014/main" id="{60795D41-BB8B-4F24-A6F4-C8113C2B4AF9}"/>
              </a:ext>
            </a:extLst>
          </p:cNvPr>
          <p:cNvCxnSpPr>
            <a:cxnSpLocks noChangeShapeType="1"/>
            <a:stCxn id="174" idx="0"/>
          </p:cNvCxnSpPr>
          <p:nvPr/>
        </p:nvCxnSpPr>
        <p:spPr bwMode="auto">
          <a:xfrm rot="5400000" flipH="1" flipV="1">
            <a:off x="3738530" y="2188974"/>
            <a:ext cx="215900" cy="639762"/>
          </a:xfrm>
          <a:prstGeom prst="bentConnector3">
            <a:avLst>
              <a:gd name="adj1" fmla="val 50000"/>
            </a:avLst>
          </a:prstGeom>
          <a:noFill/>
          <a:ln w="9525">
            <a:solidFill>
              <a:schemeClr val="tx1"/>
            </a:solidFill>
            <a:miter lim="800000"/>
            <a:headEnd/>
            <a:tailEnd/>
          </a:ln>
        </p:spPr>
      </p:cxnSp>
      <p:cxnSp>
        <p:nvCxnSpPr>
          <p:cNvPr id="180" name="AutoShape 158">
            <a:extLst>
              <a:ext uri="{FF2B5EF4-FFF2-40B4-BE49-F238E27FC236}">
                <a16:creationId xmlns:a16="http://schemas.microsoft.com/office/drawing/2014/main" id="{13C701FC-5674-4E59-AA49-789EC564448B}"/>
              </a:ext>
            </a:extLst>
          </p:cNvPr>
          <p:cNvCxnSpPr>
            <a:cxnSpLocks noChangeShapeType="1"/>
            <a:stCxn id="175" idx="0"/>
          </p:cNvCxnSpPr>
          <p:nvPr/>
        </p:nvCxnSpPr>
        <p:spPr bwMode="auto">
          <a:xfrm rot="5400000" flipH="1" flipV="1">
            <a:off x="3960780" y="2411224"/>
            <a:ext cx="215900" cy="195262"/>
          </a:xfrm>
          <a:prstGeom prst="bentConnector3">
            <a:avLst>
              <a:gd name="adj1" fmla="val 50000"/>
            </a:avLst>
          </a:prstGeom>
          <a:noFill/>
          <a:ln w="9525">
            <a:solidFill>
              <a:schemeClr val="tx1"/>
            </a:solidFill>
            <a:miter lim="800000"/>
            <a:headEnd/>
            <a:tailEnd/>
          </a:ln>
        </p:spPr>
      </p:cxnSp>
      <p:cxnSp>
        <p:nvCxnSpPr>
          <p:cNvPr id="181" name="AutoShape 159">
            <a:extLst>
              <a:ext uri="{FF2B5EF4-FFF2-40B4-BE49-F238E27FC236}">
                <a16:creationId xmlns:a16="http://schemas.microsoft.com/office/drawing/2014/main" id="{527828BB-36BC-42DB-8D33-E72F24AC5E32}"/>
              </a:ext>
            </a:extLst>
          </p:cNvPr>
          <p:cNvCxnSpPr>
            <a:cxnSpLocks noChangeShapeType="1"/>
            <a:stCxn id="176" idx="0"/>
          </p:cNvCxnSpPr>
          <p:nvPr/>
        </p:nvCxnSpPr>
        <p:spPr bwMode="auto">
          <a:xfrm rot="16200000" flipV="1">
            <a:off x="4183824" y="2383442"/>
            <a:ext cx="215900" cy="250825"/>
          </a:xfrm>
          <a:prstGeom prst="bentConnector3">
            <a:avLst>
              <a:gd name="adj1" fmla="val 50000"/>
            </a:avLst>
          </a:prstGeom>
          <a:noFill/>
          <a:ln w="9525">
            <a:solidFill>
              <a:schemeClr val="tx1"/>
            </a:solidFill>
            <a:miter lim="800000"/>
            <a:headEnd/>
            <a:tailEnd/>
          </a:ln>
        </p:spPr>
      </p:cxnSp>
      <p:cxnSp>
        <p:nvCxnSpPr>
          <p:cNvPr id="182" name="AutoShape 160">
            <a:extLst>
              <a:ext uri="{FF2B5EF4-FFF2-40B4-BE49-F238E27FC236}">
                <a16:creationId xmlns:a16="http://schemas.microsoft.com/office/drawing/2014/main" id="{D87FAD1D-849D-4E3A-B0EE-E39A9A60E442}"/>
              </a:ext>
            </a:extLst>
          </p:cNvPr>
          <p:cNvCxnSpPr>
            <a:cxnSpLocks noChangeShapeType="1"/>
            <a:stCxn id="177" idx="0"/>
          </p:cNvCxnSpPr>
          <p:nvPr/>
        </p:nvCxnSpPr>
        <p:spPr bwMode="auto">
          <a:xfrm rot="16200000" flipV="1">
            <a:off x="4406074" y="2161192"/>
            <a:ext cx="215900" cy="695325"/>
          </a:xfrm>
          <a:prstGeom prst="bentConnector3">
            <a:avLst>
              <a:gd name="adj1" fmla="val 50000"/>
            </a:avLst>
          </a:prstGeom>
          <a:noFill/>
          <a:ln w="9525">
            <a:solidFill>
              <a:schemeClr val="tx1"/>
            </a:solidFill>
            <a:miter lim="800000"/>
            <a:headEnd/>
            <a:tailEnd/>
          </a:ln>
        </p:spPr>
      </p:cxnSp>
      <p:sp>
        <p:nvSpPr>
          <p:cNvPr id="183" name="AutoShape 161">
            <a:extLst>
              <a:ext uri="{FF2B5EF4-FFF2-40B4-BE49-F238E27FC236}">
                <a16:creationId xmlns:a16="http://schemas.microsoft.com/office/drawing/2014/main" id="{793BEF76-1DC1-4721-9316-9C1B6D173800}"/>
              </a:ext>
            </a:extLst>
          </p:cNvPr>
          <p:cNvSpPr>
            <a:spLocks noChangeArrowheads="1"/>
          </p:cNvSpPr>
          <p:nvPr/>
        </p:nvSpPr>
        <p:spPr bwMode="auto">
          <a:xfrm>
            <a:off x="6193942" y="3553430"/>
            <a:ext cx="111125" cy="98425"/>
          </a:xfrm>
          <a:custGeom>
            <a:avLst/>
            <a:gdLst>
              <a:gd name="T0" fmla="*/ 55563 w 21600"/>
              <a:gd name="T1" fmla="*/ 0 h 21600"/>
              <a:gd name="T2" fmla="*/ 16273 w 21600"/>
              <a:gd name="T3" fmla="*/ 14413 h 21600"/>
              <a:gd name="T4" fmla="*/ 0 w 21600"/>
              <a:gd name="T5" fmla="*/ 49213 h 21600"/>
              <a:gd name="T6" fmla="*/ 16273 w 21600"/>
              <a:gd name="T7" fmla="*/ 84012 h 21600"/>
              <a:gd name="T8" fmla="*/ 55563 w 21600"/>
              <a:gd name="T9" fmla="*/ 98425 h 21600"/>
              <a:gd name="T10" fmla="*/ 94852 w 21600"/>
              <a:gd name="T11" fmla="*/ 84012 h 21600"/>
              <a:gd name="T12" fmla="*/ 111125 w 21600"/>
              <a:gd name="T13" fmla="*/ 49213 h 21600"/>
              <a:gd name="T14" fmla="*/ 94852 w 21600"/>
              <a:gd name="T15" fmla="*/ 14413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0000FF"/>
          </a:solidFill>
          <a:ln w="9525">
            <a:solidFill>
              <a:schemeClr val="tx1"/>
            </a:solidFill>
            <a:round/>
            <a:headEnd/>
            <a:tailEnd/>
          </a:ln>
        </p:spPr>
        <p:txBody>
          <a:bodyPr wrap="none" anchor="ctr"/>
          <a:lstStyle/>
          <a:p>
            <a:pPr>
              <a:defRPr/>
            </a:pPr>
            <a:endParaRPr lang="en-US">
              <a:solidFill>
                <a:schemeClr val="tx1"/>
              </a:solidFill>
              <a:latin typeface="+mj-lt"/>
            </a:endParaRPr>
          </a:p>
        </p:txBody>
      </p:sp>
      <p:sp>
        <p:nvSpPr>
          <p:cNvPr id="184" name="Rectangle 162">
            <a:extLst>
              <a:ext uri="{FF2B5EF4-FFF2-40B4-BE49-F238E27FC236}">
                <a16:creationId xmlns:a16="http://schemas.microsoft.com/office/drawing/2014/main" id="{384B91FF-1C51-4BDF-AD68-ED18E900E88F}"/>
              </a:ext>
            </a:extLst>
          </p:cNvPr>
          <p:cNvSpPr>
            <a:spLocks noChangeArrowheads="1"/>
          </p:cNvSpPr>
          <p:nvPr/>
        </p:nvSpPr>
        <p:spPr bwMode="auto">
          <a:xfrm>
            <a:off x="5139499" y="2616805"/>
            <a:ext cx="333375" cy="149225"/>
          </a:xfrm>
          <a:prstGeom prst="rect">
            <a:avLst/>
          </a:prstGeom>
          <a:solidFill>
            <a:schemeClr val="accent1"/>
          </a:solidFill>
          <a:ln w="9525">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cxnSp>
        <p:nvCxnSpPr>
          <p:cNvPr id="185" name="AutoShape 163">
            <a:extLst>
              <a:ext uri="{FF2B5EF4-FFF2-40B4-BE49-F238E27FC236}">
                <a16:creationId xmlns:a16="http://schemas.microsoft.com/office/drawing/2014/main" id="{7AD63413-AAC4-4404-A377-33C7B87C4A54}"/>
              </a:ext>
            </a:extLst>
          </p:cNvPr>
          <p:cNvCxnSpPr>
            <a:cxnSpLocks noChangeShapeType="1"/>
            <a:stCxn id="184" idx="0"/>
          </p:cNvCxnSpPr>
          <p:nvPr/>
        </p:nvCxnSpPr>
        <p:spPr bwMode="auto">
          <a:xfrm rot="16200000" flipV="1">
            <a:off x="4628324" y="1938942"/>
            <a:ext cx="215900" cy="1139825"/>
          </a:xfrm>
          <a:prstGeom prst="bentConnector3">
            <a:avLst>
              <a:gd name="adj1" fmla="val 50000"/>
            </a:avLst>
          </a:prstGeom>
          <a:noFill/>
          <a:ln w="9525">
            <a:solidFill>
              <a:schemeClr val="tx1"/>
            </a:solidFill>
            <a:miter lim="800000"/>
            <a:headEnd/>
            <a:tailEnd/>
          </a:ln>
        </p:spPr>
      </p:cxnSp>
      <p:sp>
        <p:nvSpPr>
          <p:cNvPr id="186" name="Rectangle 164">
            <a:extLst>
              <a:ext uri="{FF2B5EF4-FFF2-40B4-BE49-F238E27FC236}">
                <a16:creationId xmlns:a16="http://schemas.microsoft.com/office/drawing/2014/main" id="{A1FB3CF3-F371-4C92-B432-4EB517CAFC73}"/>
              </a:ext>
            </a:extLst>
          </p:cNvPr>
          <p:cNvSpPr>
            <a:spLocks noChangeArrowheads="1"/>
          </p:cNvSpPr>
          <p:nvPr/>
        </p:nvSpPr>
        <p:spPr bwMode="auto">
          <a:xfrm>
            <a:off x="5614161" y="2616805"/>
            <a:ext cx="333375" cy="149225"/>
          </a:xfrm>
          <a:prstGeom prst="rect">
            <a:avLst/>
          </a:prstGeom>
          <a:solidFill>
            <a:schemeClr val="accent1"/>
          </a:solidFill>
          <a:ln w="9525">
            <a:solidFill>
              <a:schemeClr val="tx1"/>
            </a:solidFill>
            <a:miter lim="800000"/>
            <a:headEnd/>
            <a:tailEnd/>
          </a:ln>
        </p:spPr>
        <p:txBody>
          <a:bodyPr wrap="none" anchor="ctr"/>
          <a:lstStyle/>
          <a:p>
            <a:pPr>
              <a:spcBef>
                <a:spcPct val="50000"/>
              </a:spcBef>
              <a:buClr>
                <a:schemeClr val="accent1"/>
              </a:buClr>
              <a:defRPr/>
            </a:pPr>
            <a:endParaRPr lang="en-US">
              <a:solidFill>
                <a:schemeClr val="tx1"/>
              </a:solidFill>
              <a:latin typeface="+mj-lt"/>
            </a:endParaRPr>
          </a:p>
        </p:txBody>
      </p:sp>
      <p:cxnSp>
        <p:nvCxnSpPr>
          <p:cNvPr id="187" name="AutoShape 167">
            <a:extLst>
              <a:ext uri="{FF2B5EF4-FFF2-40B4-BE49-F238E27FC236}">
                <a16:creationId xmlns:a16="http://schemas.microsoft.com/office/drawing/2014/main" id="{FE9CA8ED-3B11-4030-878F-0260BC3F161C}"/>
              </a:ext>
            </a:extLst>
          </p:cNvPr>
          <p:cNvCxnSpPr>
            <a:cxnSpLocks noChangeShapeType="1"/>
            <a:stCxn id="186" idx="2"/>
            <a:endCxn id="183" idx="1"/>
          </p:cNvCxnSpPr>
          <p:nvPr/>
        </p:nvCxnSpPr>
        <p:spPr bwMode="auto">
          <a:xfrm rot="16200000" flipH="1">
            <a:off x="5602717" y="2944162"/>
            <a:ext cx="853076" cy="496812"/>
          </a:xfrm>
          <a:prstGeom prst="bentConnector4">
            <a:avLst>
              <a:gd name="adj1" fmla="val 46151"/>
              <a:gd name="adj2" fmla="val 151530"/>
            </a:avLst>
          </a:prstGeom>
          <a:noFill/>
          <a:ln w="19050">
            <a:solidFill>
              <a:srgbClr val="0000FF"/>
            </a:solidFill>
            <a:prstDash val="dash"/>
            <a:miter lim="800000"/>
            <a:headEnd/>
            <a:tailEnd/>
          </a:ln>
        </p:spPr>
      </p:cxnSp>
      <p:cxnSp>
        <p:nvCxnSpPr>
          <p:cNvPr id="188" name="AutoShape 170">
            <a:extLst>
              <a:ext uri="{FF2B5EF4-FFF2-40B4-BE49-F238E27FC236}">
                <a16:creationId xmlns:a16="http://schemas.microsoft.com/office/drawing/2014/main" id="{C9BAE25D-2D9E-4291-AF3C-E86D0B0B96D2}"/>
              </a:ext>
            </a:extLst>
          </p:cNvPr>
          <p:cNvCxnSpPr>
            <a:cxnSpLocks noChangeShapeType="1"/>
            <a:stCxn id="186" idx="0"/>
          </p:cNvCxnSpPr>
          <p:nvPr/>
        </p:nvCxnSpPr>
        <p:spPr bwMode="auto">
          <a:xfrm rot="16200000" flipV="1">
            <a:off x="4865655" y="1701611"/>
            <a:ext cx="215900" cy="1614488"/>
          </a:xfrm>
          <a:prstGeom prst="bentConnector3">
            <a:avLst>
              <a:gd name="adj1" fmla="val 50000"/>
            </a:avLst>
          </a:prstGeom>
          <a:noFill/>
          <a:ln w="9525">
            <a:solidFill>
              <a:schemeClr val="tx1"/>
            </a:solidFill>
            <a:miter lim="800000"/>
            <a:headEnd/>
            <a:tailEnd/>
          </a:ln>
        </p:spPr>
      </p:cxnSp>
      <p:cxnSp>
        <p:nvCxnSpPr>
          <p:cNvPr id="189" name="AutoShape 171">
            <a:extLst>
              <a:ext uri="{FF2B5EF4-FFF2-40B4-BE49-F238E27FC236}">
                <a16:creationId xmlns:a16="http://schemas.microsoft.com/office/drawing/2014/main" id="{51992B5B-EF4B-4C5F-841F-436A83CAF361}"/>
              </a:ext>
            </a:extLst>
          </p:cNvPr>
          <p:cNvCxnSpPr>
            <a:cxnSpLocks noChangeShapeType="1"/>
            <a:stCxn id="164" idx="1"/>
            <a:endCxn id="175" idx="2"/>
          </p:cNvCxnSpPr>
          <p:nvPr/>
        </p:nvCxnSpPr>
        <p:spPr bwMode="auto">
          <a:xfrm rot="16200000">
            <a:off x="2807461" y="1980218"/>
            <a:ext cx="377825" cy="1949450"/>
          </a:xfrm>
          <a:prstGeom prst="bentConnector3">
            <a:avLst>
              <a:gd name="adj1" fmla="val 18907"/>
            </a:avLst>
          </a:prstGeom>
          <a:noFill/>
          <a:ln w="19050">
            <a:solidFill>
              <a:srgbClr val="0000FF"/>
            </a:solidFill>
            <a:prstDash val="dash"/>
            <a:miter lim="800000"/>
            <a:headEnd/>
            <a:tailEnd/>
          </a:ln>
        </p:spPr>
      </p:cxnSp>
      <p:grpSp>
        <p:nvGrpSpPr>
          <p:cNvPr id="245" name="组合 244">
            <a:extLst>
              <a:ext uri="{FF2B5EF4-FFF2-40B4-BE49-F238E27FC236}">
                <a16:creationId xmlns:a16="http://schemas.microsoft.com/office/drawing/2014/main" id="{960C55A1-F179-4F2C-83D2-36E8FA6EDF2F}"/>
              </a:ext>
            </a:extLst>
          </p:cNvPr>
          <p:cNvGrpSpPr/>
          <p:nvPr/>
        </p:nvGrpSpPr>
        <p:grpSpPr>
          <a:xfrm>
            <a:off x="5560740" y="872833"/>
            <a:ext cx="8002841" cy="5719968"/>
            <a:chOff x="574875" y="990599"/>
            <a:chExt cx="8153400" cy="5927439"/>
          </a:xfrm>
        </p:grpSpPr>
        <p:sp>
          <p:nvSpPr>
            <p:cNvPr id="246" name="圆角矩形 58">
              <a:extLst>
                <a:ext uri="{FF2B5EF4-FFF2-40B4-BE49-F238E27FC236}">
                  <a16:creationId xmlns:a16="http://schemas.microsoft.com/office/drawing/2014/main" id="{C62F57C3-D68A-4A84-9ECE-92D1FDFBE5FE}"/>
                </a:ext>
              </a:extLst>
            </p:cNvPr>
            <p:cNvSpPr/>
            <p:nvPr/>
          </p:nvSpPr>
          <p:spPr>
            <a:xfrm>
              <a:off x="5337356" y="6598670"/>
              <a:ext cx="1167737" cy="319368"/>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n>
                    <a:solidFill>
                      <a:prstClr val="black"/>
                    </a:solidFill>
                  </a:ln>
                  <a:solidFill>
                    <a:prstClr val="black"/>
                  </a:solidFill>
                  <a:latin typeface="微软雅黑" pitchFamily="34" charset="-122"/>
                  <a:ea typeface="微软雅黑" pitchFamily="34" charset="-122"/>
                </a:rPr>
                <a:t>实时数据</a:t>
              </a:r>
            </a:p>
          </p:txBody>
        </p:sp>
        <p:sp>
          <p:nvSpPr>
            <p:cNvPr id="247" name="圆角矩形 120">
              <a:extLst>
                <a:ext uri="{FF2B5EF4-FFF2-40B4-BE49-F238E27FC236}">
                  <a16:creationId xmlns:a16="http://schemas.microsoft.com/office/drawing/2014/main" id="{C1088CC7-A594-4E5C-8085-EDFE7EB01FE9}"/>
                </a:ext>
              </a:extLst>
            </p:cNvPr>
            <p:cNvSpPr/>
            <p:nvPr/>
          </p:nvSpPr>
          <p:spPr>
            <a:xfrm>
              <a:off x="5350007" y="5019746"/>
              <a:ext cx="1167737" cy="319368"/>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n>
                    <a:solidFill>
                      <a:prstClr val="black"/>
                    </a:solidFill>
                  </a:ln>
                  <a:solidFill>
                    <a:prstClr val="black"/>
                  </a:solidFill>
                  <a:latin typeface="微软雅黑" pitchFamily="34" charset="-122"/>
                  <a:ea typeface="微软雅黑" pitchFamily="34" charset="-122"/>
                </a:rPr>
                <a:t>实时数据</a:t>
              </a:r>
            </a:p>
          </p:txBody>
        </p:sp>
        <p:sp>
          <p:nvSpPr>
            <p:cNvPr id="248" name="圆角矩形 37">
              <a:extLst>
                <a:ext uri="{FF2B5EF4-FFF2-40B4-BE49-F238E27FC236}">
                  <a16:creationId xmlns:a16="http://schemas.microsoft.com/office/drawing/2014/main" id="{7895060F-FE44-43ED-8B07-34B9ED23F762}"/>
                </a:ext>
              </a:extLst>
            </p:cNvPr>
            <p:cNvSpPr/>
            <p:nvPr/>
          </p:nvSpPr>
          <p:spPr>
            <a:xfrm>
              <a:off x="5350102" y="6100636"/>
              <a:ext cx="1167737" cy="319368"/>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n>
                    <a:solidFill>
                      <a:prstClr val="black"/>
                    </a:solidFill>
                  </a:ln>
                  <a:solidFill>
                    <a:prstClr val="black"/>
                  </a:solidFill>
                  <a:latin typeface="微软雅黑" pitchFamily="34" charset="-122"/>
                  <a:ea typeface="微软雅黑" pitchFamily="34" charset="-122"/>
                </a:rPr>
                <a:t>实时数据</a:t>
              </a:r>
            </a:p>
          </p:txBody>
        </p:sp>
        <p:sp>
          <p:nvSpPr>
            <p:cNvPr id="249" name="圆角矩形 39">
              <a:extLst>
                <a:ext uri="{FF2B5EF4-FFF2-40B4-BE49-F238E27FC236}">
                  <a16:creationId xmlns:a16="http://schemas.microsoft.com/office/drawing/2014/main" id="{3EA8E521-F34A-47E1-9CB1-AF9EA16B0AEF}"/>
                </a:ext>
              </a:extLst>
            </p:cNvPr>
            <p:cNvSpPr/>
            <p:nvPr/>
          </p:nvSpPr>
          <p:spPr>
            <a:xfrm>
              <a:off x="5350738" y="4233794"/>
              <a:ext cx="1167737" cy="319368"/>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n>
                    <a:solidFill>
                      <a:prstClr val="black"/>
                    </a:solidFill>
                  </a:ln>
                  <a:solidFill>
                    <a:prstClr val="black"/>
                  </a:solidFill>
                  <a:latin typeface="微软雅黑" pitchFamily="34" charset="-122"/>
                  <a:ea typeface="微软雅黑" pitchFamily="34" charset="-122"/>
                </a:rPr>
                <a:t>实时数据</a:t>
              </a:r>
            </a:p>
          </p:txBody>
        </p:sp>
        <p:sp>
          <p:nvSpPr>
            <p:cNvPr id="250" name="圆角矩形 40">
              <a:extLst>
                <a:ext uri="{FF2B5EF4-FFF2-40B4-BE49-F238E27FC236}">
                  <a16:creationId xmlns:a16="http://schemas.microsoft.com/office/drawing/2014/main" id="{8195CDB9-70AE-49CC-91B8-13CD635E02EF}"/>
                </a:ext>
              </a:extLst>
            </p:cNvPr>
            <p:cNvSpPr/>
            <p:nvPr/>
          </p:nvSpPr>
          <p:spPr>
            <a:xfrm>
              <a:off x="5350102" y="3243194"/>
              <a:ext cx="1167737" cy="319368"/>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n>
                    <a:solidFill>
                      <a:prstClr val="black"/>
                    </a:solidFill>
                  </a:ln>
                  <a:solidFill>
                    <a:prstClr val="black"/>
                  </a:solidFill>
                  <a:latin typeface="微软雅黑" pitchFamily="34" charset="-122"/>
                  <a:ea typeface="微软雅黑" pitchFamily="34" charset="-122"/>
                </a:rPr>
                <a:t>实时数据</a:t>
              </a:r>
            </a:p>
          </p:txBody>
        </p:sp>
        <p:sp>
          <p:nvSpPr>
            <p:cNvPr id="251" name="圆角矩形 41">
              <a:extLst>
                <a:ext uri="{FF2B5EF4-FFF2-40B4-BE49-F238E27FC236}">
                  <a16:creationId xmlns:a16="http://schemas.microsoft.com/office/drawing/2014/main" id="{CC8571E0-9E2E-4F52-885C-30041A7DB33F}"/>
                </a:ext>
              </a:extLst>
            </p:cNvPr>
            <p:cNvSpPr/>
            <p:nvPr/>
          </p:nvSpPr>
          <p:spPr>
            <a:xfrm>
              <a:off x="5350102" y="2252594"/>
              <a:ext cx="1167737" cy="319368"/>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n>
                    <a:solidFill>
                      <a:prstClr val="black"/>
                    </a:solidFill>
                  </a:ln>
                  <a:solidFill>
                    <a:prstClr val="black"/>
                  </a:solidFill>
                  <a:latin typeface="微软雅黑" pitchFamily="34" charset="-122"/>
                  <a:ea typeface="微软雅黑" pitchFamily="34" charset="-122"/>
                </a:rPr>
                <a:t>实时数据</a:t>
              </a:r>
            </a:p>
          </p:txBody>
        </p:sp>
        <p:sp>
          <p:nvSpPr>
            <p:cNvPr id="252" name="圆角矩形 42">
              <a:extLst>
                <a:ext uri="{FF2B5EF4-FFF2-40B4-BE49-F238E27FC236}">
                  <a16:creationId xmlns:a16="http://schemas.microsoft.com/office/drawing/2014/main" id="{C73A2CDC-EE05-4336-9371-935E8707AAED}"/>
                </a:ext>
              </a:extLst>
            </p:cNvPr>
            <p:cNvSpPr/>
            <p:nvPr/>
          </p:nvSpPr>
          <p:spPr>
            <a:xfrm>
              <a:off x="5350102" y="1182624"/>
              <a:ext cx="1167737" cy="319368"/>
            </a:xfrm>
            <a:prstGeom prst="round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n>
                    <a:solidFill>
                      <a:prstClr val="black"/>
                    </a:solidFill>
                  </a:ln>
                  <a:solidFill>
                    <a:prstClr val="black"/>
                  </a:solidFill>
                  <a:latin typeface="微软雅黑" pitchFamily="34" charset="-122"/>
                  <a:ea typeface="微软雅黑" pitchFamily="34" charset="-122"/>
                </a:rPr>
                <a:t>实时数据</a:t>
              </a:r>
            </a:p>
          </p:txBody>
        </p:sp>
        <p:grpSp>
          <p:nvGrpSpPr>
            <p:cNvPr id="253" name="画布 2">
              <a:extLst>
                <a:ext uri="{FF2B5EF4-FFF2-40B4-BE49-F238E27FC236}">
                  <a16:creationId xmlns:a16="http://schemas.microsoft.com/office/drawing/2014/main" id="{FA69FF25-75A1-4CF5-9125-686D27AF4637}"/>
                </a:ext>
              </a:extLst>
            </p:cNvPr>
            <p:cNvGrpSpPr/>
            <p:nvPr/>
          </p:nvGrpSpPr>
          <p:grpSpPr>
            <a:xfrm>
              <a:off x="574875" y="990599"/>
              <a:ext cx="8153400" cy="5927439"/>
              <a:chOff x="0" y="-1"/>
              <a:chExt cx="4933315" cy="5147345"/>
            </a:xfrm>
          </p:grpSpPr>
          <p:sp>
            <p:nvSpPr>
              <p:cNvPr id="254" name="矩形 253">
                <a:extLst>
                  <a:ext uri="{FF2B5EF4-FFF2-40B4-BE49-F238E27FC236}">
                    <a16:creationId xmlns:a16="http://schemas.microsoft.com/office/drawing/2014/main" id="{045D4BD8-4B54-416D-BDAD-84F6F108B12C}"/>
                  </a:ext>
                </a:extLst>
              </p:cNvPr>
              <p:cNvSpPr/>
              <p:nvPr/>
            </p:nvSpPr>
            <p:spPr>
              <a:xfrm>
                <a:off x="0" y="0"/>
                <a:ext cx="4933315" cy="4697730"/>
              </a:xfrm>
              <a:prstGeom prst="rect">
                <a:avLst/>
              </a:prstGeom>
              <a:ln>
                <a:noFill/>
              </a:ln>
            </p:spPr>
          </p:sp>
          <p:sp>
            <p:nvSpPr>
              <p:cNvPr id="255" name="矩形 254">
                <a:extLst>
                  <a:ext uri="{FF2B5EF4-FFF2-40B4-BE49-F238E27FC236}">
                    <a16:creationId xmlns:a16="http://schemas.microsoft.com/office/drawing/2014/main" id="{EA7EE891-52FB-4419-970F-AA6206D4BCCE}"/>
                  </a:ext>
                </a:extLst>
              </p:cNvPr>
              <p:cNvSpPr/>
              <p:nvPr/>
            </p:nvSpPr>
            <p:spPr>
              <a:xfrm>
                <a:off x="3623607" y="-1"/>
                <a:ext cx="385445" cy="514734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信</a:t>
                </a:r>
                <a:r>
                  <a:rPr 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   </a:t>
                </a:r>
                <a:endPar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endParaRPr>
              </a:p>
              <a:p>
                <a:pPr algn="ctr">
                  <a:spcAft>
                    <a:spcPts val="0"/>
                  </a:spcAft>
                </a:pPr>
                <a:r>
                  <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息</a:t>
                </a:r>
                <a:r>
                  <a:rPr 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   </a:t>
                </a:r>
                <a:endPar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endParaRPr>
              </a:p>
              <a:p>
                <a:pPr algn="ctr">
                  <a:spcAft>
                    <a:spcPts val="0"/>
                  </a:spcAft>
                </a:pPr>
                <a:r>
                  <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监</a:t>
                </a:r>
                <a:r>
                  <a:rPr 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   </a:t>
                </a:r>
                <a:endPar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endParaRPr>
              </a:p>
              <a:p>
                <a:pPr algn="ctr">
                  <a:spcAft>
                    <a:spcPts val="0"/>
                  </a:spcAft>
                </a:pPr>
                <a:r>
                  <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控</a:t>
                </a:r>
                <a:r>
                  <a:rPr 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  </a:t>
                </a:r>
                <a:endPar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endParaRPr>
              </a:p>
              <a:p>
                <a:pPr algn="ctr">
                  <a:spcAft>
                    <a:spcPts val="0"/>
                  </a:spcAft>
                </a:pPr>
                <a:r>
                  <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与质量评价</a:t>
                </a:r>
                <a:r>
                  <a:rPr 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   </a:t>
                </a:r>
                <a:endPar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endParaRPr>
              </a:p>
              <a:p>
                <a:pPr algn="ctr">
                  <a:spcAft>
                    <a:spcPts val="0"/>
                  </a:spcAft>
                </a:pPr>
                <a:r>
                  <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平</a:t>
                </a:r>
                <a:r>
                  <a:rPr 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   </a:t>
                </a:r>
                <a:endPar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endParaRPr>
              </a:p>
              <a:p>
                <a:pPr algn="ctr">
                  <a:spcAft>
                    <a:spcPts val="0"/>
                  </a:spcAft>
                </a:pPr>
                <a:r>
                  <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台</a:t>
                </a:r>
                <a:r>
                  <a:rPr 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   </a:t>
                </a:r>
                <a:endPar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endParaRPr>
              </a:p>
            </p:txBody>
          </p:sp>
          <p:sp>
            <p:nvSpPr>
              <p:cNvPr id="256" name="矩形 255">
                <a:extLst>
                  <a:ext uri="{FF2B5EF4-FFF2-40B4-BE49-F238E27FC236}">
                    <a16:creationId xmlns:a16="http://schemas.microsoft.com/office/drawing/2014/main" id="{C003E40F-E7FA-4CE1-AE06-9777C80E70BD}"/>
                  </a:ext>
                </a:extLst>
              </p:cNvPr>
              <p:cNvSpPr/>
              <p:nvPr/>
            </p:nvSpPr>
            <p:spPr>
              <a:xfrm>
                <a:off x="963239" y="35999"/>
                <a:ext cx="690936" cy="27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原辅料</a:t>
                </a:r>
                <a:r>
                  <a:rPr 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  </a:t>
                </a:r>
                <a:endParaRPr lang="zh-CN" altLang="en-US" kern="100" dirty="0">
                  <a:ln>
                    <a:solidFill>
                      <a:prstClr val="white"/>
                    </a:solidFill>
                  </a:ln>
                  <a:solidFill>
                    <a:prstClr val="white"/>
                  </a:solidFill>
                  <a:latin typeface="微软雅黑" pitchFamily="34" charset="-122"/>
                  <a:ea typeface="微软雅黑" pitchFamily="34" charset="-122"/>
                  <a:cs typeface="Times New Roman" panose="02020603050405020304" pitchFamily="18" charset="0"/>
                </a:endParaRPr>
              </a:p>
            </p:txBody>
          </p:sp>
          <p:sp>
            <p:nvSpPr>
              <p:cNvPr id="257" name="矩形 256">
                <a:extLst>
                  <a:ext uri="{FF2B5EF4-FFF2-40B4-BE49-F238E27FC236}">
                    <a16:creationId xmlns:a16="http://schemas.microsoft.com/office/drawing/2014/main" id="{411FD673-BA8A-41E9-8F2B-41BE9B7E7A8A}"/>
                  </a:ext>
                </a:extLst>
              </p:cNvPr>
              <p:cNvSpPr/>
              <p:nvPr/>
            </p:nvSpPr>
            <p:spPr>
              <a:xfrm>
                <a:off x="965515" y="527908"/>
                <a:ext cx="691200" cy="6516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zh-CN" altLang="en-US" b="1"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混合</a:t>
                </a:r>
                <a:r>
                  <a:rPr lang="en-US" b="1"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   </a:t>
                </a:r>
                <a:endParaRPr lang="zh-CN" altLang="en-US" b="1" kern="100" dirty="0">
                  <a:ln>
                    <a:solidFill>
                      <a:prstClr val="white"/>
                    </a:solidFill>
                  </a:ln>
                  <a:solidFill>
                    <a:prstClr val="white"/>
                  </a:solidFill>
                  <a:latin typeface="微软雅黑" pitchFamily="34" charset="-122"/>
                  <a:ea typeface="微软雅黑" pitchFamily="34" charset="-122"/>
                  <a:cs typeface="Times New Roman" panose="02020603050405020304" pitchFamily="18" charset="0"/>
                </a:endParaRPr>
              </a:p>
            </p:txBody>
          </p:sp>
          <p:sp>
            <p:nvSpPr>
              <p:cNvPr id="258" name="矩形 257">
                <a:extLst>
                  <a:ext uri="{FF2B5EF4-FFF2-40B4-BE49-F238E27FC236}">
                    <a16:creationId xmlns:a16="http://schemas.microsoft.com/office/drawing/2014/main" id="{17A78547-511F-4565-A74F-AFE93818AB23}"/>
                  </a:ext>
                </a:extLst>
              </p:cNvPr>
              <p:cNvSpPr/>
              <p:nvPr/>
            </p:nvSpPr>
            <p:spPr>
              <a:xfrm>
                <a:off x="963578" y="1401758"/>
                <a:ext cx="691200" cy="6523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zh-CN" altLang="en-US" b="1"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制粒   </a:t>
                </a:r>
                <a:endParaRPr lang="zh-CN" altLang="en-US" b="1" kern="100" dirty="0">
                  <a:ln>
                    <a:solidFill>
                      <a:prstClr val="white"/>
                    </a:solidFill>
                  </a:ln>
                  <a:solidFill>
                    <a:prstClr val="white"/>
                  </a:solidFill>
                  <a:latin typeface="微软雅黑" pitchFamily="34" charset="-122"/>
                  <a:ea typeface="微软雅黑" pitchFamily="34" charset="-122"/>
                  <a:cs typeface="Times New Roman" panose="02020603050405020304" pitchFamily="18" charset="0"/>
                </a:endParaRPr>
              </a:p>
            </p:txBody>
          </p:sp>
          <p:sp>
            <p:nvSpPr>
              <p:cNvPr id="259" name="矩形 258">
                <a:extLst>
                  <a:ext uri="{FF2B5EF4-FFF2-40B4-BE49-F238E27FC236}">
                    <a16:creationId xmlns:a16="http://schemas.microsoft.com/office/drawing/2014/main" id="{CDD2A979-1553-471F-A04B-6E9158148902}"/>
                  </a:ext>
                </a:extLst>
              </p:cNvPr>
              <p:cNvSpPr/>
              <p:nvPr/>
            </p:nvSpPr>
            <p:spPr>
              <a:xfrm>
                <a:off x="963240" y="2981456"/>
                <a:ext cx="691200" cy="27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整粒   </a:t>
                </a:r>
                <a:endParaRPr lang="zh-CN" altLang="en-US" kern="100" dirty="0">
                  <a:ln>
                    <a:solidFill>
                      <a:prstClr val="white"/>
                    </a:solidFill>
                  </a:ln>
                  <a:solidFill>
                    <a:prstClr val="white"/>
                  </a:solidFill>
                  <a:latin typeface="微软雅黑" pitchFamily="34" charset="-122"/>
                  <a:ea typeface="微软雅黑" pitchFamily="34" charset="-122"/>
                  <a:cs typeface="Times New Roman" panose="02020603050405020304" pitchFamily="18" charset="0"/>
                </a:endParaRPr>
              </a:p>
            </p:txBody>
          </p:sp>
          <p:sp>
            <p:nvSpPr>
              <p:cNvPr id="260" name="矩形 259">
                <a:extLst>
                  <a:ext uri="{FF2B5EF4-FFF2-40B4-BE49-F238E27FC236}">
                    <a16:creationId xmlns:a16="http://schemas.microsoft.com/office/drawing/2014/main" id="{082B67B2-745B-497E-BA32-F6DC79BB86F0}"/>
                  </a:ext>
                </a:extLst>
              </p:cNvPr>
              <p:cNvSpPr/>
              <p:nvPr/>
            </p:nvSpPr>
            <p:spPr>
              <a:xfrm>
                <a:off x="963240" y="3405834"/>
                <a:ext cx="691200" cy="270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压片   </a:t>
                </a:r>
                <a:endParaRPr lang="zh-CN" altLang="en-US" kern="100" dirty="0">
                  <a:ln>
                    <a:solidFill>
                      <a:prstClr val="white"/>
                    </a:solidFill>
                  </a:ln>
                  <a:solidFill>
                    <a:prstClr val="white"/>
                  </a:solidFill>
                  <a:latin typeface="微软雅黑" pitchFamily="34" charset="-122"/>
                  <a:ea typeface="微软雅黑" pitchFamily="34" charset="-122"/>
                  <a:cs typeface="Times New Roman" panose="02020603050405020304" pitchFamily="18" charset="0"/>
                </a:endParaRPr>
              </a:p>
            </p:txBody>
          </p:sp>
          <p:sp>
            <p:nvSpPr>
              <p:cNvPr id="261" name="矩形 260">
                <a:extLst>
                  <a:ext uri="{FF2B5EF4-FFF2-40B4-BE49-F238E27FC236}">
                    <a16:creationId xmlns:a16="http://schemas.microsoft.com/office/drawing/2014/main" id="{D5CD9FF8-7ED9-4BC8-ACB8-25B26C4B99B7}"/>
                  </a:ext>
                </a:extLst>
              </p:cNvPr>
              <p:cNvSpPr/>
              <p:nvPr/>
            </p:nvSpPr>
            <p:spPr>
              <a:xfrm>
                <a:off x="963578" y="3919426"/>
                <a:ext cx="691200" cy="6533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外包</a:t>
                </a:r>
                <a:r>
                  <a:rPr 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   </a:t>
                </a:r>
                <a:endParaRPr lang="zh-CN" altLang="en-US" kern="100" dirty="0">
                  <a:ln>
                    <a:solidFill>
                      <a:prstClr val="white"/>
                    </a:solidFill>
                  </a:ln>
                  <a:solidFill>
                    <a:prstClr val="white"/>
                  </a:solidFill>
                  <a:latin typeface="微软雅黑" pitchFamily="34" charset="-122"/>
                  <a:ea typeface="微软雅黑" pitchFamily="34" charset="-122"/>
                  <a:cs typeface="Times New Roman" panose="02020603050405020304" pitchFamily="18" charset="0"/>
                </a:endParaRPr>
              </a:p>
            </p:txBody>
          </p:sp>
          <p:sp>
            <p:nvSpPr>
              <p:cNvPr id="262" name="矩形 261">
                <a:extLst>
                  <a:ext uri="{FF2B5EF4-FFF2-40B4-BE49-F238E27FC236}">
                    <a16:creationId xmlns:a16="http://schemas.microsoft.com/office/drawing/2014/main" id="{6650909B-0E83-4328-A8E5-1D150E242363}"/>
                  </a:ext>
                </a:extLst>
              </p:cNvPr>
              <p:cNvSpPr/>
              <p:nvPr/>
            </p:nvSpPr>
            <p:spPr>
              <a:xfrm>
                <a:off x="963426" y="4730720"/>
                <a:ext cx="691200" cy="269658"/>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成品 </a:t>
                </a:r>
                <a:r>
                  <a:rPr 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   </a:t>
                </a:r>
                <a:endParaRPr lang="zh-CN" altLang="en-US" kern="100" dirty="0">
                  <a:ln>
                    <a:solidFill>
                      <a:prstClr val="white"/>
                    </a:solidFill>
                  </a:ln>
                  <a:solidFill>
                    <a:prstClr val="white"/>
                  </a:solidFill>
                  <a:latin typeface="微软雅黑" pitchFamily="34" charset="-122"/>
                  <a:ea typeface="微软雅黑" pitchFamily="34" charset="-122"/>
                  <a:cs typeface="Times New Roman" panose="02020603050405020304" pitchFamily="18" charset="0"/>
                </a:endParaRPr>
              </a:p>
            </p:txBody>
          </p:sp>
          <p:sp>
            <p:nvSpPr>
              <p:cNvPr id="263" name="矩形 262">
                <a:extLst>
                  <a:ext uri="{FF2B5EF4-FFF2-40B4-BE49-F238E27FC236}">
                    <a16:creationId xmlns:a16="http://schemas.microsoft.com/office/drawing/2014/main" id="{EB797245-7A1A-4EE6-AEB9-F69B9EDECD53}"/>
                  </a:ext>
                </a:extLst>
              </p:cNvPr>
              <p:cNvSpPr/>
              <p:nvPr/>
            </p:nvSpPr>
            <p:spPr>
              <a:xfrm>
                <a:off x="2033065" y="1837030"/>
                <a:ext cx="732360" cy="27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在线检测</a:t>
                </a:r>
                <a:r>
                  <a:rPr 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   </a:t>
                </a:r>
                <a:endPar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endParaRPr>
              </a:p>
            </p:txBody>
          </p:sp>
          <p:sp>
            <p:nvSpPr>
              <p:cNvPr id="264" name="矩形 263">
                <a:extLst>
                  <a:ext uri="{FF2B5EF4-FFF2-40B4-BE49-F238E27FC236}">
                    <a16:creationId xmlns:a16="http://schemas.microsoft.com/office/drawing/2014/main" id="{9E2250AA-3C2B-416D-BDF9-6D71F66DD482}"/>
                  </a:ext>
                </a:extLst>
              </p:cNvPr>
              <p:cNvSpPr/>
              <p:nvPr/>
            </p:nvSpPr>
            <p:spPr>
              <a:xfrm>
                <a:off x="1887855" y="1344273"/>
                <a:ext cx="1024460" cy="270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优化控制</a:t>
                </a:r>
                <a:r>
                  <a:rPr 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    </a:t>
                </a:r>
                <a:endPar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endParaRPr>
              </a:p>
            </p:txBody>
          </p:sp>
          <p:cxnSp>
            <p:nvCxnSpPr>
              <p:cNvPr id="265" name="直接箭头连接符 264">
                <a:extLst>
                  <a:ext uri="{FF2B5EF4-FFF2-40B4-BE49-F238E27FC236}">
                    <a16:creationId xmlns:a16="http://schemas.microsoft.com/office/drawing/2014/main" id="{D75EDBF1-F721-4152-A0D2-342BA5995B5E}"/>
                  </a:ext>
                </a:extLst>
              </p:cNvPr>
              <p:cNvCxnSpPr/>
              <p:nvPr/>
            </p:nvCxnSpPr>
            <p:spPr>
              <a:xfrm flipH="1">
                <a:off x="1654778" y="1971530"/>
                <a:ext cx="378287" cy="494"/>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66" name="直接箭头连接符 265">
                <a:extLst>
                  <a:ext uri="{FF2B5EF4-FFF2-40B4-BE49-F238E27FC236}">
                    <a16:creationId xmlns:a16="http://schemas.microsoft.com/office/drawing/2014/main" id="{C1E64608-DCFF-47E6-8BE6-FFE1856E6D25}"/>
                  </a:ext>
                </a:extLst>
              </p:cNvPr>
              <p:cNvCxnSpPr>
                <a:stCxn id="263" idx="0"/>
              </p:cNvCxnSpPr>
              <p:nvPr/>
            </p:nvCxnSpPr>
            <p:spPr>
              <a:xfrm flipV="1">
                <a:off x="2399245" y="1614273"/>
                <a:ext cx="0" cy="222757"/>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67" name="直接箭头连接符 266">
                <a:extLst>
                  <a:ext uri="{FF2B5EF4-FFF2-40B4-BE49-F238E27FC236}">
                    <a16:creationId xmlns:a16="http://schemas.microsoft.com/office/drawing/2014/main" id="{97761E67-242F-4D9A-A8ED-2E372078BF04}"/>
                  </a:ext>
                </a:extLst>
              </p:cNvPr>
              <p:cNvCxnSpPr/>
              <p:nvPr/>
            </p:nvCxnSpPr>
            <p:spPr>
              <a:xfrm flipH="1">
                <a:off x="1656715" y="1479269"/>
                <a:ext cx="230300" cy="0"/>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sp>
            <p:nvSpPr>
              <p:cNvPr id="268" name="矩形 267">
                <a:extLst>
                  <a:ext uri="{FF2B5EF4-FFF2-40B4-BE49-F238E27FC236}">
                    <a16:creationId xmlns:a16="http://schemas.microsoft.com/office/drawing/2014/main" id="{617E283F-65C5-4852-AC50-35779BE4DC71}"/>
                  </a:ext>
                </a:extLst>
              </p:cNvPr>
              <p:cNvSpPr/>
              <p:nvPr/>
            </p:nvSpPr>
            <p:spPr>
              <a:xfrm>
                <a:off x="964565" y="2258416"/>
                <a:ext cx="690880" cy="65214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zh-CN" altLang="en-US" dirty="0">
                    <a:ln>
                      <a:solidFill>
                        <a:prstClr val="white"/>
                      </a:solidFill>
                    </a:ln>
                    <a:solidFill>
                      <a:prstClr val="white"/>
                    </a:solidFill>
                    <a:effectLst>
                      <a:outerShdw blurRad="38100" dist="19050" dir="2700000" algn="tl" rotWithShape="0">
                        <a:prstClr val="black">
                          <a:alpha val="40000"/>
                        </a:prstClr>
                      </a:outerShdw>
                    </a:effectLst>
                    <a:latin typeface="微软雅黑" pitchFamily="34" charset="-122"/>
                    <a:ea typeface="微软雅黑" pitchFamily="34" charset="-122"/>
                    <a:cs typeface="Times New Roman" panose="02020603050405020304" pitchFamily="18" charset="0"/>
                  </a:rPr>
                  <a:t>干燥</a:t>
                </a:r>
                <a:r>
                  <a:rPr lang="en-US" dirty="0">
                    <a:ln>
                      <a:solidFill>
                        <a:prstClr val="white"/>
                      </a:solidFill>
                    </a:ln>
                    <a:solidFill>
                      <a:prstClr val="white"/>
                    </a:solidFill>
                    <a:effectLst>
                      <a:outerShdw blurRad="38100" dist="19050" dir="2700000" algn="tl" rotWithShape="0">
                        <a:prstClr val="black">
                          <a:alpha val="40000"/>
                        </a:prstClr>
                      </a:outerShdw>
                    </a:effectLst>
                    <a:latin typeface="微软雅黑" pitchFamily="34" charset="-122"/>
                    <a:ea typeface="微软雅黑" pitchFamily="34" charset="-122"/>
                    <a:cs typeface="Times New Roman" panose="02020603050405020304" pitchFamily="18" charset="0"/>
                  </a:rPr>
                  <a:t>   </a:t>
                </a:r>
                <a:endParaRPr lang="zh-CN" altLang="en-US" dirty="0">
                  <a:ln>
                    <a:solidFill>
                      <a:prstClr val="white"/>
                    </a:solidFill>
                  </a:ln>
                  <a:solidFill>
                    <a:prstClr val="white"/>
                  </a:solidFill>
                  <a:latin typeface="微软雅黑" pitchFamily="34" charset="-122"/>
                  <a:ea typeface="微软雅黑" pitchFamily="34" charset="-122"/>
                  <a:cs typeface="宋体" panose="02010600030101010101" pitchFamily="2" charset="-122"/>
                </a:endParaRPr>
              </a:p>
            </p:txBody>
          </p:sp>
          <p:sp>
            <p:nvSpPr>
              <p:cNvPr id="269" name="矩形 268">
                <a:extLst>
                  <a:ext uri="{FF2B5EF4-FFF2-40B4-BE49-F238E27FC236}">
                    <a16:creationId xmlns:a16="http://schemas.microsoft.com/office/drawing/2014/main" id="{82AF484B-F8C4-46FF-AD3C-4319A52C8647}"/>
                  </a:ext>
                </a:extLst>
              </p:cNvPr>
              <p:cNvSpPr/>
              <p:nvPr/>
            </p:nvSpPr>
            <p:spPr>
              <a:xfrm>
                <a:off x="2033905" y="2698471"/>
                <a:ext cx="732155" cy="2698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在线检测</a:t>
                </a:r>
                <a:r>
                  <a:rPr 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   </a:t>
                </a:r>
                <a:endPar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endParaRPr>
              </a:p>
            </p:txBody>
          </p:sp>
          <p:sp>
            <p:nvSpPr>
              <p:cNvPr id="270" name="矩形 269">
                <a:extLst>
                  <a:ext uri="{FF2B5EF4-FFF2-40B4-BE49-F238E27FC236}">
                    <a16:creationId xmlns:a16="http://schemas.microsoft.com/office/drawing/2014/main" id="{1502EFF9-8202-4B0D-A063-6EF1FE3A70BA}"/>
                  </a:ext>
                </a:extLst>
              </p:cNvPr>
              <p:cNvSpPr/>
              <p:nvPr/>
            </p:nvSpPr>
            <p:spPr>
              <a:xfrm>
                <a:off x="1887855" y="2205711"/>
                <a:ext cx="1024255" cy="2698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优化控制</a:t>
                </a:r>
                <a:r>
                  <a:rPr 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    </a:t>
                </a:r>
                <a:endPar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endParaRPr>
              </a:p>
            </p:txBody>
          </p:sp>
          <p:cxnSp>
            <p:nvCxnSpPr>
              <p:cNvPr id="271" name="直接箭头连接符 270">
                <a:extLst>
                  <a:ext uri="{FF2B5EF4-FFF2-40B4-BE49-F238E27FC236}">
                    <a16:creationId xmlns:a16="http://schemas.microsoft.com/office/drawing/2014/main" id="{173EA3F2-82FA-4EC3-B137-4191C41DD6B7}"/>
                  </a:ext>
                </a:extLst>
              </p:cNvPr>
              <p:cNvCxnSpPr/>
              <p:nvPr/>
            </p:nvCxnSpPr>
            <p:spPr>
              <a:xfrm flipH="1">
                <a:off x="1655445" y="2833091"/>
                <a:ext cx="377825" cy="0"/>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72" name="直接箭头连接符 271">
                <a:extLst>
                  <a:ext uri="{FF2B5EF4-FFF2-40B4-BE49-F238E27FC236}">
                    <a16:creationId xmlns:a16="http://schemas.microsoft.com/office/drawing/2014/main" id="{ACDAE1F5-0B30-4BBE-8E2C-592E2BEAA308}"/>
                  </a:ext>
                </a:extLst>
              </p:cNvPr>
              <p:cNvCxnSpPr/>
              <p:nvPr/>
            </p:nvCxnSpPr>
            <p:spPr>
              <a:xfrm flipV="1">
                <a:off x="2400300" y="2476221"/>
                <a:ext cx="0" cy="222250"/>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73" name="直接箭头连接符 272">
                <a:extLst>
                  <a:ext uri="{FF2B5EF4-FFF2-40B4-BE49-F238E27FC236}">
                    <a16:creationId xmlns:a16="http://schemas.microsoft.com/office/drawing/2014/main" id="{7A0FFA30-2E42-4BE3-9313-661D2D950CE8}"/>
                  </a:ext>
                </a:extLst>
              </p:cNvPr>
              <p:cNvCxnSpPr/>
              <p:nvPr/>
            </p:nvCxnSpPr>
            <p:spPr>
              <a:xfrm flipH="1">
                <a:off x="1654175" y="2340956"/>
                <a:ext cx="233680" cy="0"/>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74" name="直接箭头连接符 273">
                <a:extLst>
                  <a:ext uri="{FF2B5EF4-FFF2-40B4-BE49-F238E27FC236}">
                    <a16:creationId xmlns:a16="http://schemas.microsoft.com/office/drawing/2014/main" id="{3447D276-27DD-4A15-840F-B445EDEF457E}"/>
                  </a:ext>
                </a:extLst>
              </p:cNvPr>
              <p:cNvCxnSpPr>
                <a:endCxn id="268" idx="0"/>
              </p:cNvCxnSpPr>
              <p:nvPr/>
            </p:nvCxnSpPr>
            <p:spPr>
              <a:xfrm>
                <a:off x="1309178" y="2049373"/>
                <a:ext cx="827" cy="209035"/>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75" name="直接箭头连接符 274">
                <a:extLst>
                  <a:ext uri="{FF2B5EF4-FFF2-40B4-BE49-F238E27FC236}">
                    <a16:creationId xmlns:a16="http://schemas.microsoft.com/office/drawing/2014/main" id="{9FF6AD1F-5262-43BF-8141-513663C9125D}"/>
                  </a:ext>
                </a:extLst>
              </p:cNvPr>
              <p:cNvCxnSpPr>
                <a:stCxn id="268" idx="2"/>
                <a:endCxn id="259" idx="0"/>
              </p:cNvCxnSpPr>
              <p:nvPr/>
            </p:nvCxnSpPr>
            <p:spPr>
              <a:xfrm flipH="1">
                <a:off x="1308840" y="2910561"/>
                <a:ext cx="1165" cy="70896"/>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76" name="直接箭头连接符 275">
                <a:extLst>
                  <a:ext uri="{FF2B5EF4-FFF2-40B4-BE49-F238E27FC236}">
                    <a16:creationId xmlns:a16="http://schemas.microsoft.com/office/drawing/2014/main" id="{DE8BB407-4B72-4579-8AB8-70C9F2E0FF87}"/>
                  </a:ext>
                </a:extLst>
              </p:cNvPr>
              <p:cNvCxnSpPr>
                <a:endCxn id="260" idx="0"/>
              </p:cNvCxnSpPr>
              <p:nvPr/>
            </p:nvCxnSpPr>
            <p:spPr>
              <a:xfrm flipH="1">
                <a:off x="1308840" y="3251443"/>
                <a:ext cx="1165" cy="154377"/>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77" name="直接箭头连接符 276">
                <a:extLst>
                  <a:ext uri="{FF2B5EF4-FFF2-40B4-BE49-F238E27FC236}">
                    <a16:creationId xmlns:a16="http://schemas.microsoft.com/office/drawing/2014/main" id="{8C195CDD-FC13-4802-A7D3-9A5A7A5450BA}"/>
                  </a:ext>
                </a:extLst>
              </p:cNvPr>
              <p:cNvCxnSpPr>
                <a:stCxn id="260" idx="2"/>
                <a:endCxn id="261" idx="0"/>
              </p:cNvCxnSpPr>
              <p:nvPr/>
            </p:nvCxnSpPr>
            <p:spPr>
              <a:xfrm>
                <a:off x="1308840" y="3675833"/>
                <a:ext cx="338" cy="243593"/>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78" name="直接箭头连接符 277">
                <a:extLst>
                  <a:ext uri="{FF2B5EF4-FFF2-40B4-BE49-F238E27FC236}">
                    <a16:creationId xmlns:a16="http://schemas.microsoft.com/office/drawing/2014/main" id="{CC487D0A-0AB8-461F-863C-72483046DFA9}"/>
                  </a:ext>
                </a:extLst>
              </p:cNvPr>
              <p:cNvCxnSpPr>
                <a:endCxn id="262" idx="0"/>
              </p:cNvCxnSpPr>
              <p:nvPr/>
            </p:nvCxnSpPr>
            <p:spPr>
              <a:xfrm>
                <a:off x="1308690" y="4563179"/>
                <a:ext cx="336" cy="167523"/>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79" name="直接箭头连接符 278">
                <a:extLst>
                  <a:ext uri="{FF2B5EF4-FFF2-40B4-BE49-F238E27FC236}">
                    <a16:creationId xmlns:a16="http://schemas.microsoft.com/office/drawing/2014/main" id="{56BC2803-B3D8-4842-944C-78E6A6933010}"/>
                  </a:ext>
                </a:extLst>
              </p:cNvPr>
              <p:cNvCxnSpPr>
                <a:stCxn id="294" idx="1"/>
              </p:cNvCxnSpPr>
              <p:nvPr/>
            </p:nvCxnSpPr>
            <p:spPr>
              <a:xfrm flipH="1" flipV="1">
                <a:off x="1658652" y="4016770"/>
                <a:ext cx="237205" cy="1"/>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80" name="直接箭头连接符 279">
                <a:extLst>
                  <a:ext uri="{FF2B5EF4-FFF2-40B4-BE49-F238E27FC236}">
                    <a16:creationId xmlns:a16="http://schemas.microsoft.com/office/drawing/2014/main" id="{0B520DD5-AB36-4FE3-BBC8-3ED5EBADDBAA}"/>
                  </a:ext>
                </a:extLst>
              </p:cNvPr>
              <p:cNvCxnSpPr/>
              <p:nvPr/>
            </p:nvCxnSpPr>
            <p:spPr>
              <a:xfrm flipH="1">
                <a:off x="1654151" y="4444897"/>
                <a:ext cx="373339" cy="0"/>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81" name="直接箭头连接符 280">
                <a:extLst>
                  <a:ext uri="{FF2B5EF4-FFF2-40B4-BE49-F238E27FC236}">
                    <a16:creationId xmlns:a16="http://schemas.microsoft.com/office/drawing/2014/main" id="{13654E73-558D-4492-A56F-549CFDAC71BC}"/>
                  </a:ext>
                </a:extLst>
              </p:cNvPr>
              <p:cNvCxnSpPr>
                <a:stCxn id="263" idx="3"/>
              </p:cNvCxnSpPr>
              <p:nvPr/>
            </p:nvCxnSpPr>
            <p:spPr>
              <a:xfrm flipV="1">
                <a:off x="2765425" y="1971514"/>
                <a:ext cx="856349" cy="509"/>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82" name="直接箭头连接符 281">
                <a:extLst>
                  <a:ext uri="{FF2B5EF4-FFF2-40B4-BE49-F238E27FC236}">
                    <a16:creationId xmlns:a16="http://schemas.microsoft.com/office/drawing/2014/main" id="{C3EFCAED-B773-4C02-9A17-D51E4F418AA0}"/>
                  </a:ext>
                </a:extLst>
              </p:cNvPr>
              <p:cNvCxnSpPr/>
              <p:nvPr/>
            </p:nvCxnSpPr>
            <p:spPr>
              <a:xfrm>
                <a:off x="2766060" y="2833065"/>
                <a:ext cx="855714" cy="0"/>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83" name="直接箭头连接符 282">
                <a:extLst>
                  <a:ext uri="{FF2B5EF4-FFF2-40B4-BE49-F238E27FC236}">
                    <a16:creationId xmlns:a16="http://schemas.microsoft.com/office/drawing/2014/main" id="{8B4DB097-D4E9-4920-9B6D-8686666D154C}"/>
                  </a:ext>
                </a:extLst>
              </p:cNvPr>
              <p:cNvCxnSpPr/>
              <p:nvPr/>
            </p:nvCxnSpPr>
            <p:spPr>
              <a:xfrm>
                <a:off x="2771643" y="4444041"/>
                <a:ext cx="850027" cy="6925"/>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84" name="直接箭头连接符 283">
                <a:extLst>
                  <a:ext uri="{FF2B5EF4-FFF2-40B4-BE49-F238E27FC236}">
                    <a16:creationId xmlns:a16="http://schemas.microsoft.com/office/drawing/2014/main" id="{17F6F872-AC5E-454C-B490-8DC63FD5922C}"/>
                  </a:ext>
                </a:extLst>
              </p:cNvPr>
              <p:cNvCxnSpPr/>
              <p:nvPr/>
            </p:nvCxnSpPr>
            <p:spPr>
              <a:xfrm flipH="1">
                <a:off x="1308690" y="1179508"/>
                <a:ext cx="1315" cy="222250"/>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sp>
            <p:nvSpPr>
              <p:cNvPr id="285" name="矩形 284">
                <a:extLst>
                  <a:ext uri="{FF2B5EF4-FFF2-40B4-BE49-F238E27FC236}">
                    <a16:creationId xmlns:a16="http://schemas.microsoft.com/office/drawing/2014/main" id="{9714AAC2-D92C-4A10-84C4-2B6880D033EE}"/>
                  </a:ext>
                </a:extLst>
              </p:cNvPr>
              <p:cNvSpPr/>
              <p:nvPr/>
            </p:nvSpPr>
            <p:spPr>
              <a:xfrm>
                <a:off x="2035002" y="973430"/>
                <a:ext cx="732360" cy="27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在线检测</a:t>
                </a:r>
                <a:r>
                  <a:rPr 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   </a:t>
                </a:r>
                <a:endPar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endParaRPr>
              </a:p>
            </p:txBody>
          </p:sp>
          <p:sp>
            <p:nvSpPr>
              <p:cNvPr id="286" name="矩形 285">
                <a:extLst>
                  <a:ext uri="{FF2B5EF4-FFF2-40B4-BE49-F238E27FC236}">
                    <a16:creationId xmlns:a16="http://schemas.microsoft.com/office/drawing/2014/main" id="{CD7AA0D6-7AAB-4D7E-81CA-20940AED4B45}"/>
                  </a:ext>
                </a:extLst>
              </p:cNvPr>
              <p:cNvSpPr/>
              <p:nvPr/>
            </p:nvSpPr>
            <p:spPr>
              <a:xfrm>
                <a:off x="1889792" y="480673"/>
                <a:ext cx="1024460" cy="2700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优化控制</a:t>
                </a:r>
                <a:r>
                  <a:rPr 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    </a:t>
                </a:r>
                <a:endPar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endParaRPr>
              </a:p>
            </p:txBody>
          </p:sp>
          <p:cxnSp>
            <p:nvCxnSpPr>
              <p:cNvPr id="287" name="直接箭头连接符 286">
                <a:extLst>
                  <a:ext uri="{FF2B5EF4-FFF2-40B4-BE49-F238E27FC236}">
                    <a16:creationId xmlns:a16="http://schemas.microsoft.com/office/drawing/2014/main" id="{3B82A8C5-4D3B-4F40-9A5F-E9363AF52477}"/>
                  </a:ext>
                </a:extLst>
              </p:cNvPr>
              <p:cNvCxnSpPr/>
              <p:nvPr/>
            </p:nvCxnSpPr>
            <p:spPr>
              <a:xfrm flipH="1">
                <a:off x="1656715" y="1107930"/>
                <a:ext cx="378287" cy="494"/>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88" name="直接箭头连接符 287">
                <a:extLst>
                  <a:ext uri="{FF2B5EF4-FFF2-40B4-BE49-F238E27FC236}">
                    <a16:creationId xmlns:a16="http://schemas.microsoft.com/office/drawing/2014/main" id="{00A9B141-5E72-44BA-8D22-107B326D96F8}"/>
                  </a:ext>
                </a:extLst>
              </p:cNvPr>
              <p:cNvCxnSpPr>
                <a:stCxn id="285" idx="0"/>
              </p:cNvCxnSpPr>
              <p:nvPr/>
            </p:nvCxnSpPr>
            <p:spPr>
              <a:xfrm flipV="1">
                <a:off x="2401182" y="750673"/>
                <a:ext cx="0" cy="222757"/>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89" name="直接箭头连接符 288">
                <a:extLst>
                  <a:ext uri="{FF2B5EF4-FFF2-40B4-BE49-F238E27FC236}">
                    <a16:creationId xmlns:a16="http://schemas.microsoft.com/office/drawing/2014/main" id="{71BD63CE-B482-4B6B-9D16-AFAB7FFEAB4A}"/>
                  </a:ext>
                </a:extLst>
              </p:cNvPr>
              <p:cNvCxnSpPr/>
              <p:nvPr/>
            </p:nvCxnSpPr>
            <p:spPr>
              <a:xfrm flipH="1">
                <a:off x="1658652" y="615669"/>
                <a:ext cx="230300" cy="0"/>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90" name="直接箭头连接符 289">
                <a:extLst>
                  <a:ext uri="{FF2B5EF4-FFF2-40B4-BE49-F238E27FC236}">
                    <a16:creationId xmlns:a16="http://schemas.microsoft.com/office/drawing/2014/main" id="{B34CB56E-E941-4836-B332-18E392343EB5}"/>
                  </a:ext>
                </a:extLst>
              </p:cNvPr>
              <p:cNvCxnSpPr/>
              <p:nvPr/>
            </p:nvCxnSpPr>
            <p:spPr>
              <a:xfrm flipV="1">
                <a:off x="2767362" y="1107421"/>
                <a:ext cx="856349" cy="509"/>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91" name="直接箭头连接符 290">
                <a:extLst>
                  <a:ext uri="{FF2B5EF4-FFF2-40B4-BE49-F238E27FC236}">
                    <a16:creationId xmlns:a16="http://schemas.microsoft.com/office/drawing/2014/main" id="{8CAA69BB-9C93-4D56-B14A-AC761FF5C675}"/>
                  </a:ext>
                </a:extLst>
              </p:cNvPr>
              <p:cNvCxnSpPr>
                <a:endCxn id="257" idx="0"/>
              </p:cNvCxnSpPr>
              <p:nvPr/>
            </p:nvCxnSpPr>
            <p:spPr>
              <a:xfrm>
                <a:off x="1308690" y="305999"/>
                <a:ext cx="2425" cy="221909"/>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92" name="直接箭头连接符 291">
                <a:extLst>
                  <a:ext uri="{FF2B5EF4-FFF2-40B4-BE49-F238E27FC236}">
                    <a16:creationId xmlns:a16="http://schemas.microsoft.com/office/drawing/2014/main" id="{C5E3791E-FCD9-4E53-BC9B-D24CBEACFEFB}"/>
                  </a:ext>
                </a:extLst>
              </p:cNvPr>
              <p:cNvCxnSpPr>
                <a:stCxn id="256" idx="3"/>
              </p:cNvCxnSpPr>
              <p:nvPr/>
            </p:nvCxnSpPr>
            <p:spPr>
              <a:xfrm>
                <a:off x="1654151" y="170983"/>
                <a:ext cx="1967571" cy="467"/>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sp>
            <p:nvSpPr>
              <p:cNvPr id="293" name="矩形 292">
                <a:extLst>
                  <a:ext uri="{FF2B5EF4-FFF2-40B4-BE49-F238E27FC236}">
                    <a16:creationId xmlns:a16="http://schemas.microsoft.com/office/drawing/2014/main" id="{5E0E38AA-803A-4C4B-A6C1-EB6310C99370}"/>
                  </a:ext>
                </a:extLst>
              </p:cNvPr>
              <p:cNvSpPr/>
              <p:nvPr/>
            </p:nvSpPr>
            <p:spPr>
              <a:xfrm>
                <a:off x="2039488" y="4312456"/>
                <a:ext cx="732155" cy="2698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在线检测</a:t>
                </a:r>
                <a:r>
                  <a:rPr 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   </a:t>
                </a:r>
                <a:endPar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endParaRPr>
              </a:p>
            </p:txBody>
          </p:sp>
          <p:sp>
            <p:nvSpPr>
              <p:cNvPr id="294" name="矩形 293">
                <a:extLst>
                  <a:ext uri="{FF2B5EF4-FFF2-40B4-BE49-F238E27FC236}">
                    <a16:creationId xmlns:a16="http://schemas.microsoft.com/office/drawing/2014/main" id="{75BED732-B64F-4666-8036-F219C3F5FE3C}"/>
                  </a:ext>
                </a:extLst>
              </p:cNvPr>
              <p:cNvSpPr/>
              <p:nvPr/>
            </p:nvSpPr>
            <p:spPr>
              <a:xfrm>
                <a:off x="1895857" y="3881831"/>
                <a:ext cx="1024255" cy="26987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优化控制</a:t>
                </a:r>
                <a:r>
                  <a:rPr 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    </a:t>
                </a:r>
                <a:endPar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endParaRPr>
              </a:p>
            </p:txBody>
          </p:sp>
          <p:cxnSp>
            <p:nvCxnSpPr>
              <p:cNvPr id="295" name="直接箭头连接符 294">
                <a:extLst>
                  <a:ext uri="{FF2B5EF4-FFF2-40B4-BE49-F238E27FC236}">
                    <a16:creationId xmlns:a16="http://schemas.microsoft.com/office/drawing/2014/main" id="{7DBA0E7D-05DC-4953-91AC-704BA701D747}"/>
                  </a:ext>
                </a:extLst>
              </p:cNvPr>
              <p:cNvCxnSpPr>
                <a:stCxn id="293" idx="0"/>
                <a:endCxn id="294" idx="2"/>
              </p:cNvCxnSpPr>
              <p:nvPr/>
            </p:nvCxnSpPr>
            <p:spPr>
              <a:xfrm flipV="1">
                <a:off x="2405566" y="4151706"/>
                <a:ext cx="2419" cy="160751"/>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sp>
            <p:nvSpPr>
              <p:cNvPr id="296" name="矩形 295">
                <a:extLst>
                  <a:ext uri="{FF2B5EF4-FFF2-40B4-BE49-F238E27FC236}">
                    <a16:creationId xmlns:a16="http://schemas.microsoft.com/office/drawing/2014/main" id="{3ACE3D98-3B44-4E50-B44A-800FB98E5B28}"/>
                  </a:ext>
                </a:extLst>
              </p:cNvPr>
              <p:cNvSpPr/>
              <p:nvPr/>
            </p:nvSpPr>
            <p:spPr>
              <a:xfrm>
                <a:off x="2027490" y="3381974"/>
                <a:ext cx="732155" cy="2698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spcAft>
                    <a:spcPts val="0"/>
                  </a:spcAft>
                </a:pPr>
                <a:r>
                  <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线边检测</a:t>
                </a:r>
                <a:r>
                  <a:rPr 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rPr>
                  <a:t>   </a:t>
                </a:r>
                <a:endParaRPr lang="zh-CN" altLang="en-US" kern="100" dirty="0">
                  <a:ln>
                    <a:solidFill>
                      <a:prstClr val="white"/>
                    </a:solidFill>
                  </a:ln>
                  <a:solidFill>
                    <a:prstClr val="white"/>
                  </a:solidFill>
                  <a:effectLst>
                    <a:outerShdw blurRad="38100" dist="19050" dir="2700000" algn="tl">
                      <a:prstClr val="black">
                        <a:alpha val="40000"/>
                      </a:prstClr>
                    </a:outerShdw>
                  </a:effectLst>
                  <a:latin typeface="微软雅黑" pitchFamily="34" charset="-122"/>
                  <a:ea typeface="微软雅黑" pitchFamily="34" charset="-122"/>
                  <a:cs typeface="Times New Roman" panose="02020603050405020304" pitchFamily="18" charset="0"/>
                </a:endParaRPr>
              </a:p>
            </p:txBody>
          </p:sp>
          <p:cxnSp>
            <p:nvCxnSpPr>
              <p:cNvPr id="297" name="直接箭头连接符 296">
                <a:extLst>
                  <a:ext uri="{FF2B5EF4-FFF2-40B4-BE49-F238E27FC236}">
                    <a16:creationId xmlns:a16="http://schemas.microsoft.com/office/drawing/2014/main" id="{CC9218CB-3677-4163-A2B7-6364EF691C68}"/>
                  </a:ext>
                </a:extLst>
              </p:cNvPr>
              <p:cNvCxnSpPr>
                <a:stCxn id="296" idx="1"/>
              </p:cNvCxnSpPr>
              <p:nvPr/>
            </p:nvCxnSpPr>
            <p:spPr>
              <a:xfrm flipH="1">
                <a:off x="1655240" y="3516911"/>
                <a:ext cx="372250" cy="0"/>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98" name="直接箭头连接符 297">
                <a:extLst>
                  <a:ext uri="{FF2B5EF4-FFF2-40B4-BE49-F238E27FC236}">
                    <a16:creationId xmlns:a16="http://schemas.microsoft.com/office/drawing/2014/main" id="{6C6B2BC6-C149-4F10-97C2-55B64357FD4A}"/>
                  </a:ext>
                </a:extLst>
              </p:cNvPr>
              <p:cNvCxnSpPr/>
              <p:nvPr/>
            </p:nvCxnSpPr>
            <p:spPr>
              <a:xfrm>
                <a:off x="2765618" y="3515580"/>
                <a:ext cx="855714" cy="0"/>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cxnSp>
            <p:nvCxnSpPr>
              <p:cNvPr id="299" name="直接箭头连接符 298">
                <a:extLst>
                  <a:ext uri="{FF2B5EF4-FFF2-40B4-BE49-F238E27FC236}">
                    <a16:creationId xmlns:a16="http://schemas.microsoft.com/office/drawing/2014/main" id="{F8A5E0F7-81E4-41BF-B783-ACA52A2177AB}"/>
                  </a:ext>
                </a:extLst>
              </p:cNvPr>
              <p:cNvCxnSpPr/>
              <p:nvPr/>
            </p:nvCxnSpPr>
            <p:spPr>
              <a:xfrm>
                <a:off x="1654151" y="4869646"/>
                <a:ext cx="1967571" cy="467"/>
              </a:xfrm>
              <a:prstGeom prst="straightConnector1">
                <a:avLst/>
              </a:prstGeom>
              <a:ln>
                <a:tailEnd type="triangle" w="sm"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3196182298"/>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7" y="114300"/>
            <a:ext cx="4967067"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zh-CN" altLang="en-US" sz="3300" b="1" dirty="0">
                <a:solidFill>
                  <a:srgbClr val="0070C0"/>
                </a:solidFill>
                <a:latin typeface="+mj-ea"/>
                <a:ea typeface="+mj-ea"/>
              </a:rPr>
              <a:t>大数据技术应用</a:t>
            </a:r>
          </a:p>
        </p:txBody>
      </p:sp>
      <p:sp>
        <p:nvSpPr>
          <p:cNvPr id="21" name="AutoShape 1027">
            <a:hlinkClick r:id="rId3" action="ppaction://hlinksldjump" highlightClick="1"/>
            <a:extLst>
              <a:ext uri="{FF2B5EF4-FFF2-40B4-BE49-F238E27FC236}">
                <a16:creationId xmlns:a16="http://schemas.microsoft.com/office/drawing/2014/main" id="{0A3D2184-4B8B-4D4E-A6CC-363FAC7015D9}"/>
              </a:ext>
            </a:extLst>
          </p:cNvPr>
          <p:cNvSpPr>
            <a:spLocks noChangeArrowheads="1"/>
          </p:cNvSpPr>
          <p:nvPr/>
        </p:nvSpPr>
        <p:spPr bwMode="auto">
          <a:xfrm>
            <a:off x="1969812" y="691045"/>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2" name="AutoShape 1036">
            <a:hlinkClick r:id="rId3" action="ppaction://hlinksldjump" highlightClick="1"/>
            <a:extLst>
              <a:ext uri="{FF2B5EF4-FFF2-40B4-BE49-F238E27FC236}">
                <a16:creationId xmlns:a16="http://schemas.microsoft.com/office/drawing/2014/main" id="{A3D8E68E-993B-4AA1-9057-0BF98253ED7C}"/>
              </a:ext>
            </a:extLst>
          </p:cNvPr>
          <p:cNvSpPr>
            <a:spLocks noChangeArrowheads="1"/>
          </p:cNvSpPr>
          <p:nvPr/>
        </p:nvSpPr>
        <p:spPr bwMode="auto">
          <a:xfrm>
            <a:off x="5779812" y="691045"/>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pic>
        <p:nvPicPr>
          <p:cNvPr id="29" name="图片 2">
            <a:extLst>
              <a:ext uri="{FF2B5EF4-FFF2-40B4-BE49-F238E27FC236}">
                <a16:creationId xmlns:a16="http://schemas.microsoft.com/office/drawing/2014/main" id="{36DFE335-C7EB-4178-9658-1759B9748BA0}"/>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747828" y="1256645"/>
            <a:ext cx="2587625" cy="170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0" name="直接连接符 29">
            <a:extLst>
              <a:ext uri="{FF2B5EF4-FFF2-40B4-BE49-F238E27FC236}">
                <a16:creationId xmlns:a16="http://schemas.microsoft.com/office/drawing/2014/main" id="{2BE3BA64-D013-4E0D-8B01-8C08DF237FC8}"/>
              </a:ext>
            </a:extLst>
          </p:cNvPr>
          <p:cNvCxnSpPr>
            <a:cxnSpLocks/>
          </p:cNvCxnSpPr>
          <p:nvPr/>
        </p:nvCxnSpPr>
        <p:spPr>
          <a:xfrm flipH="1">
            <a:off x="7120766" y="2236132"/>
            <a:ext cx="935037" cy="865188"/>
          </a:xfrm>
          <a:prstGeom prst="line">
            <a:avLst/>
          </a:prstGeom>
          <a:ln w="38100">
            <a:solidFill>
              <a:srgbClr val="0000CC"/>
            </a:solidFill>
            <a:headEnd type="oval"/>
          </a:ln>
        </p:spPr>
        <p:style>
          <a:lnRef idx="1">
            <a:schemeClr val="accent1"/>
          </a:lnRef>
          <a:fillRef idx="0">
            <a:schemeClr val="accent1"/>
          </a:fillRef>
          <a:effectRef idx="0">
            <a:schemeClr val="accent1"/>
          </a:effectRef>
          <a:fontRef idx="minor">
            <a:schemeClr val="tx1"/>
          </a:fontRef>
        </p:style>
      </p:cxnSp>
      <p:pic>
        <p:nvPicPr>
          <p:cNvPr id="31" name="图片 5">
            <a:extLst>
              <a:ext uri="{FF2B5EF4-FFF2-40B4-BE49-F238E27FC236}">
                <a16:creationId xmlns:a16="http://schemas.microsoft.com/office/drawing/2014/main" id="{02D0C2E8-C690-4CAF-9B71-AF6A07F56369}"/>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649403" y="4828520"/>
            <a:ext cx="2665413" cy="172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文本框 13">
            <a:extLst>
              <a:ext uri="{FF2B5EF4-FFF2-40B4-BE49-F238E27FC236}">
                <a16:creationId xmlns:a16="http://schemas.microsoft.com/office/drawing/2014/main" id="{BB33C7BC-4343-440D-B5AD-4C9C47573918}"/>
              </a:ext>
            </a:extLst>
          </p:cNvPr>
          <p:cNvSpPr txBox="1">
            <a:spLocks noChangeArrowheads="1"/>
          </p:cNvSpPr>
          <p:nvPr/>
        </p:nvSpPr>
        <p:spPr bwMode="auto">
          <a:xfrm>
            <a:off x="8042780" y="5144510"/>
            <a:ext cx="2301875" cy="708025"/>
          </a:xfrm>
          <a:prstGeom prst="rect">
            <a:avLst/>
          </a:prstGeom>
          <a:ln/>
        </p:spPr>
        <p:style>
          <a:lnRef idx="2">
            <a:schemeClr val="dk1"/>
          </a:lnRef>
          <a:fillRef idx="1">
            <a:schemeClr val="lt1"/>
          </a:fillRef>
          <a:effectRef idx="0">
            <a:schemeClr val="dk1"/>
          </a:effectRef>
          <a:fontRef idx="minor">
            <a:schemeClr val="dk1"/>
          </a:fontRef>
        </p:style>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defRPr/>
            </a:pPr>
            <a:r>
              <a:rPr lang="zh-CN" altLang="en-US" sz="2000" b="1" dirty="0">
                <a:solidFill>
                  <a:srgbClr val="0000CC"/>
                </a:solidFill>
                <a:latin typeface="Times New Roman" panose="02020603050405020304" pitchFamily="18" charset="0"/>
                <a:ea typeface="微软雅黑" panose="020B0503020204020204" pitchFamily="34" charset="-122"/>
                <a:cs typeface="Times New Roman" panose="02020603050405020304" pitchFamily="18" charset="0"/>
              </a:rPr>
              <a:t>全流程可追溯</a:t>
            </a:r>
            <a:endParaRPr lang="en-US" altLang="zh-CN" sz="2000" b="1" dirty="0">
              <a:solidFill>
                <a:srgbClr val="0000CC"/>
              </a:solidFill>
              <a:latin typeface="Times New Roman" panose="02020603050405020304" pitchFamily="18" charset="0"/>
              <a:ea typeface="微软雅黑" panose="020B0503020204020204" pitchFamily="34" charset="-122"/>
              <a:cs typeface="Times New Roman" panose="02020603050405020304" pitchFamily="18" charset="0"/>
            </a:endParaRPr>
          </a:p>
          <a:p>
            <a:pPr>
              <a:spcBef>
                <a:spcPct val="0"/>
              </a:spcBef>
              <a:buFontTx/>
              <a:buNone/>
              <a:defRPr/>
            </a:pPr>
            <a:r>
              <a:rPr lang="zh-CN" altLang="en-US" sz="2000" b="1" dirty="0">
                <a:solidFill>
                  <a:srgbClr val="0000CC"/>
                </a:solidFill>
                <a:latin typeface="Times New Roman" panose="02020603050405020304" pitchFamily="18" charset="0"/>
                <a:ea typeface="微软雅黑" panose="020B0503020204020204" pitchFamily="34" charset="-122"/>
                <a:cs typeface="Times New Roman" panose="02020603050405020304" pitchFamily="18" charset="0"/>
              </a:rPr>
              <a:t>信息硬件平台</a:t>
            </a:r>
          </a:p>
        </p:txBody>
      </p:sp>
      <p:cxnSp>
        <p:nvCxnSpPr>
          <p:cNvPr id="33" name="直接连接符 32">
            <a:extLst>
              <a:ext uri="{FF2B5EF4-FFF2-40B4-BE49-F238E27FC236}">
                <a16:creationId xmlns:a16="http://schemas.microsoft.com/office/drawing/2014/main" id="{2EDA8F64-3806-41D7-A3C3-3D7405833228}"/>
              </a:ext>
            </a:extLst>
          </p:cNvPr>
          <p:cNvCxnSpPr>
            <a:cxnSpLocks/>
          </p:cNvCxnSpPr>
          <p:nvPr/>
        </p:nvCxnSpPr>
        <p:spPr>
          <a:xfrm flipH="1" flipV="1">
            <a:off x="6760403" y="4468157"/>
            <a:ext cx="1287463" cy="1357313"/>
          </a:xfrm>
          <a:prstGeom prst="line">
            <a:avLst/>
          </a:prstGeom>
          <a:ln w="38100">
            <a:solidFill>
              <a:srgbClr val="0000CC"/>
            </a:solidFill>
            <a:headEnd type="oval"/>
          </a:ln>
        </p:spPr>
        <p:style>
          <a:lnRef idx="1">
            <a:schemeClr val="accent1"/>
          </a:lnRef>
          <a:fillRef idx="0">
            <a:schemeClr val="accent1"/>
          </a:fillRef>
          <a:effectRef idx="0">
            <a:schemeClr val="accent1"/>
          </a:effectRef>
          <a:fontRef idx="minor">
            <a:schemeClr val="tx1"/>
          </a:fontRef>
        </p:style>
      </p:cxnSp>
      <p:grpSp>
        <p:nvGrpSpPr>
          <p:cNvPr id="34" name="Group 14">
            <a:extLst>
              <a:ext uri="{FF2B5EF4-FFF2-40B4-BE49-F238E27FC236}">
                <a16:creationId xmlns:a16="http://schemas.microsoft.com/office/drawing/2014/main" id="{917901E5-E3B6-4C5D-ADE8-CE3966FB6830}"/>
              </a:ext>
            </a:extLst>
          </p:cNvPr>
          <p:cNvGrpSpPr>
            <a:grpSpLocks noChangeAspect="1"/>
          </p:cNvGrpSpPr>
          <p:nvPr/>
        </p:nvGrpSpPr>
        <p:grpSpPr bwMode="auto">
          <a:xfrm>
            <a:off x="1195387" y="1185863"/>
            <a:ext cx="8878888" cy="4767262"/>
            <a:chOff x="-14" y="817"/>
            <a:chExt cx="5074" cy="3003"/>
          </a:xfrm>
        </p:grpSpPr>
        <p:sp>
          <p:nvSpPr>
            <p:cNvPr id="35" name="AutoShape 13">
              <a:extLst>
                <a:ext uri="{FF2B5EF4-FFF2-40B4-BE49-F238E27FC236}">
                  <a16:creationId xmlns:a16="http://schemas.microsoft.com/office/drawing/2014/main" id="{E12F03C1-EA7D-43C1-849C-46A56A04C931}"/>
                </a:ext>
              </a:extLst>
            </p:cNvPr>
            <p:cNvSpPr>
              <a:spLocks noChangeAspect="1" noChangeArrowheads="1" noTextEdit="1"/>
            </p:cNvSpPr>
            <p:nvPr/>
          </p:nvSpPr>
          <p:spPr bwMode="auto">
            <a:xfrm>
              <a:off x="-14" y="817"/>
              <a:ext cx="5057" cy="2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36" name="Group 215">
              <a:extLst>
                <a:ext uri="{FF2B5EF4-FFF2-40B4-BE49-F238E27FC236}">
                  <a16:creationId xmlns:a16="http://schemas.microsoft.com/office/drawing/2014/main" id="{AA454D83-B3D0-4F00-9C49-266503904D3E}"/>
                </a:ext>
              </a:extLst>
            </p:cNvPr>
            <p:cNvGrpSpPr>
              <a:grpSpLocks/>
            </p:cNvGrpSpPr>
            <p:nvPr/>
          </p:nvGrpSpPr>
          <p:grpSpPr bwMode="auto">
            <a:xfrm>
              <a:off x="0" y="845"/>
              <a:ext cx="5060" cy="2963"/>
              <a:chOff x="0" y="845"/>
              <a:chExt cx="5060" cy="2963"/>
            </a:xfrm>
          </p:grpSpPr>
          <p:sp>
            <p:nvSpPr>
              <p:cNvPr id="274" name="Rectangle 15">
                <a:extLst>
                  <a:ext uri="{FF2B5EF4-FFF2-40B4-BE49-F238E27FC236}">
                    <a16:creationId xmlns:a16="http://schemas.microsoft.com/office/drawing/2014/main" id="{C863E68A-ECD6-4337-A7BC-4B7564474914}"/>
                  </a:ext>
                </a:extLst>
              </p:cNvPr>
              <p:cNvSpPr>
                <a:spLocks noChangeArrowheads="1"/>
              </p:cNvSpPr>
              <p:nvPr/>
            </p:nvSpPr>
            <p:spPr bwMode="auto">
              <a:xfrm>
                <a:off x="1466" y="1695"/>
                <a:ext cx="1936" cy="1518"/>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75" name="Freeform 16">
                <a:extLst>
                  <a:ext uri="{FF2B5EF4-FFF2-40B4-BE49-F238E27FC236}">
                    <a16:creationId xmlns:a16="http://schemas.microsoft.com/office/drawing/2014/main" id="{00C578B4-C4F1-4E0A-9282-2976CE34E3B6}"/>
                  </a:ext>
                </a:extLst>
              </p:cNvPr>
              <p:cNvSpPr>
                <a:spLocks/>
              </p:cNvSpPr>
              <p:nvPr/>
            </p:nvSpPr>
            <p:spPr bwMode="auto">
              <a:xfrm>
                <a:off x="1468" y="1700"/>
                <a:ext cx="1928" cy="1511"/>
              </a:xfrm>
              <a:custGeom>
                <a:avLst/>
                <a:gdLst>
                  <a:gd name="T0" fmla="*/ 0 w 5449"/>
                  <a:gd name="T1" fmla="*/ 0 h 4268"/>
                  <a:gd name="T2" fmla="*/ 0 w 5449"/>
                  <a:gd name="T3" fmla="*/ 0 h 4268"/>
                  <a:gd name="T4" fmla="*/ 0 w 5449"/>
                  <a:gd name="T5" fmla="*/ 0 h 4268"/>
                  <a:gd name="T6" fmla="*/ 0 w 5449"/>
                  <a:gd name="T7" fmla="*/ 0 h 4268"/>
                  <a:gd name="T8" fmla="*/ 0 w 5449"/>
                  <a:gd name="T9" fmla="*/ 0 h 4268"/>
                  <a:gd name="T10" fmla="*/ 0 w 5449"/>
                  <a:gd name="T11" fmla="*/ 0 h 4268"/>
                  <a:gd name="T12" fmla="*/ 0 w 5449"/>
                  <a:gd name="T13" fmla="*/ 0 h 4268"/>
                  <a:gd name="T14" fmla="*/ 0 w 5449"/>
                  <a:gd name="T15" fmla="*/ 0 h 4268"/>
                  <a:gd name="T16" fmla="*/ 0 w 5449"/>
                  <a:gd name="T17" fmla="*/ 0 h 4268"/>
                  <a:gd name="T18" fmla="*/ 0 w 5449"/>
                  <a:gd name="T19" fmla="*/ 0 h 4268"/>
                  <a:gd name="T20" fmla="*/ 0 w 5449"/>
                  <a:gd name="T21" fmla="*/ 0 h 4268"/>
                  <a:gd name="T22" fmla="*/ 0 w 5449"/>
                  <a:gd name="T23" fmla="*/ 0 h 4268"/>
                  <a:gd name="T24" fmla="*/ 0 w 5449"/>
                  <a:gd name="T25" fmla="*/ 0 h 4268"/>
                  <a:gd name="T26" fmla="*/ 0 w 5449"/>
                  <a:gd name="T27" fmla="*/ 0 h 4268"/>
                  <a:gd name="T28" fmla="*/ 0 w 5449"/>
                  <a:gd name="T29" fmla="*/ 0 h 4268"/>
                  <a:gd name="T30" fmla="*/ 0 w 5449"/>
                  <a:gd name="T31" fmla="*/ 0 h 4268"/>
                  <a:gd name="T32" fmla="*/ 0 w 5449"/>
                  <a:gd name="T33" fmla="*/ 0 h 4268"/>
                  <a:gd name="T34" fmla="*/ 0 w 5449"/>
                  <a:gd name="T35" fmla="*/ 0 h 4268"/>
                  <a:gd name="T36" fmla="*/ 0 w 5449"/>
                  <a:gd name="T37" fmla="*/ 0 h 4268"/>
                  <a:gd name="T38" fmla="*/ 0 w 5449"/>
                  <a:gd name="T39" fmla="*/ 0 h 4268"/>
                  <a:gd name="T40" fmla="*/ 0 w 5449"/>
                  <a:gd name="T41" fmla="*/ 0 h 4268"/>
                  <a:gd name="T42" fmla="*/ 0 w 5449"/>
                  <a:gd name="T43" fmla="*/ 0 h 4268"/>
                  <a:gd name="T44" fmla="*/ 0 w 5449"/>
                  <a:gd name="T45" fmla="*/ 0 h 4268"/>
                  <a:gd name="T46" fmla="*/ 0 w 5449"/>
                  <a:gd name="T47" fmla="*/ 0 h 4268"/>
                  <a:gd name="T48" fmla="*/ 0 w 5449"/>
                  <a:gd name="T49" fmla="*/ 0 h 4268"/>
                  <a:gd name="T50" fmla="*/ 0 w 5449"/>
                  <a:gd name="T51" fmla="*/ 0 h 4268"/>
                  <a:gd name="T52" fmla="*/ 0 w 5449"/>
                  <a:gd name="T53" fmla="*/ 0 h 426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449"/>
                  <a:gd name="T82" fmla="*/ 0 h 4268"/>
                  <a:gd name="T83" fmla="*/ 5449 w 5449"/>
                  <a:gd name="T84" fmla="*/ 4268 h 426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449" h="4268">
                    <a:moveTo>
                      <a:pt x="407" y="1971"/>
                    </a:moveTo>
                    <a:cubicBezTo>
                      <a:pt x="156" y="2048"/>
                      <a:pt x="0" y="2382"/>
                      <a:pt x="57" y="2718"/>
                    </a:cubicBezTo>
                    <a:cubicBezTo>
                      <a:pt x="96" y="2945"/>
                      <a:pt x="225" y="3124"/>
                      <a:pt x="393" y="3182"/>
                    </a:cubicBezTo>
                    <a:cubicBezTo>
                      <a:pt x="548" y="3518"/>
                      <a:pt x="866" y="3644"/>
                      <a:pt x="1132" y="3476"/>
                    </a:cubicBezTo>
                    <a:cubicBezTo>
                      <a:pt x="1127" y="3662"/>
                      <a:pt x="1235" y="3818"/>
                      <a:pt x="1373" y="3826"/>
                    </a:cubicBezTo>
                    <a:cubicBezTo>
                      <a:pt x="1441" y="3829"/>
                      <a:pt x="1507" y="3796"/>
                      <a:pt x="1556" y="3733"/>
                    </a:cubicBezTo>
                    <a:cubicBezTo>
                      <a:pt x="1817" y="4185"/>
                      <a:pt x="2302" y="4268"/>
                      <a:pt x="2640" y="3918"/>
                    </a:cubicBezTo>
                    <a:cubicBezTo>
                      <a:pt x="2654" y="3904"/>
                      <a:pt x="2667" y="3889"/>
                      <a:pt x="2680" y="3874"/>
                    </a:cubicBezTo>
                    <a:cubicBezTo>
                      <a:pt x="2867" y="3940"/>
                      <a:pt x="3075" y="3917"/>
                      <a:pt x="3259" y="3809"/>
                    </a:cubicBezTo>
                    <a:cubicBezTo>
                      <a:pt x="3528" y="3939"/>
                      <a:pt x="3814" y="3800"/>
                      <a:pt x="3929" y="3483"/>
                    </a:cubicBezTo>
                    <a:cubicBezTo>
                      <a:pt x="4038" y="3658"/>
                      <a:pt x="4229" y="3689"/>
                      <a:pt x="4355" y="3553"/>
                    </a:cubicBezTo>
                    <a:cubicBezTo>
                      <a:pt x="4396" y="3509"/>
                      <a:pt x="4427" y="3451"/>
                      <a:pt x="4444" y="3384"/>
                    </a:cubicBezTo>
                    <a:cubicBezTo>
                      <a:pt x="4822" y="3466"/>
                      <a:pt x="5179" y="3122"/>
                      <a:pt x="5240" y="2614"/>
                    </a:cubicBezTo>
                    <a:cubicBezTo>
                      <a:pt x="5252" y="2511"/>
                      <a:pt x="5252" y="2405"/>
                      <a:pt x="5238" y="2301"/>
                    </a:cubicBezTo>
                    <a:cubicBezTo>
                      <a:pt x="5396" y="2178"/>
                      <a:pt x="5449" y="1907"/>
                      <a:pt x="5357" y="1696"/>
                    </a:cubicBezTo>
                    <a:cubicBezTo>
                      <a:pt x="5298" y="1560"/>
                      <a:pt x="5191" y="1476"/>
                      <a:pt x="5074" y="1475"/>
                    </a:cubicBezTo>
                    <a:cubicBezTo>
                      <a:pt x="5185" y="1096"/>
                      <a:pt x="5046" y="668"/>
                      <a:pt x="4763" y="519"/>
                    </a:cubicBezTo>
                    <a:cubicBezTo>
                      <a:pt x="4661" y="465"/>
                      <a:pt x="4550" y="453"/>
                      <a:pt x="4444" y="485"/>
                    </a:cubicBezTo>
                    <a:cubicBezTo>
                      <a:pt x="4381" y="179"/>
                      <a:pt x="4145" y="0"/>
                      <a:pt x="3917" y="85"/>
                    </a:cubicBezTo>
                    <a:cubicBezTo>
                      <a:pt x="3777" y="137"/>
                      <a:pt x="3666" y="280"/>
                      <a:pt x="3623" y="466"/>
                    </a:cubicBezTo>
                    <a:cubicBezTo>
                      <a:pt x="3417" y="359"/>
                      <a:pt x="3185" y="400"/>
                      <a:pt x="3007" y="576"/>
                    </a:cubicBezTo>
                    <a:cubicBezTo>
                      <a:pt x="2885" y="420"/>
                      <a:pt x="2691" y="427"/>
                      <a:pt x="2574" y="591"/>
                    </a:cubicBezTo>
                    <a:cubicBezTo>
                      <a:pt x="2490" y="710"/>
                      <a:pt x="2466" y="884"/>
                      <a:pt x="2514" y="1035"/>
                    </a:cubicBezTo>
                    <a:cubicBezTo>
                      <a:pt x="2332" y="721"/>
                      <a:pt x="1994" y="664"/>
                      <a:pt x="1759" y="909"/>
                    </a:cubicBezTo>
                    <a:cubicBezTo>
                      <a:pt x="1667" y="1006"/>
                      <a:pt x="1600" y="1140"/>
                      <a:pt x="1570" y="1292"/>
                    </a:cubicBezTo>
                    <a:cubicBezTo>
                      <a:pt x="1208" y="991"/>
                      <a:pt x="733" y="1140"/>
                      <a:pt x="508" y="1625"/>
                    </a:cubicBezTo>
                    <a:cubicBezTo>
                      <a:pt x="459" y="1731"/>
                      <a:pt x="425" y="1848"/>
                      <a:pt x="407" y="1971"/>
                    </a:cubicBezTo>
                  </a:path>
                </a:pathLst>
              </a:custGeom>
              <a:solidFill>
                <a:srgbClr val="FFFFFF"/>
              </a:solidFill>
              <a:ln w="0">
                <a:solidFill>
                  <a:srgbClr val="000000"/>
                </a:solidFill>
                <a:round/>
                <a:headEnd/>
                <a:tailEnd/>
              </a:ln>
            </p:spPr>
            <p:txBody>
              <a:bodyPr/>
              <a:lstStyle/>
              <a:p>
                <a:endParaRPr lang="zh-CN" altLang="en-US"/>
              </a:p>
            </p:txBody>
          </p:sp>
          <p:sp>
            <p:nvSpPr>
              <p:cNvPr id="276" name="Rectangle 17">
                <a:extLst>
                  <a:ext uri="{FF2B5EF4-FFF2-40B4-BE49-F238E27FC236}">
                    <a16:creationId xmlns:a16="http://schemas.microsoft.com/office/drawing/2014/main" id="{7A3F9869-98A2-4DB6-9C93-20E5F61B811E}"/>
                  </a:ext>
                </a:extLst>
              </p:cNvPr>
              <p:cNvSpPr>
                <a:spLocks noChangeArrowheads="1"/>
              </p:cNvSpPr>
              <p:nvPr/>
            </p:nvSpPr>
            <p:spPr bwMode="auto">
              <a:xfrm>
                <a:off x="1466" y="1695"/>
                <a:ext cx="1936" cy="1518"/>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77" name="Rectangle 18">
                <a:extLst>
                  <a:ext uri="{FF2B5EF4-FFF2-40B4-BE49-F238E27FC236}">
                    <a16:creationId xmlns:a16="http://schemas.microsoft.com/office/drawing/2014/main" id="{68DCA5F9-0D17-463D-9539-866D18FDCE34}"/>
                  </a:ext>
                </a:extLst>
              </p:cNvPr>
              <p:cNvSpPr>
                <a:spLocks noChangeArrowheads="1"/>
              </p:cNvSpPr>
              <p:nvPr/>
            </p:nvSpPr>
            <p:spPr bwMode="auto">
              <a:xfrm>
                <a:off x="1472" y="1712"/>
                <a:ext cx="1918" cy="1467"/>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78" name="Freeform 19">
                <a:extLst>
                  <a:ext uri="{FF2B5EF4-FFF2-40B4-BE49-F238E27FC236}">
                    <a16:creationId xmlns:a16="http://schemas.microsoft.com/office/drawing/2014/main" id="{8A1C7C5E-CC34-474A-BD35-60CB5B4FCBBC}"/>
                  </a:ext>
                </a:extLst>
              </p:cNvPr>
              <p:cNvSpPr>
                <a:spLocks/>
              </p:cNvSpPr>
              <p:nvPr/>
            </p:nvSpPr>
            <p:spPr bwMode="auto">
              <a:xfrm>
                <a:off x="1476" y="1714"/>
                <a:ext cx="1911" cy="1458"/>
              </a:xfrm>
              <a:custGeom>
                <a:avLst/>
                <a:gdLst>
                  <a:gd name="T0" fmla="*/ 0 w 5403"/>
                  <a:gd name="T1" fmla="*/ 0 h 4115"/>
                  <a:gd name="T2" fmla="*/ 0 w 5403"/>
                  <a:gd name="T3" fmla="*/ 0 h 4115"/>
                  <a:gd name="T4" fmla="*/ 0 w 5403"/>
                  <a:gd name="T5" fmla="*/ 0 h 4115"/>
                  <a:gd name="T6" fmla="*/ 0 w 5403"/>
                  <a:gd name="T7" fmla="*/ 0 h 4115"/>
                  <a:gd name="T8" fmla="*/ 0 w 5403"/>
                  <a:gd name="T9" fmla="*/ 0 h 4115"/>
                  <a:gd name="T10" fmla="*/ 0 w 5403"/>
                  <a:gd name="T11" fmla="*/ 0 h 4115"/>
                  <a:gd name="T12" fmla="*/ 0 w 5403"/>
                  <a:gd name="T13" fmla="*/ 0 h 4115"/>
                  <a:gd name="T14" fmla="*/ 0 w 5403"/>
                  <a:gd name="T15" fmla="*/ 0 h 4115"/>
                  <a:gd name="T16" fmla="*/ 0 w 5403"/>
                  <a:gd name="T17" fmla="*/ 0 h 4115"/>
                  <a:gd name="T18" fmla="*/ 0 w 5403"/>
                  <a:gd name="T19" fmla="*/ 0 h 4115"/>
                  <a:gd name="T20" fmla="*/ 0 w 5403"/>
                  <a:gd name="T21" fmla="*/ 0 h 4115"/>
                  <a:gd name="T22" fmla="*/ 0 w 5403"/>
                  <a:gd name="T23" fmla="*/ 0 h 4115"/>
                  <a:gd name="T24" fmla="*/ 0 w 5403"/>
                  <a:gd name="T25" fmla="*/ 0 h 4115"/>
                  <a:gd name="T26" fmla="*/ 0 w 5403"/>
                  <a:gd name="T27" fmla="*/ 0 h 4115"/>
                  <a:gd name="T28" fmla="*/ 0 w 5403"/>
                  <a:gd name="T29" fmla="*/ 0 h 4115"/>
                  <a:gd name="T30" fmla="*/ 0 w 5403"/>
                  <a:gd name="T31" fmla="*/ 0 h 4115"/>
                  <a:gd name="T32" fmla="*/ 0 w 5403"/>
                  <a:gd name="T33" fmla="*/ 0 h 4115"/>
                  <a:gd name="T34" fmla="*/ 0 w 5403"/>
                  <a:gd name="T35" fmla="*/ 0 h 4115"/>
                  <a:gd name="T36" fmla="*/ 0 w 5403"/>
                  <a:gd name="T37" fmla="*/ 0 h 4115"/>
                  <a:gd name="T38" fmla="*/ 0 w 5403"/>
                  <a:gd name="T39" fmla="*/ 0 h 4115"/>
                  <a:gd name="T40" fmla="*/ 0 w 5403"/>
                  <a:gd name="T41" fmla="*/ 0 h 4115"/>
                  <a:gd name="T42" fmla="*/ 0 w 5403"/>
                  <a:gd name="T43" fmla="*/ 0 h 4115"/>
                  <a:gd name="T44" fmla="*/ 0 w 5403"/>
                  <a:gd name="T45" fmla="*/ 0 h 4115"/>
                  <a:gd name="T46" fmla="*/ 0 w 5403"/>
                  <a:gd name="T47" fmla="*/ 0 h 4115"/>
                  <a:gd name="T48" fmla="*/ 0 w 5403"/>
                  <a:gd name="T49" fmla="*/ 0 h 4115"/>
                  <a:gd name="T50" fmla="*/ 0 w 5403"/>
                  <a:gd name="T51" fmla="*/ 0 h 4115"/>
                  <a:gd name="T52" fmla="*/ 0 w 5403"/>
                  <a:gd name="T53" fmla="*/ 0 h 4115"/>
                  <a:gd name="T54" fmla="*/ 0 w 5403"/>
                  <a:gd name="T55" fmla="*/ 0 h 4115"/>
                  <a:gd name="T56" fmla="*/ 0 w 5403"/>
                  <a:gd name="T57" fmla="*/ 0 h 4115"/>
                  <a:gd name="T58" fmla="*/ 0 w 5403"/>
                  <a:gd name="T59" fmla="*/ 0 h 4115"/>
                  <a:gd name="T60" fmla="*/ 0 w 5403"/>
                  <a:gd name="T61" fmla="*/ 0 h 4115"/>
                  <a:gd name="T62" fmla="*/ 0 w 5403"/>
                  <a:gd name="T63" fmla="*/ 0 h 4115"/>
                  <a:gd name="T64" fmla="*/ 0 w 5403"/>
                  <a:gd name="T65" fmla="*/ 0 h 4115"/>
                  <a:gd name="T66" fmla="*/ 0 w 5403"/>
                  <a:gd name="T67" fmla="*/ 0 h 4115"/>
                  <a:gd name="T68" fmla="*/ 0 w 5403"/>
                  <a:gd name="T69" fmla="*/ 0 h 4115"/>
                  <a:gd name="T70" fmla="*/ 0 w 5403"/>
                  <a:gd name="T71" fmla="*/ 0 h 4115"/>
                  <a:gd name="T72" fmla="*/ 0 w 5403"/>
                  <a:gd name="T73" fmla="*/ 0 h 4115"/>
                  <a:gd name="T74" fmla="*/ 0 w 5403"/>
                  <a:gd name="T75" fmla="*/ 0 h 4115"/>
                  <a:gd name="T76" fmla="*/ 0 w 5403"/>
                  <a:gd name="T77" fmla="*/ 0 h 4115"/>
                  <a:gd name="T78" fmla="*/ 0 w 5403"/>
                  <a:gd name="T79" fmla="*/ 0 h 4115"/>
                  <a:gd name="T80" fmla="*/ 0 w 5403"/>
                  <a:gd name="T81" fmla="*/ 0 h 4115"/>
                  <a:gd name="T82" fmla="*/ 0 w 5403"/>
                  <a:gd name="T83" fmla="*/ 0 h 4115"/>
                  <a:gd name="T84" fmla="*/ 0 w 5403"/>
                  <a:gd name="T85" fmla="*/ 0 h 4115"/>
                  <a:gd name="T86" fmla="*/ 0 w 5403"/>
                  <a:gd name="T87" fmla="*/ 0 h 4115"/>
                  <a:gd name="T88" fmla="*/ 0 w 5403"/>
                  <a:gd name="T89" fmla="*/ 0 h 4115"/>
                  <a:gd name="T90" fmla="*/ 0 w 5403"/>
                  <a:gd name="T91" fmla="*/ 0 h 4115"/>
                  <a:gd name="T92" fmla="*/ 0 w 5403"/>
                  <a:gd name="T93" fmla="*/ 0 h 4115"/>
                  <a:gd name="T94" fmla="*/ 0 w 5403"/>
                  <a:gd name="T95" fmla="*/ 0 h 4115"/>
                  <a:gd name="T96" fmla="*/ 0 w 5403"/>
                  <a:gd name="T97" fmla="*/ 0 h 4115"/>
                  <a:gd name="T98" fmla="*/ 0 w 5403"/>
                  <a:gd name="T99" fmla="*/ 0 h 4115"/>
                  <a:gd name="T100" fmla="*/ 0 w 5403"/>
                  <a:gd name="T101" fmla="*/ 0 h 4115"/>
                  <a:gd name="T102" fmla="*/ 0 w 5403"/>
                  <a:gd name="T103" fmla="*/ 0 h 4115"/>
                  <a:gd name="T104" fmla="*/ 0 w 5403"/>
                  <a:gd name="T105" fmla="*/ 0 h 4115"/>
                  <a:gd name="T106" fmla="*/ 0 w 5403"/>
                  <a:gd name="T107" fmla="*/ 0 h 4115"/>
                  <a:gd name="T108" fmla="*/ 0 w 5403"/>
                  <a:gd name="T109" fmla="*/ 0 h 4115"/>
                  <a:gd name="T110" fmla="*/ 0 w 5403"/>
                  <a:gd name="T111" fmla="*/ 0 h 4115"/>
                  <a:gd name="T112" fmla="*/ 0 w 5403"/>
                  <a:gd name="T113" fmla="*/ 0 h 4115"/>
                  <a:gd name="T114" fmla="*/ 0 w 5403"/>
                  <a:gd name="T115" fmla="*/ 0 h 4115"/>
                  <a:gd name="T116" fmla="*/ 0 w 5403"/>
                  <a:gd name="T117" fmla="*/ 0 h 4115"/>
                  <a:gd name="T118" fmla="*/ 0 w 5403"/>
                  <a:gd name="T119" fmla="*/ 0 h 4115"/>
                  <a:gd name="T120" fmla="*/ 0 w 5403"/>
                  <a:gd name="T121" fmla="*/ 0 h 4115"/>
                  <a:gd name="T122" fmla="*/ 0 w 5403"/>
                  <a:gd name="T123" fmla="*/ 0 h 4115"/>
                  <a:gd name="T124" fmla="*/ 0 w 5403"/>
                  <a:gd name="T125" fmla="*/ 0 h 411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403"/>
                  <a:gd name="T190" fmla="*/ 0 h 4115"/>
                  <a:gd name="T191" fmla="*/ 5403 w 5403"/>
                  <a:gd name="T192" fmla="*/ 4115 h 411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403" h="4115">
                    <a:moveTo>
                      <a:pt x="393" y="1951"/>
                    </a:moveTo>
                    <a:lnTo>
                      <a:pt x="347" y="1968"/>
                    </a:lnTo>
                    <a:lnTo>
                      <a:pt x="307" y="1990"/>
                    </a:lnTo>
                    <a:lnTo>
                      <a:pt x="311" y="1988"/>
                    </a:lnTo>
                    <a:lnTo>
                      <a:pt x="231" y="2050"/>
                    </a:lnTo>
                    <a:lnTo>
                      <a:pt x="234" y="2046"/>
                    </a:lnTo>
                    <a:lnTo>
                      <a:pt x="167" y="2126"/>
                    </a:lnTo>
                    <a:lnTo>
                      <a:pt x="169" y="2123"/>
                    </a:lnTo>
                    <a:lnTo>
                      <a:pt x="114" y="2217"/>
                    </a:lnTo>
                    <a:lnTo>
                      <a:pt x="116" y="2213"/>
                    </a:lnTo>
                    <a:lnTo>
                      <a:pt x="77" y="2320"/>
                    </a:lnTo>
                    <a:lnTo>
                      <a:pt x="53" y="2433"/>
                    </a:lnTo>
                    <a:lnTo>
                      <a:pt x="53" y="2430"/>
                    </a:lnTo>
                    <a:lnTo>
                      <a:pt x="46" y="2553"/>
                    </a:lnTo>
                    <a:lnTo>
                      <a:pt x="46" y="2549"/>
                    </a:lnTo>
                    <a:lnTo>
                      <a:pt x="58" y="2674"/>
                    </a:lnTo>
                    <a:lnTo>
                      <a:pt x="77" y="2754"/>
                    </a:lnTo>
                    <a:lnTo>
                      <a:pt x="102" y="2829"/>
                    </a:lnTo>
                    <a:lnTo>
                      <a:pt x="135" y="2898"/>
                    </a:lnTo>
                    <a:lnTo>
                      <a:pt x="175" y="2959"/>
                    </a:lnTo>
                    <a:lnTo>
                      <a:pt x="219" y="3014"/>
                    </a:lnTo>
                    <a:lnTo>
                      <a:pt x="217" y="3011"/>
                    </a:lnTo>
                    <a:lnTo>
                      <a:pt x="269" y="3058"/>
                    </a:lnTo>
                    <a:lnTo>
                      <a:pt x="266" y="3056"/>
                    </a:lnTo>
                    <a:lnTo>
                      <a:pt x="323" y="3094"/>
                    </a:lnTo>
                    <a:lnTo>
                      <a:pt x="320" y="3092"/>
                    </a:lnTo>
                    <a:lnTo>
                      <a:pt x="381" y="3119"/>
                    </a:lnTo>
                    <a:cubicBezTo>
                      <a:pt x="385" y="3121"/>
                      <a:pt x="389" y="3125"/>
                      <a:pt x="392" y="3129"/>
                    </a:cubicBezTo>
                    <a:lnTo>
                      <a:pt x="457" y="3245"/>
                    </a:lnTo>
                    <a:lnTo>
                      <a:pt x="454" y="3242"/>
                    </a:lnTo>
                    <a:lnTo>
                      <a:pt x="532" y="3337"/>
                    </a:lnTo>
                    <a:lnTo>
                      <a:pt x="529" y="3334"/>
                    </a:lnTo>
                    <a:lnTo>
                      <a:pt x="618" y="3408"/>
                    </a:lnTo>
                    <a:lnTo>
                      <a:pt x="614" y="3405"/>
                    </a:lnTo>
                    <a:lnTo>
                      <a:pt x="710" y="3456"/>
                    </a:lnTo>
                    <a:lnTo>
                      <a:pt x="707" y="3455"/>
                    </a:lnTo>
                    <a:lnTo>
                      <a:pt x="757" y="3472"/>
                    </a:lnTo>
                    <a:lnTo>
                      <a:pt x="805" y="3481"/>
                    </a:lnTo>
                    <a:lnTo>
                      <a:pt x="855" y="3486"/>
                    </a:lnTo>
                    <a:lnTo>
                      <a:pt x="904" y="3483"/>
                    </a:lnTo>
                    <a:lnTo>
                      <a:pt x="953" y="3476"/>
                    </a:lnTo>
                    <a:lnTo>
                      <a:pt x="1002" y="3461"/>
                    </a:lnTo>
                    <a:lnTo>
                      <a:pt x="1052" y="3441"/>
                    </a:lnTo>
                    <a:lnTo>
                      <a:pt x="1099" y="3414"/>
                    </a:lnTo>
                    <a:cubicBezTo>
                      <a:pt x="1106" y="3410"/>
                      <a:pt x="1115" y="3410"/>
                      <a:pt x="1122" y="3414"/>
                    </a:cubicBezTo>
                    <a:cubicBezTo>
                      <a:pt x="1129" y="3418"/>
                      <a:pt x="1133" y="3425"/>
                      <a:pt x="1133" y="3433"/>
                    </a:cubicBezTo>
                    <a:lnTo>
                      <a:pt x="1136" y="3501"/>
                    </a:lnTo>
                    <a:lnTo>
                      <a:pt x="1136" y="3498"/>
                    </a:lnTo>
                    <a:lnTo>
                      <a:pt x="1149" y="3562"/>
                    </a:lnTo>
                    <a:lnTo>
                      <a:pt x="1148" y="3558"/>
                    </a:lnTo>
                    <a:lnTo>
                      <a:pt x="1170" y="3616"/>
                    </a:lnTo>
                    <a:lnTo>
                      <a:pt x="1169" y="3613"/>
                    </a:lnTo>
                    <a:lnTo>
                      <a:pt x="1198" y="3665"/>
                    </a:lnTo>
                    <a:lnTo>
                      <a:pt x="1195" y="3662"/>
                    </a:lnTo>
                    <a:lnTo>
                      <a:pt x="1231" y="3705"/>
                    </a:lnTo>
                    <a:lnTo>
                      <a:pt x="1228" y="3702"/>
                    </a:lnTo>
                    <a:lnTo>
                      <a:pt x="1269" y="3735"/>
                    </a:lnTo>
                    <a:lnTo>
                      <a:pt x="1264" y="3732"/>
                    </a:lnTo>
                    <a:lnTo>
                      <a:pt x="1311" y="3754"/>
                    </a:lnTo>
                    <a:lnTo>
                      <a:pt x="1306" y="3752"/>
                    </a:lnTo>
                    <a:lnTo>
                      <a:pt x="1356" y="3762"/>
                    </a:lnTo>
                    <a:lnTo>
                      <a:pt x="1350" y="3762"/>
                    </a:lnTo>
                    <a:lnTo>
                      <a:pt x="1400" y="3758"/>
                    </a:lnTo>
                    <a:lnTo>
                      <a:pt x="1394" y="3759"/>
                    </a:lnTo>
                    <a:lnTo>
                      <a:pt x="1443" y="3741"/>
                    </a:lnTo>
                    <a:lnTo>
                      <a:pt x="1438" y="3743"/>
                    </a:lnTo>
                    <a:lnTo>
                      <a:pt x="1482" y="3714"/>
                    </a:lnTo>
                    <a:lnTo>
                      <a:pt x="1478" y="3718"/>
                    </a:lnTo>
                    <a:lnTo>
                      <a:pt x="1518" y="3676"/>
                    </a:lnTo>
                    <a:cubicBezTo>
                      <a:pt x="1523" y="3670"/>
                      <a:pt x="1530" y="3668"/>
                      <a:pt x="1537" y="3669"/>
                    </a:cubicBezTo>
                    <a:cubicBezTo>
                      <a:pt x="1544" y="3669"/>
                      <a:pt x="1550" y="3673"/>
                      <a:pt x="1554" y="3679"/>
                    </a:cubicBezTo>
                    <a:lnTo>
                      <a:pt x="1605" y="3759"/>
                    </a:lnTo>
                    <a:lnTo>
                      <a:pt x="1661" y="3829"/>
                    </a:lnTo>
                    <a:lnTo>
                      <a:pt x="1719" y="3891"/>
                    </a:lnTo>
                    <a:lnTo>
                      <a:pt x="1781" y="3943"/>
                    </a:lnTo>
                    <a:lnTo>
                      <a:pt x="1846" y="3986"/>
                    </a:lnTo>
                    <a:lnTo>
                      <a:pt x="1914" y="4020"/>
                    </a:lnTo>
                    <a:lnTo>
                      <a:pt x="1983" y="4046"/>
                    </a:lnTo>
                    <a:lnTo>
                      <a:pt x="2053" y="4062"/>
                    </a:lnTo>
                    <a:lnTo>
                      <a:pt x="2124" y="4070"/>
                    </a:lnTo>
                    <a:lnTo>
                      <a:pt x="2195" y="4067"/>
                    </a:lnTo>
                    <a:lnTo>
                      <a:pt x="2266" y="4057"/>
                    </a:lnTo>
                    <a:lnTo>
                      <a:pt x="2337" y="4036"/>
                    </a:lnTo>
                    <a:lnTo>
                      <a:pt x="2407" y="4007"/>
                    </a:lnTo>
                    <a:lnTo>
                      <a:pt x="2474" y="3968"/>
                    </a:lnTo>
                    <a:lnTo>
                      <a:pt x="2540" y="3919"/>
                    </a:lnTo>
                    <a:lnTo>
                      <a:pt x="2603" y="3860"/>
                    </a:lnTo>
                    <a:lnTo>
                      <a:pt x="2641" y="3817"/>
                    </a:lnTo>
                    <a:cubicBezTo>
                      <a:pt x="2647" y="3810"/>
                      <a:pt x="2657" y="3808"/>
                      <a:pt x="2665" y="3810"/>
                    </a:cubicBezTo>
                    <a:lnTo>
                      <a:pt x="2736" y="3831"/>
                    </a:lnTo>
                    <a:lnTo>
                      <a:pt x="2805" y="3843"/>
                    </a:lnTo>
                    <a:lnTo>
                      <a:pt x="2877" y="3846"/>
                    </a:lnTo>
                    <a:lnTo>
                      <a:pt x="2948" y="3842"/>
                    </a:lnTo>
                    <a:lnTo>
                      <a:pt x="3018" y="3830"/>
                    </a:lnTo>
                    <a:lnTo>
                      <a:pt x="3089" y="3810"/>
                    </a:lnTo>
                    <a:lnTo>
                      <a:pt x="3159" y="3783"/>
                    </a:lnTo>
                    <a:lnTo>
                      <a:pt x="3227" y="3747"/>
                    </a:lnTo>
                    <a:cubicBezTo>
                      <a:pt x="3233" y="3744"/>
                      <a:pt x="3240" y="3744"/>
                      <a:pt x="3246" y="3746"/>
                    </a:cubicBezTo>
                    <a:lnTo>
                      <a:pt x="3297" y="3767"/>
                    </a:lnTo>
                    <a:lnTo>
                      <a:pt x="3345" y="3781"/>
                    </a:lnTo>
                    <a:lnTo>
                      <a:pt x="3393" y="3790"/>
                    </a:lnTo>
                    <a:lnTo>
                      <a:pt x="3441" y="3792"/>
                    </a:lnTo>
                    <a:lnTo>
                      <a:pt x="3437" y="3793"/>
                    </a:lnTo>
                    <a:lnTo>
                      <a:pt x="3535" y="3783"/>
                    </a:lnTo>
                    <a:lnTo>
                      <a:pt x="3530" y="3784"/>
                    </a:lnTo>
                    <a:lnTo>
                      <a:pt x="3623" y="3751"/>
                    </a:lnTo>
                    <a:lnTo>
                      <a:pt x="3618" y="3753"/>
                    </a:lnTo>
                    <a:lnTo>
                      <a:pt x="3703" y="3699"/>
                    </a:lnTo>
                    <a:lnTo>
                      <a:pt x="3700" y="3702"/>
                    </a:lnTo>
                    <a:lnTo>
                      <a:pt x="3777" y="3628"/>
                    </a:lnTo>
                    <a:lnTo>
                      <a:pt x="3773" y="3631"/>
                    </a:lnTo>
                    <a:lnTo>
                      <a:pt x="3837" y="3538"/>
                    </a:lnTo>
                    <a:lnTo>
                      <a:pt x="3836" y="3542"/>
                    </a:lnTo>
                    <a:lnTo>
                      <a:pt x="3887" y="3432"/>
                    </a:lnTo>
                    <a:cubicBezTo>
                      <a:pt x="3890" y="3424"/>
                      <a:pt x="3897" y="3419"/>
                      <a:pt x="3905" y="3419"/>
                    </a:cubicBezTo>
                    <a:cubicBezTo>
                      <a:pt x="3913" y="3418"/>
                      <a:pt x="3921" y="3421"/>
                      <a:pt x="3926" y="3428"/>
                    </a:cubicBezTo>
                    <a:lnTo>
                      <a:pt x="3970" y="3487"/>
                    </a:lnTo>
                    <a:lnTo>
                      <a:pt x="3967" y="3483"/>
                    </a:lnTo>
                    <a:lnTo>
                      <a:pt x="4018" y="3528"/>
                    </a:lnTo>
                    <a:lnTo>
                      <a:pt x="4014" y="3525"/>
                    </a:lnTo>
                    <a:lnTo>
                      <a:pt x="4068" y="3556"/>
                    </a:lnTo>
                    <a:lnTo>
                      <a:pt x="4063" y="3554"/>
                    </a:lnTo>
                    <a:lnTo>
                      <a:pt x="4121" y="3571"/>
                    </a:lnTo>
                    <a:lnTo>
                      <a:pt x="4115" y="3570"/>
                    </a:lnTo>
                    <a:lnTo>
                      <a:pt x="4173" y="3572"/>
                    </a:lnTo>
                    <a:lnTo>
                      <a:pt x="4167" y="3573"/>
                    </a:lnTo>
                    <a:lnTo>
                      <a:pt x="4224" y="3560"/>
                    </a:lnTo>
                    <a:lnTo>
                      <a:pt x="4219" y="3562"/>
                    </a:lnTo>
                    <a:lnTo>
                      <a:pt x="4273" y="3534"/>
                    </a:lnTo>
                    <a:lnTo>
                      <a:pt x="4268" y="3537"/>
                    </a:lnTo>
                    <a:lnTo>
                      <a:pt x="4318" y="3494"/>
                    </a:lnTo>
                    <a:lnTo>
                      <a:pt x="4315" y="3498"/>
                    </a:lnTo>
                    <a:lnTo>
                      <a:pt x="4369" y="3422"/>
                    </a:lnTo>
                    <a:lnTo>
                      <a:pt x="4366" y="3427"/>
                    </a:lnTo>
                    <a:lnTo>
                      <a:pt x="4401" y="3334"/>
                    </a:lnTo>
                    <a:cubicBezTo>
                      <a:pt x="4405" y="3324"/>
                      <a:pt x="4415" y="3318"/>
                      <a:pt x="4426" y="3320"/>
                    </a:cubicBezTo>
                    <a:lnTo>
                      <a:pt x="4497" y="3330"/>
                    </a:lnTo>
                    <a:lnTo>
                      <a:pt x="4563" y="3330"/>
                    </a:lnTo>
                    <a:lnTo>
                      <a:pt x="4629" y="3323"/>
                    </a:lnTo>
                    <a:lnTo>
                      <a:pt x="4692" y="3306"/>
                    </a:lnTo>
                    <a:lnTo>
                      <a:pt x="4754" y="3281"/>
                    </a:lnTo>
                    <a:lnTo>
                      <a:pt x="4813" y="3248"/>
                    </a:lnTo>
                    <a:lnTo>
                      <a:pt x="4870" y="3209"/>
                    </a:lnTo>
                    <a:lnTo>
                      <a:pt x="4924" y="3161"/>
                    </a:lnTo>
                    <a:lnTo>
                      <a:pt x="4975" y="3108"/>
                    </a:lnTo>
                    <a:lnTo>
                      <a:pt x="5021" y="3047"/>
                    </a:lnTo>
                    <a:lnTo>
                      <a:pt x="5063" y="2980"/>
                    </a:lnTo>
                    <a:lnTo>
                      <a:pt x="5101" y="2908"/>
                    </a:lnTo>
                    <a:lnTo>
                      <a:pt x="5133" y="2831"/>
                    </a:lnTo>
                    <a:lnTo>
                      <a:pt x="5161" y="2747"/>
                    </a:lnTo>
                    <a:lnTo>
                      <a:pt x="5181" y="2660"/>
                    </a:lnTo>
                    <a:lnTo>
                      <a:pt x="5196" y="2569"/>
                    </a:lnTo>
                    <a:lnTo>
                      <a:pt x="5204" y="2415"/>
                    </a:lnTo>
                    <a:lnTo>
                      <a:pt x="5193" y="2261"/>
                    </a:lnTo>
                    <a:cubicBezTo>
                      <a:pt x="5193" y="2254"/>
                      <a:pt x="5196" y="2248"/>
                      <a:pt x="5200" y="2243"/>
                    </a:cubicBezTo>
                    <a:lnTo>
                      <a:pt x="5254" y="2190"/>
                    </a:lnTo>
                    <a:lnTo>
                      <a:pt x="5251" y="2193"/>
                    </a:lnTo>
                    <a:lnTo>
                      <a:pt x="5295" y="2129"/>
                    </a:lnTo>
                    <a:lnTo>
                      <a:pt x="5293" y="2133"/>
                    </a:lnTo>
                    <a:lnTo>
                      <a:pt x="5326" y="2060"/>
                    </a:lnTo>
                    <a:lnTo>
                      <a:pt x="5325" y="2063"/>
                    </a:lnTo>
                    <a:lnTo>
                      <a:pt x="5347" y="1984"/>
                    </a:lnTo>
                    <a:lnTo>
                      <a:pt x="5347" y="1988"/>
                    </a:lnTo>
                    <a:lnTo>
                      <a:pt x="5357" y="1904"/>
                    </a:lnTo>
                    <a:lnTo>
                      <a:pt x="5356" y="1907"/>
                    </a:lnTo>
                    <a:lnTo>
                      <a:pt x="5354" y="1821"/>
                    </a:lnTo>
                    <a:lnTo>
                      <a:pt x="5355" y="1824"/>
                    </a:lnTo>
                    <a:lnTo>
                      <a:pt x="5341" y="1740"/>
                    </a:lnTo>
                    <a:lnTo>
                      <a:pt x="5342" y="1744"/>
                    </a:lnTo>
                    <a:lnTo>
                      <a:pt x="5314" y="1662"/>
                    </a:lnTo>
                    <a:lnTo>
                      <a:pt x="5316" y="1666"/>
                    </a:lnTo>
                    <a:lnTo>
                      <a:pt x="5263" y="1574"/>
                    </a:lnTo>
                    <a:lnTo>
                      <a:pt x="5265" y="1578"/>
                    </a:lnTo>
                    <a:lnTo>
                      <a:pt x="5233" y="1541"/>
                    </a:lnTo>
                    <a:lnTo>
                      <a:pt x="5200" y="1510"/>
                    </a:lnTo>
                    <a:lnTo>
                      <a:pt x="5203" y="1513"/>
                    </a:lnTo>
                    <a:lnTo>
                      <a:pt x="5165" y="1488"/>
                    </a:lnTo>
                    <a:lnTo>
                      <a:pt x="5128" y="1470"/>
                    </a:lnTo>
                    <a:lnTo>
                      <a:pt x="5131" y="1472"/>
                    </a:lnTo>
                    <a:lnTo>
                      <a:pt x="5089" y="1460"/>
                    </a:lnTo>
                    <a:lnTo>
                      <a:pt x="5093" y="1460"/>
                    </a:lnTo>
                    <a:lnTo>
                      <a:pt x="5050" y="1456"/>
                    </a:lnTo>
                    <a:cubicBezTo>
                      <a:pt x="5044" y="1456"/>
                      <a:pt x="5038" y="1452"/>
                      <a:pt x="5034" y="1447"/>
                    </a:cubicBezTo>
                    <a:cubicBezTo>
                      <a:pt x="5030" y="1442"/>
                      <a:pt x="5029" y="1435"/>
                      <a:pt x="5030" y="1429"/>
                    </a:cubicBezTo>
                    <a:lnTo>
                      <a:pt x="5060" y="1285"/>
                    </a:lnTo>
                    <a:lnTo>
                      <a:pt x="5059" y="1288"/>
                    </a:lnTo>
                    <a:lnTo>
                      <a:pt x="5067" y="1144"/>
                    </a:lnTo>
                    <a:lnTo>
                      <a:pt x="5068" y="1148"/>
                    </a:lnTo>
                    <a:lnTo>
                      <a:pt x="5055" y="1006"/>
                    </a:lnTo>
                    <a:lnTo>
                      <a:pt x="5055" y="1009"/>
                    </a:lnTo>
                    <a:lnTo>
                      <a:pt x="5022" y="875"/>
                    </a:lnTo>
                    <a:lnTo>
                      <a:pt x="5023" y="878"/>
                    </a:lnTo>
                    <a:lnTo>
                      <a:pt x="4972" y="754"/>
                    </a:lnTo>
                    <a:lnTo>
                      <a:pt x="4974" y="758"/>
                    </a:lnTo>
                    <a:lnTo>
                      <a:pt x="4906" y="649"/>
                    </a:lnTo>
                    <a:lnTo>
                      <a:pt x="4909" y="652"/>
                    </a:lnTo>
                    <a:lnTo>
                      <a:pt x="4824" y="561"/>
                    </a:lnTo>
                    <a:lnTo>
                      <a:pt x="4826" y="564"/>
                    </a:lnTo>
                    <a:lnTo>
                      <a:pt x="4778" y="527"/>
                    </a:lnTo>
                    <a:lnTo>
                      <a:pt x="4730" y="497"/>
                    </a:lnTo>
                    <a:lnTo>
                      <a:pt x="4732" y="499"/>
                    </a:lnTo>
                    <a:lnTo>
                      <a:pt x="4654" y="466"/>
                    </a:lnTo>
                    <a:lnTo>
                      <a:pt x="4659" y="467"/>
                    </a:lnTo>
                    <a:lnTo>
                      <a:pt x="4579" y="451"/>
                    </a:lnTo>
                    <a:lnTo>
                      <a:pt x="4583" y="452"/>
                    </a:lnTo>
                    <a:lnTo>
                      <a:pt x="4502" y="451"/>
                    </a:lnTo>
                    <a:lnTo>
                      <a:pt x="4507" y="450"/>
                    </a:lnTo>
                    <a:lnTo>
                      <a:pt x="4427" y="466"/>
                    </a:lnTo>
                    <a:cubicBezTo>
                      <a:pt x="4415" y="468"/>
                      <a:pt x="4404" y="461"/>
                      <a:pt x="4400" y="450"/>
                    </a:cubicBezTo>
                    <a:lnTo>
                      <a:pt x="4369" y="341"/>
                    </a:lnTo>
                    <a:lnTo>
                      <a:pt x="4371" y="345"/>
                    </a:lnTo>
                    <a:lnTo>
                      <a:pt x="4325" y="250"/>
                    </a:lnTo>
                    <a:lnTo>
                      <a:pt x="4327" y="253"/>
                    </a:lnTo>
                    <a:lnTo>
                      <a:pt x="4270" y="174"/>
                    </a:lnTo>
                    <a:lnTo>
                      <a:pt x="4273" y="177"/>
                    </a:lnTo>
                    <a:lnTo>
                      <a:pt x="4205" y="113"/>
                    </a:lnTo>
                    <a:lnTo>
                      <a:pt x="4209" y="116"/>
                    </a:lnTo>
                    <a:lnTo>
                      <a:pt x="4134" y="72"/>
                    </a:lnTo>
                    <a:lnTo>
                      <a:pt x="4139" y="74"/>
                    </a:lnTo>
                    <a:lnTo>
                      <a:pt x="4059" y="49"/>
                    </a:lnTo>
                    <a:lnTo>
                      <a:pt x="4064" y="50"/>
                    </a:lnTo>
                    <a:lnTo>
                      <a:pt x="3980" y="46"/>
                    </a:lnTo>
                    <a:lnTo>
                      <a:pt x="3985" y="46"/>
                    </a:lnTo>
                    <a:lnTo>
                      <a:pt x="3942" y="53"/>
                    </a:lnTo>
                    <a:lnTo>
                      <a:pt x="3902" y="66"/>
                    </a:lnTo>
                    <a:lnTo>
                      <a:pt x="3905" y="64"/>
                    </a:lnTo>
                    <a:lnTo>
                      <a:pt x="3854" y="88"/>
                    </a:lnTo>
                    <a:lnTo>
                      <a:pt x="3809" y="118"/>
                    </a:lnTo>
                    <a:lnTo>
                      <a:pt x="3812" y="116"/>
                    </a:lnTo>
                    <a:lnTo>
                      <a:pt x="3768" y="155"/>
                    </a:lnTo>
                    <a:lnTo>
                      <a:pt x="3730" y="199"/>
                    </a:lnTo>
                    <a:lnTo>
                      <a:pt x="3695" y="249"/>
                    </a:lnTo>
                    <a:lnTo>
                      <a:pt x="3666" y="304"/>
                    </a:lnTo>
                    <a:lnTo>
                      <a:pt x="3642" y="365"/>
                    </a:lnTo>
                    <a:lnTo>
                      <a:pt x="3624" y="431"/>
                    </a:lnTo>
                    <a:cubicBezTo>
                      <a:pt x="3622" y="437"/>
                      <a:pt x="3617" y="442"/>
                      <a:pt x="3611" y="445"/>
                    </a:cubicBezTo>
                    <a:cubicBezTo>
                      <a:pt x="3606" y="448"/>
                      <a:pt x="3599" y="448"/>
                      <a:pt x="3592" y="446"/>
                    </a:cubicBezTo>
                    <a:lnTo>
                      <a:pt x="3514" y="413"/>
                    </a:lnTo>
                    <a:lnTo>
                      <a:pt x="3518" y="414"/>
                    </a:lnTo>
                    <a:lnTo>
                      <a:pt x="3438" y="394"/>
                    </a:lnTo>
                    <a:lnTo>
                      <a:pt x="3442" y="394"/>
                    </a:lnTo>
                    <a:lnTo>
                      <a:pt x="3362" y="388"/>
                    </a:lnTo>
                    <a:lnTo>
                      <a:pt x="3366" y="388"/>
                    </a:lnTo>
                    <a:lnTo>
                      <a:pt x="3286" y="396"/>
                    </a:lnTo>
                    <a:lnTo>
                      <a:pt x="3289" y="396"/>
                    </a:lnTo>
                    <a:lnTo>
                      <a:pt x="3210" y="417"/>
                    </a:lnTo>
                    <a:lnTo>
                      <a:pt x="3214" y="416"/>
                    </a:lnTo>
                    <a:lnTo>
                      <a:pt x="3137" y="450"/>
                    </a:lnTo>
                    <a:lnTo>
                      <a:pt x="3140" y="448"/>
                    </a:lnTo>
                    <a:lnTo>
                      <a:pt x="3067" y="494"/>
                    </a:lnTo>
                    <a:lnTo>
                      <a:pt x="3070" y="492"/>
                    </a:lnTo>
                    <a:lnTo>
                      <a:pt x="3001" y="552"/>
                    </a:lnTo>
                    <a:cubicBezTo>
                      <a:pt x="2991" y="560"/>
                      <a:pt x="2977" y="559"/>
                      <a:pt x="2969" y="550"/>
                    </a:cubicBezTo>
                    <a:lnTo>
                      <a:pt x="2920" y="499"/>
                    </a:lnTo>
                    <a:lnTo>
                      <a:pt x="2924" y="503"/>
                    </a:lnTo>
                    <a:lnTo>
                      <a:pt x="2870" y="467"/>
                    </a:lnTo>
                    <a:lnTo>
                      <a:pt x="2875" y="469"/>
                    </a:lnTo>
                    <a:lnTo>
                      <a:pt x="2818" y="449"/>
                    </a:lnTo>
                    <a:lnTo>
                      <a:pt x="2823" y="450"/>
                    </a:lnTo>
                    <a:lnTo>
                      <a:pt x="2765" y="445"/>
                    </a:lnTo>
                    <a:lnTo>
                      <a:pt x="2771" y="445"/>
                    </a:lnTo>
                    <a:lnTo>
                      <a:pt x="2712" y="454"/>
                    </a:lnTo>
                    <a:lnTo>
                      <a:pt x="2718" y="453"/>
                    </a:lnTo>
                    <a:lnTo>
                      <a:pt x="2662" y="478"/>
                    </a:lnTo>
                    <a:lnTo>
                      <a:pt x="2666" y="475"/>
                    </a:lnTo>
                    <a:lnTo>
                      <a:pt x="2613" y="514"/>
                    </a:lnTo>
                    <a:lnTo>
                      <a:pt x="2617" y="511"/>
                    </a:lnTo>
                    <a:lnTo>
                      <a:pt x="2570" y="565"/>
                    </a:lnTo>
                    <a:lnTo>
                      <a:pt x="2573" y="560"/>
                    </a:lnTo>
                    <a:lnTo>
                      <a:pt x="2521" y="658"/>
                    </a:lnTo>
                    <a:lnTo>
                      <a:pt x="2522" y="654"/>
                    </a:lnTo>
                    <a:lnTo>
                      <a:pt x="2505" y="709"/>
                    </a:lnTo>
                    <a:lnTo>
                      <a:pt x="2496" y="763"/>
                    </a:lnTo>
                    <a:lnTo>
                      <a:pt x="2491" y="820"/>
                    </a:lnTo>
                    <a:lnTo>
                      <a:pt x="2493" y="877"/>
                    </a:lnTo>
                    <a:lnTo>
                      <a:pt x="2500" y="932"/>
                    </a:lnTo>
                    <a:lnTo>
                      <a:pt x="2515" y="988"/>
                    </a:lnTo>
                    <a:cubicBezTo>
                      <a:pt x="2518" y="999"/>
                      <a:pt x="2512" y="1010"/>
                      <a:pt x="2502" y="1015"/>
                    </a:cubicBezTo>
                    <a:cubicBezTo>
                      <a:pt x="2491" y="1019"/>
                      <a:pt x="2479" y="1015"/>
                      <a:pt x="2473" y="1006"/>
                    </a:cubicBezTo>
                    <a:lnTo>
                      <a:pt x="2437" y="950"/>
                    </a:lnTo>
                    <a:lnTo>
                      <a:pt x="2399" y="902"/>
                    </a:lnTo>
                    <a:lnTo>
                      <a:pt x="2359" y="861"/>
                    </a:lnTo>
                    <a:lnTo>
                      <a:pt x="2316" y="824"/>
                    </a:lnTo>
                    <a:lnTo>
                      <a:pt x="2272" y="795"/>
                    </a:lnTo>
                    <a:lnTo>
                      <a:pt x="2225" y="772"/>
                    </a:lnTo>
                    <a:lnTo>
                      <a:pt x="2177" y="754"/>
                    </a:lnTo>
                    <a:lnTo>
                      <a:pt x="2129" y="743"/>
                    </a:lnTo>
                    <a:lnTo>
                      <a:pt x="2081" y="738"/>
                    </a:lnTo>
                    <a:lnTo>
                      <a:pt x="2032" y="740"/>
                    </a:lnTo>
                    <a:lnTo>
                      <a:pt x="1984" y="747"/>
                    </a:lnTo>
                    <a:lnTo>
                      <a:pt x="1936" y="762"/>
                    </a:lnTo>
                    <a:lnTo>
                      <a:pt x="1888" y="783"/>
                    </a:lnTo>
                    <a:lnTo>
                      <a:pt x="1841" y="809"/>
                    </a:lnTo>
                    <a:lnTo>
                      <a:pt x="1796" y="844"/>
                    </a:lnTo>
                    <a:lnTo>
                      <a:pt x="1753" y="884"/>
                    </a:lnTo>
                    <a:lnTo>
                      <a:pt x="1691" y="961"/>
                    </a:lnTo>
                    <a:lnTo>
                      <a:pt x="1693" y="958"/>
                    </a:lnTo>
                    <a:lnTo>
                      <a:pt x="1639" y="1050"/>
                    </a:lnTo>
                    <a:lnTo>
                      <a:pt x="1599" y="1149"/>
                    </a:lnTo>
                    <a:lnTo>
                      <a:pt x="1571" y="1256"/>
                    </a:lnTo>
                    <a:cubicBezTo>
                      <a:pt x="1569" y="1264"/>
                      <a:pt x="1563" y="1270"/>
                      <a:pt x="1556" y="1272"/>
                    </a:cubicBezTo>
                    <a:cubicBezTo>
                      <a:pt x="1549" y="1275"/>
                      <a:pt x="1541" y="1274"/>
                      <a:pt x="1535" y="1269"/>
                    </a:cubicBezTo>
                    <a:lnTo>
                      <a:pt x="1466" y="1218"/>
                    </a:lnTo>
                    <a:lnTo>
                      <a:pt x="1397" y="1178"/>
                    </a:lnTo>
                    <a:lnTo>
                      <a:pt x="1326" y="1149"/>
                    </a:lnTo>
                    <a:lnTo>
                      <a:pt x="1255" y="1130"/>
                    </a:lnTo>
                    <a:lnTo>
                      <a:pt x="1184" y="1119"/>
                    </a:lnTo>
                    <a:lnTo>
                      <a:pt x="1112" y="1119"/>
                    </a:lnTo>
                    <a:lnTo>
                      <a:pt x="1041" y="1127"/>
                    </a:lnTo>
                    <a:lnTo>
                      <a:pt x="972" y="1145"/>
                    </a:lnTo>
                    <a:lnTo>
                      <a:pt x="903" y="1171"/>
                    </a:lnTo>
                    <a:lnTo>
                      <a:pt x="836" y="1206"/>
                    </a:lnTo>
                    <a:lnTo>
                      <a:pt x="772" y="1250"/>
                    </a:lnTo>
                    <a:lnTo>
                      <a:pt x="711" y="1302"/>
                    </a:lnTo>
                    <a:lnTo>
                      <a:pt x="654" y="1362"/>
                    </a:lnTo>
                    <a:lnTo>
                      <a:pt x="600" y="1432"/>
                    </a:lnTo>
                    <a:lnTo>
                      <a:pt x="551" y="1509"/>
                    </a:lnTo>
                    <a:lnTo>
                      <a:pt x="507" y="1594"/>
                    </a:lnTo>
                    <a:lnTo>
                      <a:pt x="446" y="1758"/>
                    </a:lnTo>
                    <a:lnTo>
                      <a:pt x="408" y="1934"/>
                    </a:lnTo>
                    <a:cubicBezTo>
                      <a:pt x="405" y="1947"/>
                      <a:pt x="393" y="1955"/>
                      <a:pt x="381" y="1952"/>
                    </a:cubicBezTo>
                    <a:cubicBezTo>
                      <a:pt x="368" y="1949"/>
                      <a:pt x="360" y="1937"/>
                      <a:pt x="363" y="1925"/>
                    </a:cubicBezTo>
                    <a:lnTo>
                      <a:pt x="403" y="1742"/>
                    </a:lnTo>
                    <a:lnTo>
                      <a:pt x="466" y="1573"/>
                    </a:lnTo>
                    <a:lnTo>
                      <a:pt x="512" y="1484"/>
                    </a:lnTo>
                    <a:lnTo>
                      <a:pt x="563" y="1403"/>
                    </a:lnTo>
                    <a:lnTo>
                      <a:pt x="621" y="1331"/>
                    </a:lnTo>
                    <a:lnTo>
                      <a:pt x="681" y="1267"/>
                    </a:lnTo>
                    <a:lnTo>
                      <a:pt x="746" y="1211"/>
                    </a:lnTo>
                    <a:lnTo>
                      <a:pt x="815" y="1165"/>
                    </a:lnTo>
                    <a:lnTo>
                      <a:pt x="886" y="1128"/>
                    </a:lnTo>
                    <a:lnTo>
                      <a:pt x="961" y="1100"/>
                    </a:lnTo>
                    <a:lnTo>
                      <a:pt x="1036" y="1082"/>
                    </a:lnTo>
                    <a:lnTo>
                      <a:pt x="1113" y="1072"/>
                    </a:lnTo>
                    <a:lnTo>
                      <a:pt x="1191" y="1074"/>
                    </a:lnTo>
                    <a:lnTo>
                      <a:pt x="1267" y="1085"/>
                    </a:lnTo>
                    <a:lnTo>
                      <a:pt x="1344" y="1106"/>
                    </a:lnTo>
                    <a:lnTo>
                      <a:pt x="1420" y="1139"/>
                    </a:lnTo>
                    <a:lnTo>
                      <a:pt x="1493" y="1181"/>
                    </a:lnTo>
                    <a:lnTo>
                      <a:pt x="1562" y="1232"/>
                    </a:lnTo>
                    <a:lnTo>
                      <a:pt x="1526" y="1245"/>
                    </a:lnTo>
                    <a:lnTo>
                      <a:pt x="1556" y="1132"/>
                    </a:lnTo>
                    <a:lnTo>
                      <a:pt x="1600" y="1027"/>
                    </a:lnTo>
                    <a:lnTo>
                      <a:pt x="1654" y="935"/>
                    </a:lnTo>
                    <a:cubicBezTo>
                      <a:pt x="1654" y="934"/>
                      <a:pt x="1655" y="933"/>
                      <a:pt x="1656" y="932"/>
                    </a:cubicBezTo>
                    <a:lnTo>
                      <a:pt x="1722" y="851"/>
                    </a:lnTo>
                    <a:lnTo>
                      <a:pt x="1768" y="807"/>
                    </a:lnTo>
                    <a:lnTo>
                      <a:pt x="1818" y="769"/>
                    </a:lnTo>
                    <a:lnTo>
                      <a:pt x="1869" y="740"/>
                    </a:lnTo>
                    <a:lnTo>
                      <a:pt x="1923" y="717"/>
                    </a:lnTo>
                    <a:lnTo>
                      <a:pt x="1977" y="702"/>
                    </a:lnTo>
                    <a:lnTo>
                      <a:pt x="2031" y="693"/>
                    </a:lnTo>
                    <a:lnTo>
                      <a:pt x="2086" y="693"/>
                    </a:lnTo>
                    <a:lnTo>
                      <a:pt x="2140" y="698"/>
                    </a:lnTo>
                    <a:lnTo>
                      <a:pt x="2194" y="711"/>
                    </a:lnTo>
                    <a:lnTo>
                      <a:pt x="2246" y="731"/>
                    </a:lnTo>
                    <a:lnTo>
                      <a:pt x="2297" y="756"/>
                    </a:lnTo>
                    <a:lnTo>
                      <a:pt x="2345" y="789"/>
                    </a:lnTo>
                    <a:lnTo>
                      <a:pt x="2392" y="828"/>
                    </a:lnTo>
                    <a:lnTo>
                      <a:pt x="2436" y="873"/>
                    </a:lnTo>
                    <a:lnTo>
                      <a:pt x="2476" y="925"/>
                    </a:lnTo>
                    <a:lnTo>
                      <a:pt x="2512" y="981"/>
                    </a:lnTo>
                    <a:lnTo>
                      <a:pt x="2470" y="999"/>
                    </a:lnTo>
                    <a:lnTo>
                      <a:pt x="2455" y="939"/>
                    </a:lnTo>
                    <a:lnTo>
                      <a:pt x="2446" y="878"/>
                    </a:lnTo>
                    <a:lnTo>
                      <a:pt x="2446" y="817"/>
                    </a:lnTo>
                    <a:lnTo>
                      <a:pt x="2451" y="755"/>
                    </a:lnTo>
                    <a:lnTo>
                      <a:pt x="2461" y="696"/>
                    </a:lnTo>
                    <a:lnTo>
                      <a:pt x="2478" y="641"/>
                    </a:lnTo>
                    <a:cubicBezTo>
                      <a:pt x="2479" y="639"/>
                      <a:pt x="2479" y="638"/>
                      <a:pt x="2480" y="637"/>
                    </a:cubicBezTo>
                    <a:lnTo>
                      <a:pt x="2532" y="539"/>
                    </a:lnTo>
                    <a:cubicBezTo>
                      <a:pt x="2533" y="537"/>
                      <a:pt x="2534" y="536"/>
                      <a:pt x="2535" y="534"/>
                    </a:cubicBezTo>
                    <a:lnTo>
                      <a:pt x="2582" y="480"/>
                    </a:lnTo>
                    <a:cubicBezTo>
                      <a:pt x="2583" y="479"/>
                      <a:pt x="2584" y="478"/>
                      <a:pt x="2586" y="477"/>
                    </a:cubicBezTo>
                    <a:lnTo>
                      <a:pt x="2639" y="438"/>
                    </a:lnTo>
                    <a:cubicBezTo>
                      <a:pt x="2640" y="437"/>
                      <a:pt x="2642" y="436"/>
                      <a:pt x="2643" y="435"/>
                    </a:cubicBezTo>
                    <a:lnTo>
                      <a:pt x="2699" y="410"/>
                    </a:lnTo>
                    <a:cubicBezTo>
                      <a:pt x="2701" y="410"/>
                      <a:pt x="2703" y="409"/>
                      <a:pt x="2705" y="409"/>
                    </a:cubicBezTo>
                    <a:lnTo>
                      <a:pt x="2764" y="400"/>
                    </a:lnTo>
                    <a:cubicBezTo>
                      <a:pt x="2766" y="399"/>
                      <a:pt x="2768" y="399"/>
                      <a:pt x="2769" y="400"/>
                    </a:cubicBezTo>
                    <a:lnTo>
                      <a:pt x="2827" y="405"/>
                    </a:lnTo>
                    <a:cubicBezTo>
                      <a:pt x="2829" y="405"/>
                      <a:pt x="2831" y="405"/>
                      <a:pt x="2833" y="406"/>
                    </a:cubicBezTo>
                    <a:lnTo>
                      <a:pt x="2890" y="426"/>
                    </a:lnTo>
                    <a:cubicBezTo>
                      <a:pt x="2892" y="426"/>
                      <a:pt x="2894" y="427"/>
                      <a:pt x="2895" y="428"/>
                    </a:cubicBezTo>
                    <a:lnTo>
                      <a:pt x="2949" y="464"/>
                    </a:lnTo>
                    <a:cubicBezTo>
                      <a:pt x="2951" y="465"/>
                      <a:pt x="2952" y="466"/>
                      <a:pt x="2953" y="468"/>
                    </a:cubicBezTo>
                    <a:lnTo>
                      <a:pt x="3002" y="519"/>
                    </a:lnTo>
                    <a:lnTo>
                      <a:pt x="2970" y="517"/>
                    </a:lnTo>
                    <a:lnTo>
                      <a:pt x="3039" y="457"/>
                    </a:lnTo>
                    <a:cubicBezTo>
                      <a:pt x="3040" y="456"/>
                      <a:pt x="3041" y="456"/>
                      <a:pt x="3042" y="455"/>
                    </a:cubicBezTo>
                    <a:lnTo>
                      <a:pt x="3115" y="409"/>
                    </a:lnTo>
                    <a:cubicBezTo>
                      <a:pt x="3116" y="408"/>
                      <a:pt x="3117" y="408"/>
                      <a:pt x="3118" y="407"/>
                    </a:cubicBezTo>
                    <a:lnTo>
                      <a:pt x="3195" y="373"/>
                    </a:lnTo>
                    <a:cubicBezTo>
                      <a:pt x="3196" y="373"/>
                      <a:pt x="3197" y="373"/>
                      <a:pt x="3199" y="372"/>
                    </a:cubicBezTo>
                    <a:lnTo>
                      <a:pt x="3278" y="351"/>
                    </a:lnTo>
                    <a:cubicBezTo>
                      <a:pt x="3279" y="351"/>
                      <a:pt x="3280" y="351"/>
                      <a:pt x="3281" y="351"/>
                    </a:cubicBezTo>
                    <a:lnTo>
                      <a:pt x="3361" y="343"/>
                    </a:lnTo>
                    <a:cubicBezTo>
                      <a:pt x="3363" y="342"/>
                      <a:pt x="3364" y="342"/>
                      <a:pt x="3365" y="342"/>
                    </a:cubicBezTo>
                    <a:lnTo>
                      <a:pt x="3445" y="348"/>
                    </a:lnTo>
                    <a:cubicBezTo>
                      <a:pt x="3446" y="349"/>
                      <a:pt x="3448" y="349"/>
                      <a:pt x="3449" y="349"/>
                    </a:cubicBezTo>
                    <a:lnTo>
                      <a:pt x="3529" y="369"/>
                    </a:lnTo>
                    <a:cubicBezTo>
                      <a:pt x="3530" y="369"/>
                      <a:pt x="3531" y="370"/>
                      <a:pt x="3532" y="370"/>
                    </a:cubicBezTo>
                    <a:lnTo>
                      <a:pt x="3610" y="403"/>
                    </a:lnTo>
                    <a:lnTo>
                      <a:pt x="3579" y="418"/>
                    </a:lnTo>
                    <a:lnTo>
                      <a:pt x="3599" y="348"/>
                    </a:lnTo>
                    <a:lnTo>
                      <a:pt x="3625" y="283"/>
                    </a:lnTo>
                    <a:lnTo>
                      <a:pt x="3658" y="222"/>
                    </a:lnTo>
                    <a:lnTo>
                      <a:pt x="3695" y="168"/>
                    </a:lnTo>
                    <a:lnTo>
                      <a:pt x="3737" y="120"/>
                    </a:lnTo>
                    <a:lnTo>
                      <a:pt x="3781" y="81"/>
                    </a:lnTo>
                    <a:cubicBezTo>
                      <a:pt x="3782" y="80"/>
                      <a:pt x="3783" y="80"/>
                      <a:pt x="3784" y="79"/>
                    </a:cubicBezTo>
                    <a:lnTo>
                      <a:pt x="3835" y="47"/>
                    </a:lnTo>
                    <a:lnTo>
                      <a:pt x="3886" y="23"/>
                    </a:lnTo>
                    <a:cubicBezTo>
                      <a:pt x="3887" y="22"/>
                      <a:pt x="3888" y="22"/>
                      <a:pt x="3889" y="21"/>
                    </a:cubicBezTo>
                    <a:lnTo>
                      <a:pt x="3935" y="8"/>
                    </a:lnTo>
                    <a:lnTo>
                      <a:pt x="3978" y="1"/>
                    </a:lnTo>
                    <a:cubicBezTo>
                      <a:pt x="3979" y="0"/>
                      <a:pt x="3981" y="0"/>
                      <a:pt x="3983" y="0"/>
                    </a:cubicBezTo>
                    <a:lnTo>
                      <a:pt x="4067" y="4"/>
                    </a:lnTo>
                    <a:cubicBezTo>
                      <a:pt x="4069" y="5"/>
                      <a:pt x="4070" y="5"/>
                      <a:pt x="4072" y="5"/>
                    </a:cubicBezTo>
                    <a:lnTo>
                      <a:pt x="4152" y="30"/>
                    </a:lnTo>
                    <a:cubicBezTo>
                      <a:pt x="4154" y="31"/>
                      <a:pt x="4156" y="32"/>
                      <a:pt x="4157" y="33"/>
                    </a:cubicBezTo>
                    <a:lnTo>
                      <a:pt x="4232" y="77"/>
                    </a:lnTo>
                    <a:cubicBezTo>
                      <a:pt x="4234" y="77"/>
                      <a:pt x="4235" y="79"/>
                      <a:pt x="4236" y="80"/>
                    </a:cubicBezTo>
                    <a:lnTo>
                      <a:pt x="4304" y="144"/>
                    </a:lnTo>
                    <a:cubicBezTo>
                      <a:pt x="4305" y="145"/>
                      <a:pt x="4306" y="146"/>
                      <a:pt x="4307" y="147"/>
                    </a:cubicBezTo>
                    <a:lnTo>
                      <a:pt x="4364" y="226"/>
                    </a:lnTo>
                    <a:cubicBezTo>
                      <a:pt x="4365" y="227"/>
                      <a:pt x="4366" y="228"/>
                      <a:pt x="4366" y="229"/>
                    </a:cubicBezTo>
                    <a:lnTo>
                      <a:pt x="4412" y="324"/>
                    </a:lnTo>
                    <a:cubicBezTo>
                      <a:pt x="4413" y="326"/>
                      <a:pt x="4413" y="327"/>
                      <a:pt x="4414" y="328"/>
                    </a:cubicBezTo>
                    <a:lnTo>
                      <a:pt x="4445" y="437"/>
                    </a:lnTo>
                    <a:lnTo>
                      <a:pt x="4418" y="421"/>
                    </a:lnTo>
                    <a:lnTo>
                      <a:pt x="4498" y="405"/>
                    </a:lnTo>
                    <a:cubicBezTo>
                      <a:pt x="4500" y="405"/>
                      <a:pt x="4501" y="404"/>
                      <a:pt x="4503" y="404"/>
                    </a:cubicBezTo>
                    <a:lnTo>
                      <a:pt x="4584" y="405"/>
                    </a:lnTo>
                    <a:cubicBezTo>
                      <a:pt x="4585" y="405"/>
                      <a:pt x="4587" y="406"/>
                      <a:pt x="4588" y="406"/>
                    </a:cubicBezTo>
                    <a:lnTo>
                      <a:pt x="4668" y="422"/>
                    </a:lnTo>
                    <a:cubicBezTo>
                      <a:pt x="4670" y="422"/>
                      <a:pt x="4671" y="423"/>
                      <a:pt x="4672" y="423"/>
                    </a:cubicBezTo>
                    <a:lnTo>
                      <a:pt x="4750" y="456"/>
                    </a:lnTo>
                    <a:cubicBezTo>
                      <a:pt x="4751" y="457"/>
                      <a:pt x="4752" y="457"/>
                      <a:pt x="4753" y="458"/>
                    </a:cubicBezTo>
                    <a:lnTo>
                      <a:pt x="4807" y="490"/>
                    </a:lnTo>
                    <a:lnTo>
                      <a:pt x="4855" y="527"/>
                    </a:lnTo>
                    <a:cubicBezTo>
                      <a:pt x="4856" y="528"/>
                      <a:pt x="4856" y="529"/>
                      <a:pt x="4857" y="530"/>
                    </a:cubicBezTo>
                    <a:lnTo>
                      <a:pt x="4942" y="621"/>
                    </a:lnTo>
                    <a:cubicBezTo>
                      <a:pt x="4943" y="622"/>
                      <a:pt x="4944" y="623"/>
                      <a:pt x="4945" y="624"/>
                    </a:cubicBezTo>
                    <a:lnTo>
                      <a:pt x="5013" y="733"/>
                    </a:lnTo>
                    <a:cubicBezTo>
                      <a:pt x="5014" y="734"/>
                      <a:pt x="5014" y="736"/>
                      <a:pt x="5015" y="737"/>
                    </a:cubicBezTo>
                    <a:lnTo>
                      <a:pt x="5066" y="861"/>
                    </a:lnTo>
                    <a:cubicBezTo>
                      <a:pt x="5066" y="862"/>
                      <a:pt x="5067" y="863"/>
                      <a:pt x="5067" y="864"/>
                    </a:cubicBezTo>
                    <a:lnTo>
                      <a:pt x="5100" y="998"/>
                    </a:lnTo>
                    <a:cubicBezTo>
                      <a:pt x="5100" y="999"/>
                      <a:pt x="5100" y="1000"/>
                      <a:pt x="5100" y="1001"/>
                    </a:cubicBezTo>
                    <a:lnTo>
                      <a:pt x="5113" y="1143"/>
                    </a:lnTo>
                    <a:cubicBezTo>
                      <a:pt x="5114" y="1144"/>
                      <a:pt x="5114" y="1146"/>
                      <a:pt x="5113" y="1147"/>
                    </a:cubicBezTo>
                    <a:lnTo>
                      <a:pt x="5105" y="1291"/>
                    </a:lnTo>
                    <a:cubicBezTo>
                      <a:pt x="5105" y="1292"/>
                      <a:pt x="5105" y="1293"/>
                      <a:pt x="5105" y="1294"/>
                    </a:cubicBezTo>
                    <a:lnTo>
                      <a:pt x="5075" y="1438"/>
                    </a:lnTo>
                    <a:lnTo>
                      <a:pt x="5055" y="1411"/>
                    </a:lnTo>
                    <a:lnTo>
                      <a:pt x="5098" y="1415"/>
                    </a:lnTo>
                    <a:cubicBezTo>
                      <a:pt x="5099" y="1415"/>
                      <a:pt x="5100" y="1415"/>
                      <a:pt x="5102" y="1415"/>
                    </a:cubicBezTo>
                    <a:lnTo>
                      <a:pt x="5144" y="1427"/>
                    </a:lnTo>
                    <a:cubicBezTo>
                      <a:pt x="5145" y="1428"/>
                      <a:pt x="5146" y="1428"/>
                      <a:pt x="5147" y="1429"/>
                    </a:cubicBezTo>
                    <a:lnTo>
                      <a:pt x="5190" y="1449"/>
                    </a:lnTo>
                    <a:lnTo>
                      <a:pt x="5228" y="1474"/>
                    </a:lnTo>
                    <a:cubicBezTo>
                      <a:pt x="5229" y="1475"/>
                      <a:pt x="5230" y="1476"/>
                      <a:pt x="5231" y="1476"/>
                    </a:cubicBezTo>
                    <a:lnTo>
                      <a:pt x="5268" y="1510"/>
                    </a:lnTo>
                    <a:lnTo>
                      <a:pt x="5300" y="1547"/>
                    </a:lnTo>
                    <a:cubicBezTo>
                      <a:pt x="5301" y="1549"/>
                      <a:pt x="5302" y="1550"/>
                      <a:pt x="5302" y="1551"/>
                    </a:cubicBezTo>
                    <a:lnTo>
                      <a:pt x="5355" y="1643"/>
                    </a:lnTo>
                    <a:cubicBezTo>
                      <a:pt x="5356" y="1644"/>
                      <a:pt x="5357" y="1646"/>
                      <a:pt x="5357" y="1647"/>
                    </a:cubicBezTo>
                    <a:lnTo>
                      <a:pt x="5385" y="1729"/>
                    </a:lnTo>
                    <a:cubicBezTo>
                      <a:pt x="5386" y="1730"/>
                      <a:pt x="5386" y="1731"/>
                      <a:pt x="5386" y="1733"/>
                    </a:cubicBezTo>
                    <a:lnTo>
                      <a:pt x="5400" y="1817"/>
                    </a:lnTo>
                    <a:cubicBezTo>
                      <a:pt x="5400" y="1818"/>
                      <a:pt x="5400" y="1819"/>
                      <a:pt x="5401" y="1820"/>
                    </a:cubicBezTo>
                    <a:lnTo>
                      <a:pt x="5403" y="1906"/>
                    </a:lnTo>
                    <a:cubicBezTo>
                      <a:pt x="5403" y="1907"/>
                      <a:pt x="5402" y="1908"/>
                      <a:pt x="5402" y="1909"/>
                    </a:cubicBezTo>
                    <a:lnTo>
                      <a:pt x="5392" y="1993"/>
                    </a:lnTo>
                    <a:cubicBezTo>
                      <a:pt x="5392" y="1994"/>
                      <a:pt x="5392" y="1996"/>
                      <a:pt x="5392" y="1997"/>
                    </a:cubicBezTo>
                    <a:lnTo>
                      <a:pt x="5370" y="2076"/>
                    </a:lnTo>
                    <a:cubicBezTo>
                      <a:pt x="5369" y="2077"/>
                      <a:pt x="5369" y="2078"/>
                      <a:pt x="5368" y="2079"/>
                    </a:cubicBezTo>
                    <a:lnTo>
                      <a:pt x="5335" y="2152"/>
                    </a:lnTo>
                    <a:cubicBezTo>
                      <a:pt x="5335" y="2153"/>
                      <a:pt x="5334" y="2154"/>
                      <a:pt x="5333" y="2156"/>
                    </a:cubicBezTo>
                    <a:lnTo>
                      <a:pt x="5289" y="2220"/>
                    </a:lnTo>
                    <a:cubicBezTo>
                      <a:pt x="5289" y="2221"/>
                      <a:pt x="5288" y="2222"/>
                      <a:pt x="5287" y="2223"/>
                    </a:cubicBezTo>
                    <a:lnTo>
                      <a:pt x="5233" y="2276"/>
                    </a:lnTo>
                    <a:lnTo>
                      <a:pt x="5239" y="2258"/>
                    </a:lnTo>
                    <a:lnTo>
                      <a:pt x="5250" y="2418"/>
                    </a:lnTo>
                    <a:lnTo>
                      <a:pt x="5241" y="2576"/>
                    </a:lnTo>
                    <a:lnTo>
                      <a:pt x="5226" y="2671"/>
                    </a:lnTo>
                    <a:lnTo>
                      <a:pt x="5204" y="2762"/>
                    </a:lnTo>
                    <a:lnTo>
                      <a:pt x="5176" y="2848"/>
                    </a:lnTo>
                    <a:lnTo>
                      <a:pt x="5142" y="2929"/>
                    </a:lnTo>
                    <a:lnTo>
                      <a:pt x="5102" y="3005"/>
                    </a:lnTo>
                    <a:lnTo>
                      <a:pt x="5058" y="3074"/>
                    </a:lnTo>
                    <a:lnTo>
                      <a:pt x="5008" y="3139"/>
                    </a:lnTo>
                    <a:lnTo>
                      <a:pt x="4955" y="3196"/>
                    </a:lnTo>
                    <a:lnTo>
                      <a:pt x="4897" y="3246"/>
                    </a:lnTo>
                    <a:lnTo>
                      <a:pt x="4836" y="3289"/>
                    </a:lnTo>
                    <a:lnTo>
                      <a:pt x="4771" y="3324"/>
                    </a:lnTo>
                    <a:lnTo>
                      <a:pt x="4703" y="3351"/>
                    </a:lnTo>
                    <a:lnTo>
                      <a:pt x="4634" y="3368"/>
                    </a:lnTo>
                    <a:lnTo>
                      <a:pt x="4562" y="3377"/>
                    </a:lnTo>
                    <a:lnTo>
                      <a:pt x="4490" y="3375"/>
                    </a:lnTo>
                    <a:lnTo>
                      <a:pt x="4419" y="3365"/>
                    </a:lnTo>
                    <a:lnTo>
                      <a:pt x="4444" y="3351"/>
                    </a:lnTo>
                    <a:lnTo>
                      <a:pt x="4409" y="3444"/>
                    </a:lnTo>
                    <a:cubicBezTo>
                      <a:pt x="4408" y="3445"/>
                      <a:pt x="4407" y="3447"/>
                      <a:pt x="4406" y="3449"/>
                    </a:cubicBezTo>
                    <a:lnTo>
                      <a:pt x="4352" y="3525"/>
                    </a:lnTo>
                    <a:cubicBezTo>
                      <a:pt x="4351" y="3526"/>
                      <a:pt x="4350" y="3528"/>
                      <a:pt x="4348" y="3529"/>
                    </a:cubicBezTo>
                    <a:lnTo>
                      <a:pt x="4298" y="3572"/>
                    </a:lnTo>
                    <a:cubicBezTo>
                      <a:pt x="4297" y="3573"/>
                      <a:pt x="4296" y="3574"/>
                      <a:pt x="4294" y="3575"/>
                    </a:cubicBezTo>
                    <a:lnTo>
                      <a:pt x="4240" y="3603"/>
                    </a:lnTo>
                    <a:cubicBezTo>
                      <a:pt x="4238" y="3604"/>
                      <a:pt x="4236" y="3604"/>
                      <a:pt x="4235" y="3605"/>
                    </a:cubicBezTo>
                    <a:lnTo>
                      <a:pt x="4178" y="3618"/>
                    </a:lnTo>
                    <a:cubicBezTo>
                      <a:pt x="4176" y="3618"/>
                      <a:pt x="4174" y="3619"/>
                      <a:pt x="4172" y="3618"/>
                    </a:cubicBezTo>
                    <a:lnTo>
                      <a:pt x="4114" y="3616"/>
                    </a:lnTo>
                    <a:cubicBezTo>
                      <a:pt x="4112" y="3616"/>
                      <a:pt x="4110" y="3616"/>
                      <a:pt x="4108" y="3616"/>
                    </a:cubicBezTo>
                    <a:lnTo>
                      <a:pt x="4050" y="3599"/>
                    </a:lnTo>
                    <a:cubicBezTo>
                      <a:pt x="4048" y="3598"/>
                      <a:pt x="4047" y="3597"/>
                      <a:pt x="4045" y="3596"/>
                    </a:cubicBezTo>
                    <a:lnTo>
                      <a:pt x="3991" y="3565"/>
                    </a:lnTo>
                    <a:cubicBezTo>
                      <a:pt x="3990" y="3565"/>
                      <a:pt x="3988" y="3564"/>
                      <a:pt x="3987" y="3563"/>
                    </a:cubicBezTo>
                    <a:lnTo>
                      <a:pt x="3936" y="3518"/>
                    </a:lnTo>
                    <a:cubicBezTo>
                      <a:pt x="3935" y="3517"/>
                      <a:pt x="3934" y="3516"/>
                      <a:pt x="3933" y="3514"/>
                    </a:cubicBezTo>
                    <a:lnTo>
                      <a:pt x="3889" y="3455"/>
                    </a:lnTo>
                    <a:lnTo>
                      <a:pt x="3928" y="3451"/>
                    </a:lnTo>
                    <a:lnTo>
                      <a:pt x="3877" y="3561"/>
                    </a:lnTo>
                    <a:cubicBezTo>
                      <a:pt x="3877" y="3562"/>
                      <a:pt x="3876" y="3563"/>
                      <a:pt x="3875" y="3565"/>
                    </a:cubicBezTo>
                    <a:lnTo>
                      <a:pt x="3811" y="3658"/>
                    </a:lnTo>
                    <a:cubicBezTo>
                      <a:pt x="3811" y="3659"/>
                      <a:pt x="3810" y="3660"/>
                      <a:pt x="3808" y="3661"/>
                    </a:cubicBezTo>
                    <a:lnTo>
                      <a:pt x="3731" y="3735"/>
                    </a:lnTo>
                    <a:cubicBezTo>
                      <a:pt x="3730" y="3736"/>
                      <a:pt x="3729" y="3737"/>
                      <a:pt x="3728" y="3738"/>
                    </a:cubicBezTo>
                    <a:lnTo>
                      <a:pt x="3643" y="3792"/>
                    </a:lnTo>
                    <a:cubicBezTo>
                      <a:pt x="3641" y="3793"/>
                      <a:pt x="3640" y="3794"/>
                      <a:pt x="3638" y="3794"/>
                    </a:cubicBezTo>
                    <a:lnTo>
                      <a:pt x="3545" y="3827"/>
                    </a:lnTo>
                    <a:cubicBezTo>
                      <a:pt x="3543" y="3828"/>
                      <a:pt x="3542" y="3828"/>
                      <a:pt x="3540" y="3828"/>
                    </a:cubicBezTo>
                    <a:lnTo>
                      <a:pt x="3442" y="3838"/>
                    </a:lnTo>
                    <a:cubicBezTo>
                      <a:pt x="3441" y="3839"/>
                      <a:pt x="3439" y="3839"/>
                      <a:pt x="3438" y="3838"/>
                    </a:cubicBezTo>
                    <a:lnTo>
                      <a:pt x="3385" y="3835"/>
                    </a:lnTo>
                    <a:lnTo>
                      <a:pt x="3332" y="3826"/>
                    </a:lnTo>
                    <a:lnTo>
                      <a:pt x="3280" y="3810"/>
                    </a:lnTo>
                    <a:lnTo>
                      <a:pt x="3229" y="3789"/>
                    </a:lnTo>
                    <a:lnTo>
                      <a:pt x="3248" y="3788"/>
                    </a:lnTo>
                    <a:lnTo>
                      <a:pt x="3176" y="3826"/>
                    </a:lnTo>
                    <a:lnTo>
                      <a:pt x="3102" y="3855"/>
                    </a:lnTo>
                    <a:lnTo>
                      <a:pt x="3027" y="3875"/>
                    </a:lnTo>
                    <a:lnTo>
                      <a:pt x="2951" y="3888"/>
                    </a:lnTo>
                    <a:lnTo>
                      <a:pt x="2874" y="3892"/>
                    </a:lnTo>
                    <a:lnTo>
                      <a:pt x="2798" y="3888"/>
                    </a:lnTo>
                    <a:lnTo>
                      <a:pt x="2723" y="3876"/>
                    </a:lnTo>
                    <a:lnTo>
                      <a:pt x="2652" y="3855"/>
                    </a:lnTo>
                    <a:lnTo>
                      <a:pt x="2676" y="3848"/>
                    </a:lnTo>
                    <a:lnTo>
                      <a:pt x="2634" y="3893"/>
                    </a:lnTo>
                    <a:lnTo>
                      <a:pt x="2567" y="3956"/>
                    </a:lnTo>
                    <a:lnTo>
                      <a:pt x="2497" y="4007"/>
                    </a:lnTo>
                    <a:lnTo>
                      <a:pt x="2424" y="4050"/>
                    </a:lnTo>
                    <a:lnTo>
                      <a:pt x="2350" y="4081"/>
                    </a:lnTo>
                    <a:lnTo>
                      <a:pt x="2273" y="4102"/>
                    </a:lnTo>
                    <a:lnTo>
                      <a:pt x="2196" y="4114"/>
                    </a:lnTo>
                    <a:lnTo>
                      <a:pt x="2119" y="4115"/>
                    </a:lnTo>
                    <a:lnTo>
                      <a:pt x="2042" y="4107"/>
                    </a:lnTo>
                    <a:lnTo>
                      <a:pt x="1966" y="4089"/>
                    </a:lnTo>
                    <a:lnTo>
                      <a:pt x="1893" y="4061"/>
                    </a:lnTo>
                    <a:lnTo>
                      <a:pt x="1821" y="4025"/>
                    </a:lnTo>
                    <a:lnTo>
                      <a:pt x="1752" y="3978"/>
                    </a:lnTo>
                    <a:lnTo>
                      <a:pt x="1686" y="3922"/>
                    </a:lnTo>
                    <a:lnTo>
                      <a:pt x="1624" y="3858"/>
                    </a:lnTo>
                    <a:lnTo>
                      <a:pt x="1566" y="3784"/>
                    </a:lnTo>
                    <a:lnTo>
                      <a:pt x="1515" y="3704"/>
                    </a:lnTo>
                    <a:lnTo>
                      <a:pt x="1551" y="3707"/>
                    </a:lnTo>
                    <a:lnTo>
                      <a:pt x="1511" y="3749"/>
                    </a:lnTo>
                    <a:cubicBezTo>
                      <a:pt x="1510" y="3751"/>
                      <a:pt x="1509" y="3752"/>
                      <a:pt x="1507" y="3753"/>
                    </a:cubicBezTo>
                    <a:lnTo>
                      <a:pt x="1463" y="3782"/>
                    </a:lnTo>
                    <a:cubicBezTo>
                      <a:pt x="1462" y="3783"/>
                      <a:pt x="1460" y="3783"/>
                      <a:pt x="1458" y="3784"/>
                    </a:cubicBezTo>
                    <a:lnTo>
                      <a:pt x="1409" y="3802"/>
                    </a:lnTo>
                    <a:cubicBezTo>
                      <a:pt x="1407" y="3803"/>
                      <a:pt x="1405" y="3803"/>
                      <a:pt x="1403" y="3803"/>
                    </a:cubicBezTo>
                    <a:lnTo>
                      <a:pt x="1353" y="3807"/>
                    </a:lnTo>
                    <a:cubicBezTo>
                      <a:pt x="1351" y="3808"/>
                      <a:pt x="1349" y="3807"/>
                      <a:pt x="1347" y="3807"/>
                    </a:cubicBezTo>
                    <a:lnTo>
                      <a:pt x="1297" y="3797"/>
                    </a:lnTo>
                    <a:cubicBezTo>
                      <a:pt x="1295" y="3797"/>
                      <a:pt x="1293" y="3796"/>
                      <a:pt x="1292" y="3795"/>
                    </a:cubicBezTo>
                    <a:lnTo>
                      <a:pt x="1245" y="3773"/>
                    </a:lnTo>
                    <a:cubicBezTo>
                      <a:pt x="1243" y="3773"/>
                      <a:pt x="1241" y="3772"/>
                      <a:pt x="1240" y="3770"/>
                    </a:cubicBezTo>
                    <a:lnTo>
                      <a:pt x="1199" y="3737"/>
                    </a:lnTo>
                    <a:cubicBezTo>
                      <a:pt x="1198" y="3736"/>
                      <a:pt x="1197" y="3735"/>
                      <a:pt x="1196" y="3734"/>
                    </a:cubicBezTo>
                    <a:lnTo>
                      <a:pt x="1160" y="3691"/>
                    </a:lnTo>
                    <a:cubicBezTo>
                      <a:pt x="1159" y="3690"/>
                      <a:pt x="1158" y="3689"/>
                      <a:pt x="1157" y="3688"/>
                    </a:cubicBezTo>
                    <a:lnTo>
                      <a:pt x="1128" y="3636"/>
                    </a:lnTo>
                    <a:cubicBezTo>
                      <a:pt x="1128" y="3635"/>
                      <a:pt x="1127" y="3634"/>
                      <a:pt x="1127" y="3633"/>
                    </a:cubicBezTo>
                    <a:lnTo>
                      <a:pt x="1105" y="3575"/>
                    </a:lnTo>
                    <a:cubicBezTo>
                      <a:pt x="1104" y="3573"/>
                      <a:pt x="1104" y="3572"/>
                      <a:pt x="1104" y="3571"/>
                    </a:cubicBezTo>
                    <a:lnTo>
                      <a:pt x="1091" y="3507"/>
                    </a:lnTo>
                    <a:cubicBezTo>
                      <a:pt x="1091" y="3506"/>
                      <a:pt x="1091" y="3505"/>
                      <a:pt x="1090" y="3503"/>
                    </a:cubicBezTo>
                    <a:lnTo>
                      <a:pt x="1087" y="3435"/>
                    </a:lnTo>
                    <a:lnTo>
                      <a:pt x="1122" y="3455"/>
                    </a:lnTo>
                    <a:lnTo>
                      <a:pt x="1069" y="3484"/>
                    </a:lnTo>
                    <a:lnTo>
                      <a:pt x="1015" y="3506"/>
                    </a:lnTo>
                    <a:lnTo>
                      <a:pt x="960" y="3521"/>
                    </a:lnTo>
                    <a:lnTo>
                      <a:pt x="905" y="3529"/>
                    </a:lnTo>
                    <a:lnTo>
                      <a:pt x="850" y="3531"/>
                    </a:lnTo>
                    <a:lnTo>
                      <a:pt x="796" y="3526"/>
                    </a:lnTo>
                    <a:lnTo>
                      <a:pt x="742" y="3515"/>
                    </a:lnTo>
                    <a:lnTo>
                      <a:pt x="692" y="3498"/>
                    </a:lnTo>
                    <a:cubicBezTo>
                      <a:pt x="691" y="3498"/>
                      <a:pt x="690" y="3497"/>
                      <a:pt x="689" y="3497"/>
                    </a:cubicBezTo>
                    <a:lnTo>
                      <a:pt x="593" y="3446"/>
                    </a:lnTo>
                    <a:cubicBezTo>
                      <a:pt x="591" y="3445"/>
                      <a:pt x="590" y="3444"/>
                      <a:pt x="589" y="3443"/>
                    </a:cubicBezTo>
                    <a:lnTo>
                      <a:pt x="500" y="3369"/>
                    </a:lnTo>
                    <a:cubicBezTo>
                      <a:pt x="499" y="3368"/>
                      <a:pt x="498" y="3367"/>
                      <a:pt x="497" y="3366"/>
                    </a:cubicBezTo>
                    <a:lnTo>
                      <a:pt x="419" y="3271"/>
                    </a:lnTo>
                    <a:cubicBezTo>
                      <a:pt x="418" y="3270"/>
                      <a:pt x="417" y="3269"/>
                      <a:pt x="416" y="3268"/>
                    </a:cubicBezTo>
                    <a:lnTo>
                      <a:pt x="351" y="3152"/>
                    </a:lnTo>
                    <a:lnTo>
                      <a:pt x="362" y="3162"/>
                    </a:lnTo>
                    <a:lnTo>
                      <a:pt x="301" y="3135"/>
                    </a:lnTo>
                    <a:cubicBezTo>
                      <a:pt x="300" y="3134"/>
                      <a:pt x="299" y="3133"/>
                      <a:pt x="298" y="3133"/>
                    </a:cubicBezTo>
                    <a:lnTo>
                      <a:pt x="241" y="3095"/>
                    </a:lnTo>
                    <a:cubicBezTo>
                      <a:pt x="240" y="3094"/>
                      <a:pt x="239" y="3093"/>
                      <a:pt x="238" y="3093"/>
                    </a:cubicBezTo>
                    <a:lnTo>
                      <a:pt x="186" y="3046"/>
                    </a:lnTo>
                    <a:cubicBezTo>
                      <a:pt x="185" y="3045"/>
                      <a:pt x="184" y="3044"/>
                      <a:pt x="184" y="3043"/>
                    </a:cubicBezTo>
                    <a:lnTo>
                      <a:pt x="136" y="2984"/>
                    </a:lnTo>
                    <a:lnTo>
                      <a:pt x="94" y="2917"/>
                    </a:lnTo>
                    <a:lnTo>
                      <a:pt x="59" y="2844"/>
                    </a:lnTo>
                    <a:lnTo>
                      <a:pt x="32" y="2765"/>
                    </a:lnTo>
                    <a:lnTo>
                      <a:pt x="13" y="2679"/>
                    </a:lnTo>
                    <a:lnTo>
                      <a:pt x="1" y="2554"/>
                    </a:lnTo>
                    <a:cubicBezTo>
                      <a:pt x="0" y="2553"/>
                      <a:pt x="0" y="2551"/>
                      <a:pt x="0" y="2550"/>
                    </a:cubicBezTo>
                    <a:lnTo>
                      <a:pt x="7" y="2427"/>
                    </a:lnTo>
                    <a:cubicBezTo>
                      <a:pt x="8" y="2426"/>
                      <a:pt x="8" y="2425"/>
                      <a:pt x="8" y="2424"/>
                    </a:cubicBezTo>
                    <a:lnTo>
                      <a:pt x="34" y="2305"/>
                    </a:lnTo>
                    <a:lnTo>
                      <a:pt x="73" y="2198"/>
                    </a:lnTo>
                    <a:cubicBezTo>
                      <a:pt x="73" y="2196"/>
                      <a:pt x="74" y="2195"/>
                      <a:pt x="75" y="2194"/>
                    </a:cubicBezTo>
                    <a:lnTo>
                      <a:pt x="130" y="2100"/>
                    </a:lnTo>
                    <a:cubicBezTo>
                      <a:pt x="130" y="2099"/>
                      <a:pt x="131" y="2098"/>
                      <a:pt x="132" y="2097"/>
                    </a:cubicBezTo>
                    <a:lnTo>
                      <a:pt x="199" y="2017"/>
                    </a:lnTo>
                    <a:cubicBezTo>
                      <a:pt x="200" y="2015"/>
                      <a:pt x="201" y="2014"/>
                      <a:pt x="202" y="2013"/>
                    </a:cubicBezTo>
                    <a:lnTo>
                      <a:pt x="282" y="1951"/>
                    </a:lnTo>
                    <a:cubicBezTo>
                      <a:pt x="283" y="1950"/>
                      <a:pt x="284" y="1950"/>
                      <a:pt x="286" y="1949"/>
                    </a:cubicBezTo>
                    <a:lnTo>
                      <a:pt x="331" y="1925"/>
                    </a:lnTo>
                    <a:lnTo>
                      <a:pt x="377" y="1908"/>
                    </a:lnTo>
                    <a:cubicBezTo>
                      <a:pt x="389" y="1903"/>
                      <a:pt x="403" y="1910"/>
                      <a:pt x="407" y="1921"/>
                    </a:cubicBezTo>
                    <a:cubicBezTo>
                      <a:pt x="411" y="1933"/>
                      <a:pt x="405" y="1947"/>
                      <a:pt x="393" y="1951"/>
                    </a:cubicBezTo>
                    <a:close/>
                  </a:path>
                </a:pathLst>
              </a:custGeom>
              <a:solidFill>
                <a:srgbClr val="FFFFFF"/>
              </a:solidFill>
              <a:ln w="0">
                <a:solidFill>
                  <a:srgbClr val="000000"/>
                </a:solidFill>
                <a:round/>
                <a:headEnd/>
                <a:tailEnd/>
              </a:ln>
            </p:spPr>
            <p:txBody>
              <a:bodyPr/>
              <a:lstStyle/>
              <a:p>
                <a:endParaRPr lang="zh-CN" altLang="en-US"/>
              </a:p>
            </p:txBody>
          </p:sp>
          <p:sp>
            <p:nvSpPr>
              <p:cNvPr id="279" name="Rectangle 20">
                <a:extLst>
                  <a:ext uri="{FF2B5EF4-FFF2-40B4-BE49-F238E27FC236}">
                    <a16:creationId xmlns:a16="http://schemas.microsoft.com/office/drawing/2014/main" id="{4772585A-9209-4678-99FB-8E30EFD6F141}"/>
                  </a:ext>
                </a:extLst>
              </p:cNvPr>
              <p:cNvSpPr>
                <a:spLocks noChangeArrowheads="1"/>
              </p:cNvSpPr>
              <p:nvPr/>
            </p:nvSpPr>
            <p:spPr bwMode="auto">
              <a:xfrm>
                <a:off x="1472" y="1712"/>
                <a:ext cx="1918" cy="1467"/>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80" name="Freeform 21">
                <a:extLst>
                  <a:ext uri="{FF2B5EF4-FFF2-40B4-BE49-F238E27FC236}">
                    <a16:creationId xmlns:a16="http://schemas.microsoft.com/office/drawing/2014/main" id="{260F3213-E2A7-43DF-9AFA-D50FFE11C0DF}"/>
                  </a:ext>
                </a:extLst>
              </p:cNvPr>
              <p:cNvSpPr>
                <a:spLocks noEditPoints="1"/>
              </p:cNvSpPr>
              <p:nvPr/>
            </p:nvSpPr>
            <p:spPr bwMode="auto">
              <a:xfrm>
                <a:off x="1709" y="1893"/>
                <a:ext cx="1421" cy="1043"/>
              </a:xfrm>
              <a:custGeom>
                <a:avLst/>
                <a:gdLst>
                  <a:gd name="T0" fmla="*/ 238 w 1421"/>
                  <a:gd name="T1" fmla="*/ 901 h 1043"/>
                  <a:gd name="T2" fmla="*/ 714 w 1421"/>
                  <a:gd name="T3" fmla="*/ 538 h 1043"/>
                  <a:gd name="T4" fmla="*/ 714 w 1421"/>
                  <a:gd name="T5" fmla="*/ 1043 h 1043"/>
                  <a:gd name="T6" fmla="*/ 714 w 1421"/>
                  <a:gd name="T7" fmla="*/ 538 h 1043"/>
                  <a:gd name="T8" fmla="*/ 1183 w 1421"/>
                  <a:gd name="T9" fmla="*/ 901 h 1043"/>
                  <a:gd name="T10" fmla="*/ 714 w 1421"/>
                  <a:gd name="T11" fmla="*/ 538 h 1043"/>
                  <a:gd name="T12" fmla="*/ 1421 w 1421"/>
                  <a:gd name="T13" fmla="*/ 538 h 1043"/>
                  <a:gd name="T14" fmla="*/ 714 w 1421"/>
                  <a:gd name="T15" fmla="*/ 538 h 1043"/>
                  <a:gd name="T16" fmla="*/ 1183 w 1421"/>
                  <a:gd name="T17" fmla="*/ 176 h 1043"/>
                  <a:gd name="T18" fmla="*/ 714 w 1421"/>
                  <a:gd name="T19" fmla="*/ 538 h 1043"/>
                  <a:gd name="T20" fmla="*/ 714 w 1421"/>
                  <a:gd name="T21" fmla="*/ 0 h 1043"/>
                  <a:gd name="T22" fmla="*/ 714 w 1421"/>
                  <a:gd name="T23" fmla="*/ 538 h 1043"/>
                  <a:gd name="T24" fmla="*/ 385 w 1421"/>
                  <a:gd name="T25" fmla="*/ 238 h 1043"/>
                  <a:gd name="T26" fmla="*/ 714 w 1421"/>
                  <a:gd name="T27" fmla="*/ 538 h 1043"/>
                  <a:gd name="T28" fmla="*/ 0 w 1421"/>
                  <a:gd name="T29" fmla="*/ 538 h 1043"/>
                  <a:gd name="T30" fmla="*/ 714 w 1421"/>
                  <a:gd name="T31" fmla="*/ 538 h 10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21"/>
                  <a:gd name="T49" fmla="*/ 0 h 1043"/>
                  <a:gd name="T50" fmla="*/ 1421 w 1421"/>
                  <a:gd name="T51" fmla="*/ 1043 h 10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21" h="1043">
                    <a:moveTo>
                      <a:pt x="238" y="901"/>
                    </a:moveTo>
                    <a:lnTo>
                      <a:pt x="714" y="538"/>
                    </a:lnTo>
                    <a:moveTo>
                      <a:pt x="714" y="1043"/>
                    </a:moveTo>
                    <a:lnTo>
                      <a:pt x="714" y="538"/>
                    </a:lnTo>
                    <a:moveTo>
                      <a:pt x="1183" y="901"/>
                    </a:moveTo>
                    <a:lnTo>
                      <a:pt x="714" y="538"/>
                    </a:lnTo>
                    <a:moveTo>
                      <a:pt x="1421" y="538"/>
                    </a:moveTo>
                    <a:lnTo>
                      <a:pt x="714" y="538"/>
                    </a:lnTo>
                    <a:moveTo>
                      <a:pt x="1183" y="176"/>
                    </a:moveTo>
                    <a:lnTo>
                      <a:pt x="714" y="538"/>
                    </a:lnTo>
                    <a:moveTo>
                      <a:pt x="714" y="0"/>
                    </a:moveTo>
                    <a:lnTo>
                      <a:pt x="714" y="538"/>
                    </a:lnTo>
                    <a:moveTo>
                      <a:pt x="385" y="238"/>
                    </a:moveTo>
                    <a:lnTo>
                      <a:pt x="714" y="538"/>
                    </a:lnTo>
                    <a:moveTo>
                      <a:pt x="0" y="538"/>
                    </a:moveTo>
                    <a:lnTo>
                      <a:pt x="714" y="538"/>
                    </a:lnTo>
                  </a:path>
                </a:pathLst>
              </a:custGeom>
              <a:noFill/>
              <a:ln w="16" cap="rnd">
                <a:solidFill>
                  <a:srgbClr val="40404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281" name="Rectangle 22">
                <a:extLst>
                  <a:ext uri="{FF2B5EF4-FFF2-40B4-BE49-F238E27FC236}">
                    <a16:creationId xmlns:a16="http://schemas.microsoft.com/office/drawing/2014/main" id="{A6C6EB48-6DD9-47FC-864E-D04DDFC8D2EA}"/>
                  </a:ext>
                </a:extLst>
              </p:cNvPr>
              <p:cNvSpPr>
                <a:spLocks noChangeArrowheads="1"/>
              </p:cNvSpPr>
              <p:nvPr/>
            </p:nvSpPr>
            <p:spPr bwMode="auto">
              <a:xfrm>
                <a:off x="1466" y="1701"/>
                <a:ext cx="1907" cy="5"/>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82" name="Rectangle 23">
                <a:extLst>
                  <a:ext uri="{FF2B5EF4-FFF2-40B4-BE49-F238E27FC236}">
                    <a16:creationId xmlns:a16="http://schemas.microsoft.com/office/drawing/2014/main" id="{69D7A467-EDE7-4E91-9431-C1B22B52044A}"/>
                  </a:ext>
                </a:extLst>
              </p:cNvPr>
              <p:cNvSpPr>
                <a:spLocks noChangeArrowheads="1"/>
              </p:cNvSpPr>
              <p:nvPr/>
            </p:nvSpPr>
            <p:spPr bwMode="auto">
              <a:xfrm>
                <a:off x="1466" y="1706"/>
                <a:ext cx="1907" cy="23"/>
              </a:xfrm>
              <a:prstGeom prst="rect">
                <a:avLst/>
              </a:prstGeom>
              <a:solidFill>
                <a:srgbClr val="88AF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83" name="Rectangle 24">
                <a:extLst>
                  <a:ext uri="{FF2B5EF4-FFF2-40B4-BE49-F238E27FC236}">
                    <a16:creationId xmlns:a16="http://schemas.microsoft.com/office/drawing/2014/main" id="{3CFF5692-32DD-418A-A9C0-4956BCCF416A}"/>
                  </a:ext>
                </a:extLst>
              </p:cNvPr>
              <p:cNvSpPr>
                <a:spLocks noChangeArrowheads="1"/>
              </p:cNvSpPr>
              <p:nvPr/>
            </p:nvSpPr>
            <p:spPr bwMode="auto">
              <a:xfrm>
                <a:off x="1466" y="1729"/>
                <a:ext cx="1907" cy="23"/>
              </a:xfrm>
              <a:prstGeom prst="rect">
                <a:avLst/>
              </a:prstGeom>
              <a:solidFill>
                <a:srgbClr val="8AB0D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84" name="Rectangle 25">
                <a:extLst>
                  <a:ext uri="{FF2B5EF4-FFF2-40B4-BE49-F238E27FC236}">
                    <a16:creationId xmlns:a16="http://schemas.microsoft.com/office/drawing/2014/main" id="{0DF46E3D-F65F-4BF2-BEF3-14AAC86E7F24}"/>
                  </a:ext>
                </a:extLst>
              </p:cNvPr>
              <p:cNvSpPr>
                <a:spLocks noChangeArrowheads="1"/>
              </p:cNvSpPr>
              <p:nvPr/>
            </p:nvSpPr>
            <p:spPr bwMode="auto">
              <a:xfrm>
                <a:off x="1466" y="1752"/>
                <a:ext cx="1907" cy="28"/>
              </a:xfrm>
              <a:prstGeom prst="rect">
                <a:avLst/>
              </a:prstGeom>
              <a:solidFill>
                <a:srgbClr val="8CB1D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85" name="Rectangle 26">
                <a:extLst>
                  <a:ext uri="{FF2B5EF4-FFF2-40B4-BE49-F238E27FC236}">
                    <a16:creationId xmlns:a16="http://schemas.microsoft.com/office/drawing/2014/main" id="{7F92273B-92C4-48F9-BB84-F063FDC507C6}"/>
                  </a:ext>
                </a:extLst>
              </p:cNvPr>
              <p:cNvSpPr>
                <a:spLocks noChangeArrowheads="1"/>
              </p:cNvSpPr>
              <p:nvPr/>
            </p:nvSpPr>
            <p:spPr bwMode="auto">
              <a:xfrm>
                <a:off x="1466" y="1780"/>
                <a:ext cx="1907" cy="28"/>
              </a:xfrm>
              <a:prstGeom prst="rect">
                <a:avLst/>
              </a:prstGeom>
              <a:solidFill>
                <a:srgbClr val="8EB2D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86" name="Rectangle 27">
                <a:extLst>
                  <a:ext uri="{FF2B5EF4-FFF2-40B4-BE49-F238E27FC236}">
                    <a16:creationId xmlns:a16="http://schemas.microsoft.com/office/drawing/2014/main" id="{75F17B53-1322-44E6-B1AA-E075DA7DE04A}"/>
                  </a:ext>
                </a:extLst>
              </p:cNvPr>
              <p:cNvSpPr>
                <a:spLocks noChangeArrowheads="1"/>
              </p:cNvSpPr>
              <p:nvPr/>
            </p:nvSpPr>
            <p:spPr bwMode="auto">
              <a:xfrm>
                <a:off x="1466" y="1808"/>
                <a:ext cx="1907" cy="29"/>
              </a:xfrm>
              <a:prstGeom prst="rect">
                <a:avLst/>
              </a:prstGeom>
              <a:solidFill>
                <a:srgbClr val="90B4D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87" name="Rectangle 28">
                <a:extLst>
                  <a:ext uri="{FF2B5EF4-FFF2-40B4-BE49-F238E27FC236}">
                    <a16:creationId xmlns:a16="http://schemas.microsoft.com/office/drawing/2014/main" id="{948D00C7-1954-456C-9DED-BE35B3E275F8}"/>
                  </a:ext>
                </a:extLst>
              </p:cNvPr>
              <p:cNvSpPr>
                <a:spLocks noChangeArrowheads="1"/>
              </p:cNvSpPr>
              <p:nvPr/>
            </p:nvSpPr>
            <p:spPr bwMode="auto">
              <a:xfrm>
                <a:off x="1466" y="1837"/>
                <a:ext cx="1907" cy="28"/>
              </a:xfrm>
              <a:prstGeom prst="rect">
                <a:avLst/>
              </a:prstGeom>
              <a:solidFill>
                <a:srgbClr val="92B5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88" name="Rectangle 29">
                <a:extLst>
                  <a:ext uri="{FF2B5EF4-FFF2-40B4-BE49-F238E27FC236}">
                    <a16:creationId xmlns:a16="http://schemas.microsoft.com/office/drawing/2014/main" id="{BFB8E8B5-CB2D-48EA-863A-40A17524FFAB}"/>
                  </a:ext>
                </a:extLst>
              </p:cNvPr>
              <p:cNvSpPr>
                <a:spLocks noChangeArrowheads="1"/>
              </p:cNvSpPr>
              <p:nvPr/>
            </p:nvSpPr>
            <p:spPr bwMode="auto">
              <a:xfrm>
                <a:off x="1466" y="1865"/>
                <a:ext cx="1907" cy="34"/>
              </a:xfrm>
              <a:prstGeom prst="rect">
                <a:avLst/>
              </a:prstGeom>
              <a:solidFill>
                <a:srgbClr val="94B6D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89" name="Rectangle 30">
                <a:extLst>
                  <a:ext uri="{FF2B5EF4-FFF2-40B4-BE49-F238E27FC236}">
                    <a16:creationId xmlns:a16="http://schemas.microsoft.com/office/drawing/2014/main" id="{CAA54400-5EB5-471F-B164-01598ABFEBC0}"/>
                  </a:ext>
                </a:extLst>
              </p:cNvPr>
              <p:cNvSpPr>
                <a:spLocks noChangeArrowheads="1"/>
              </p:cNvSpPr>
              <p:nvPr/>
            </p:nvSpPr>
            <p:spPr bwMode="auto">
              <a:xfrm>
                <a:off x="1466" y="1899"/>
                <a:ext cx="1907" cy="22"/>
              </a:xfrm>
              <a:prstGeom prst="rect">
                <a:avLst/>
              </a:prstGeom>
              <a:solidFill>
                <a:srgbClr val="96B8D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90" name="Rectangle 31">
                <a:extLst>
                  <a:ext uri="{FF2B5EF4-FFF2-40B4-BE49-F238E27FC236}">
                    <a16:creationId xmlns:a16="http://schemas.microsoft.com/office/drawing/2014/main" id="{8115B410-A01D-48FC-9C4E-88E6EB2C5934}"/>
                  </a:ext>
                </a:extLst>
              </p:cNvPr>
              <p:cNvSpPr>
                <a:spLocks noChangeArrowheads="1"/>
              </p:cNvSpPr>
              <p:nvPr/>
            </p:nvSpPr>
            <p:spPr bwMode="auto">
              <a:xfrm>
                <a:off x="1466" y="1921"/>
                <a:ext cx="1907" cy="29"/>
              </a:xfrm>
              <a:prstGeom prst="rect">
                <a:avLst/>
              </a:prstGeom>
              <a:solidFill>
                <a:srgbClr val="98B9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91" name="Rectangle 32">
                <a:extLst>
                  <a:ext uri="{FF2B5EF4-FFF2-40B4-BE49-F238E27FC236}">
                    <a16:creationId xmlns:a16="http://schemas.microsoft.com/office/drawing/2014/main" id="{6EB5E623-4729-4623-9A8F-12018B69E147}"/>
                  </a:ext>
                </a:extLst>
              </p:cNvPr>
              <p:cNvSpPr>
                <a:spLocks noChangeArrowheads="1"/>
              </p:cNvSpPr>
              <p:nvPr/>
            </p:nvSpPr>
            <p:spPr bwMode="auto">
              <a:xfrm>
                <a:off x="1466" y="1950"/>
                <a:ext cx="1907" cy="22"/>
              </a:xfrm>
              <a:prstGeom prst="rect">
                <a:avLst/>
              </a:prstGeom>
              <a:solidFill>
                <a:srgbClr val="9ABAD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92" name="Rectangle 33">
                <a:extLst>
                  <a:ext uri="{FF2B5EF4-FFF2-40B4-BE49-F238E27FC236}">
                    <a16:creationId xmlns:a16="http://schemas.microsoft.com/office/drawing/2014/main" id="{658DCAD2-F631-4EB7-923B-6618B2A9DA69}"/>
                  </a:ext>
                </a:extLst>
              </p:cNvPr>
              <p:cNvSpPr>
                <a:spLocks noChangeArrowheads="1"/>
              </p:cNvSpPr>
              <p:nvPr/>
            </p:nvSpPr>
            <p:spPr bwMode="auto">
              <a:xfrm>
                <a:off x="1466" y="1972"/>
                <a:ext cx="1907" cy="29"/>
              </a:xfrm>
              <a:prstGeom prst="rect">
                <a:avLst/>
              </a:prstGeom>
              <a:solidFill>
                <a:srgbClr val="9CBBD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93" name="Rectangle 34">
                <a:extLst>
                  <a:ext uri="{FF2B5EF4-FFF2-40B4-BE49-F238E27FC236}">
                    <a16:creationId xmlns:a16="http://schemas.microsoft.com/office/drawing/2014/main" id="{F84FE2C0-C94F-4008-97EF-7B7C5CC4EA5B}"/>
                  </a:ext>
                </a:extLst>
              </p:cNvPr>
              <p:cNvSpPr>
                <a:spLocks noChangeArrowheads="1"/>
              </p:cNvSpPr>
              <p:nvPr/>
            </p:nvSpPr>
            <p:spPr bwMode="auto">
              <a:xfrm>
                <a:off x="1466" y="2001"/>
                <a:ext cx="1907" cy="34"/>
              </a:xfrm>
              <a:prstGeom prst="rect">
                <a:avLst/>
              </a:prstGeom>
              <a:solidFill>
                <a:srgbClr val="9EBC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94" name="Rectangle 35">
                <a:extLst>
                  <a:ext uri="{FF2B5EF4-FFF2-40B4-BE49-F238E27FC236}">
                    <a16:creationId xmlns:a16="http://schemas.microsoft.com/office/drawing/2014/main" id="{E0A297CE-DD7B-40B4-8D84-D79FDAEA627C}"/>
                  </a:ext>
                </a:extLst>
              </p:cNvPr>
              <p:cNvSpPr>
                <a:spLocks noChangeArrowheads="1"/>
              </p:cNvSpPr>
              <p:nvPr/>
            </p:nvSpPr>
            <p:spPr bwMode="auto">
              <a:xfrm>
                <a:off x="1466" y="2035"/>
                <a:ext cx="1907" cy="28"/>
              </a:xfrm>
              <a:prstGeom prst="rect">
                <a:avLst/>
              </a:prstGeom>
              <a:solidFill>
                <a:srgbClr val="A0BED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95" name="Rectangle 36">
                <a:extLst>
                  <a:ext uri="{FF2B5EF4-FFF2-40B4-BE49-F238E27FC236}">
                    <a16:creationId xmlns:a16="http://schemas.microsoft.com/office/drawing/2014/main" id="{A58C44B2-074A-4666-8A15-2E1DD06C6121}"/>
                  </a:ext>
                </a:extLst>
              </p:cNvPr>
              <p:cNvSpPr>
                <a:spLocks noChangeArrowheads="1"/>
              </p:cNvSpPr>
              <p:nvPr/>
            </p:nvSpPr>
            <p:spPr bwMode="auto">
              <a:xfrm>
                <a:off x="1466" y="2063"/>
                <a:ext cx="1907" cy="28"/>
              </a:xfrm>
              <a:prstGeom prst="rect">
                <a:avLst/>
              </a:prstGeom>
              <a:solidFill>
                <a:srgbClr val="A2BFD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96" name="Rectangle 37">
                <a:extLst>
                  <a:ext uri="{FF2B5EF4-FFF2-40B4-BE49-F238E27FC236}">
                    <a16:creationId xmlns:a16="http://schemas.microsoft.com/office/drawing/2014/main" id="{C12CF1E2-D492-4FB8-9E23-E3D211D79CD4}"/>
                  </a:ext>
                </a:extLst>
              </p:cNvPr>
              <p:cNvSpPr>
                <a:spLocks noChangeArrowheads="1"/>
              </p:cNvSpPr>
              <p:nvPr/>
            </p:nvSpPr>
            <p:spPr bwMode="auto">
              <a:xfrm>
                <a:off x="1466" y="2091"/>
                <a:ext cx="1907" cy="23"/>
              </a:xfrm>
              <a:prstGeom prst="rect">
                <a:avLst/>
              </a:prstGeom>
              <a:solidFill>
                <a:srgbClr val="A4C0D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97" name="Rectangle 38">
                <a:extLst>
                  <a:ext uri="{FF2B5EF4-FFF2-40B4-BE49-F238E27FC236}">
                    <a16:creationId xmlns:a16="http://schemas.microsoft.com/office/drawing/2014/main" id="{CB376C30-D1B0-4C86-84C0-06E68A82646D}"/>
                  </a:ext>
                </a:extLst>
              </p:cNvPr>
              <p:cNvSpPr>
                <a:spLocks noChangeArrowheads="1"/>
              </p:cNvSpPr>
              <p:nvPr/>
            </p:nvSpPr>
            <p:spPr bwMode="auto">
              <a:xfrm>
                <a:off x="1466" y="2114"/>
                <a:ext cx="1907" cy="28"/>
              </a:xfrm>
              <a:prstGeom prst="rect">
                <a:avLst/>
              </a:prstGeom>
              <a:solidFill>
                <a:srgbClr val="A6C1D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98" name="Rectangle 39">
                <a:extLst>
                  <a:ext uri="{FF2B5EF4-FFF2-40B4-BE49-F238E27FC236}">
                    <a16:creationId xmlns:a16="http://schemas.microsoft.com/office/drawing/2014/main" id="{340452A5-1C0A-4210-9BB7-B8EA63CC2011}"/>
                  </a:ext>
                </a:extLst>
              </p:cNvPr>
              <p:cNvSpPr>
                <a:spLocks noChangeArrowheads="1"/>
              </p:cNvSpPr>
              <p:nvPr/>
            </p:nvSpPr>
            <p:spPr bwMode="auto">
              <a:xfrm>
                <a:off x="1466" y="2142"/>
                <a:ext cx="1907" cy="29"/>
              </a:xfrm>
              <a:prstGeom prst="rect">
                <a:avLst/>
              </a:prstGeom>
              <a:solidFill>
                <a:srgbClr val="A8C2D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99" name="Rectangle 40">
                <a:extLst>
                  <a:ext uri="{FF2B5EF4-FFF2-40B4-BE49-F238E27FC236}">
                    <a16:creationId xmlns:a16="http://schemas.microsoft.com/office/drawing/2014/main" id="{E0E69861-FA13-4734-A4BD-100D83C85EBF}"/>
                  </a:ext>
                </a:extLst>
              </p:cNvPr>
              <p:cNvSpPr>
                <a:spLocks noChangeArrowheads="1"/>
              </p:cNvSpPr>
              <p:nvPr/>
            </p:nvSpPr>
            <p:spPr bwMode="auto">
              <a:xfrm>
                <a:off x="1466" y="2171"/>
                <a:ext cx="1907" cy="28"/>
              </a:xfrm>
              <a:prstGeom prst="rect">
                <a:avLst/>
              </a:prstGeom>
              <a:solidFill>
                <a:srgbClr val="AAC4D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00" name="Rectangle 41">
                <a:extLst>
                  <a:ext uri="{FF2B5EF4-FFF2-40B4-BE49-F238E27FC236}">
                    <a16:creationId xmlns:a16="http://schemas.microsoft.com/office/drawing/2014/main" id="{FD906AFC-4F2C-40DF-B4CB-6FFE1D258E87}"/>
                  </a:ext>
                </a:extLst>
              </p:cNvPr>
              <p:cNvSpPr>
                <a:spLocks noChangeArrowheads="1"/>
              </p:cNvSpPr>
              <p:nvPr/>
            </p:nvSpPr>
            <p:spPr bwMode="auto">
              <a:xfrm>
                <a:off x="1466" y="2199"/>
                <a:ext cx="1907" cy="28"/>
              </a:xfrm>
              <a:prstGeom prst="rect">
                <a:avLst/>
              </a:prstGeom>
              <a:solidFill>
                <a:srgbClr val="ACC5D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01" name="Rectangle 42">
                <a:extLst>
                  <a:ext uri="{FF2B5EF4-FFF2-40B4-BE49-F238E27FC236}">
                    <a16:creationId xmlns:a16="http://schemas.microsoft.com/office/drawing/2014/main" id="{C7DE22F6-E988-4D6B-AF2C-84DD044535AF}"/>
                  </a:ext>
                </a:extLst>
              </p:cNvPr>
              <p:cNvSpPr>
                <a:spLocks noChangeArrowheads="1"/>
              </p:cNvSpPr>
              <p:nvPr/>
            </p:nvSpPr>
            <p:spPr bwMode="auto">
              <a:xfrm>
                <a:off x="1466" y="2227"/>
                <a:ext cx="1907" cy="34"/>
              </a:xfrm>
              <a:prstGeom prst="rect">
                <a:avLst/>
              </a:prstGeom>
              <a:solidFill>
                <a:srgbClr val="AEC6D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02" name="Rectangle 43">
                <a:extLst>
                  <a:ext uri="{FF2B5EF4-FFF2-40B4-BE49-F238E27FC236}">
                    <a16:creationId xmlns:a16="http://schemas.microsoft.com/office/drawing/2014/main" id="{6D1D458A-DCD0-440A-8C0D-0C918BA90F66}"/>
                  </a:ext>
                </a:extLst>
              </p:cNvPr>
              <p:cNvSpPr>
                <a:spLocks noChangeArrowheads="1"/>
              </p:cNvSpPr>
              <p:nvPr/>
            </p:nvSpPr>
            <p:spPr bwMode="auto">
              <a:xfrm>
                <a:off x="1466" y="2261"/>
                <a:ext cx="1907" cy="23"/>
              </a:xfrm>
              <a:prstGeom prst="rect">
                <a:avLst/>
              </a:prstGeom>
              <a:solidFill>
                <a:srgbClr val="B0C8D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03" name="Rectangle 44">
                <a:extLst>
                  <a:ext uri="{FF2B5EF4-FFF2-40B4-BE49-F238E27FC236}">
                    <a16:creationId xmlns:a16="http://schemas.microsoft.com/office/drawing/2014/main" id="{945A2E37-549D-44DC-9262-D617F3981401}"/>
                  </a:ext>
                </a:extLst>
              </p:cNvPr>
              <p:cNvSpPr>
                <a:spLocks noChangeArrowheads="1"/>
              </p:cNvSpPr>
              <p:nvPr/>
            </p:nvSpPr>
            <p:spPr bwMode="auto">
              <a:xfrm>
                <a:off x="1466" y="2284"/>
                <a:ext cx="1907" cy="28"/>
              </a:xfrm>
              <a:prstGeom prst="rect">
                <a:avLst/>
              </a:prstGeom>
              <a:solidFill>
                <a:srgbClr val="B2C9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04" name="Rectangle 45">
                <a:extLst>
                  <a:ext uri="{FF2B5EF4-FFF2-40B4-BE49-F238E27FC236}">
                    <a16:creationId xmlns:a16="http://schemas.microsoft.com/office/drawing/2014/main" id="{4754D6DB-5F0A-49E1-8E92-692F9E3DEB32}"/>
                  </a:ext>
                </a:extLst>
              </p:cNvPr>
              <p:cNvSpPr>
                <a:spLocks noChangeArrowheads="1"/>
              </p:cNvSpPr>
              <p:nvPr/>
            </p:nvSpPr>
            <p:spPr bwMode="auto">
              <a:xfrm>
                <a:off x="1466" y="2312"/>
                <a:ext cx="1907" cy="23"/>
              </a:xfrm>
              <a:prstGeom prst="rect">
                <a:avLst/>
              </a:prstGeom>
              <a:solidFill>
                <a:srgbClr val="B4CAD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05" name="Rectangle 46">
                <a:extLst>
                  <a:ext uri="{FF2B5EF4-FFF2-40B4-BE49-F238E27FC236}">
                    <a16:creationId xmlns:a16="http://schemas.microsoft.com/office/drawing/2014/main" id="{930A24F3-1893-4BD3-A85E-23F9B0CCDBB2}"/>
                  </a:ext>
                </a:extLst>
              </p:cNvPr>
              <p:cNvSpPr>
                <a:spLocks noChangeArrowheads="1"/>
              </p:cNvSpPr>
              <p:nvPr/>
            </p:nvSpPr>
            <p:spPr bwMode="auto">
              <a:xfrm>
                <a:off x="1466" y="2335"/>
                <a:ext cx="1907" cy="28"/>
              </a:xfrm>
              <a:prstGeom prst="rect">
                <a:avLst/>
              </a:prstGeom>
              <a:solidFill>
                <a:srgbClr val="B6CBD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06" name="Rectangle 47">
                <a:extLst>
                  <a:ext uri="{FF2B5EF4-FFF2-40B4-BE49-F238E27FC236}">
                    <a16:creationId xmlns:a16="http://schemas.microsoft.com/office/drawing/2014/main" id="{6790B062-8F1E-4296-BBD2-A76CFBCC876B}"/>
                  </a:ext>
                </a:extLst>
              </p:cNvPr>
              <p:cNvSpPr>
                <a:spLocks noChangeArrowheads="1"/>
              </p:cNvSpPr>
              <p:nvPr/>
            </p:nvSpPr>
            <p:spPr bwMode="auto">
              <a:xfrm>
                <a:off x="1466" y="2363"/>
                <a:ext cx="1907" cy="23"/>
              </a:xfrm>
              <a:prstGeom prst="rect">
                <a:avLst/>
              </a:prstGeom>
              <a:solidFill>
                <a:srgbClr val="B8CCE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07" name="Rectangle 48">
                <a:extLst>
                  <a:ext uri="{FF2B5EF4-FFF2-40B4-BE49-F238E27FC236}">
                    <a16:creationId xmlns:a16="http://schemas.microsoft.com/office/drawing/2014/main" id="{8DC9A0FE-832E-416F-A39F-F304ED63B74E}"/>
                  </a:ext>
                </a:extLst>
              </p:cNvPr>
              <p:cNvSpPr>
                <a:spLocks noChangeArrowheads="1"/>
              </p:cNvSpPr>
              <p:nvPr/>
            </p:nvSpPr>
            <p:spPr bwMode="auto">
              <a:xfrm>
                <a:off x="1466" y="2386"/>
                <a:ext cx="1907" cy="23"/>
              </a:xfrm>
              <a:prstGeom prst="rect">
                <a:avLst/>
              </a:prstGeom>
              <a:solidFill>
                <a:srgbClr val="B9CEE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08" name="Rectangle 49">
                <a:extLst>
                  <a:ext uri="{FF2B5EF4-FFF2-40B4-BE49-F238E27FC236}">
                    <a16:creationId xmlns:a16="http://schemas.microsoft.com/office/drawing/2014/main" id="{9653B39C-6355-4146-BAC3-17A831030EF9}"/>
                  </a:ext>
                </a:extLst>
              </p:cNvPr>
              <p:cNvSpPr>
                <a:spLocks noChangeArrowheads="1"/>
              </p:cNvSpPr>
              <p:nvPr/>
            </p:nvSpPr>
            <p:spPr bwMode="auto">
              <a:xfrm>
                <a:off x="1466" y="2409"/>
                <a:ext cx="1907" cy="34"/>
              </a:xfrm>
              <a:prstGeom prst="rect">
                <a:avLst/>
              </a:prstGeom>
              <a:solidFill>
                <a:srgbClr val="BBCFE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09" name="Rectangle 50">
                <a:extLst>
                  <a:ext uri="{FF2B5EF4-FFF2-40B4-BE49-F238E27FC236}">
                    <a16:creationId xmlns:a16="http://schemas.microsoft.com/office/drawing/2014/main" id="{DCFCE095-50B6-4A17-B91D-B65157F46795}"/>
                  </a:ext>
                </a:extLst>
              </p:cNvPr>
              <p:cNvSpPr>
                <a:spLocks noChangeArrowheads="1"/>
              </p:cNvSpPr>
              <p:nvPr/>
            </p:nvSpPr>
            <p:spPr bwMode="auto">
              <a:xfrm>
                <a:off x="1466" y="2443"/>
                <a:ext cx="1907" cy="22"/>
              </a:xfrm>
              <a:prstGeom prst="rect">
                <a:avLst/>
              </a:prstGeom>
              <a:solidFill>
                <a:srgbClr val="BDD0E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10" name="Rectangle 51">
                <a:extLst>
                  <a:ext uri="{FF2B5EF4-FFF2-40B4-BE49-F238E27FC236}">
                    <a16:creationId xmlns:a16="http://schemas.microsoft.com/office/drawing/2014/main" id="{B69BF658-53CE-4639-8171-149911F0E3D3}"/>
                  </a:ext>
                </a:extLst>
              </p:cNvPr>
              <p:cNvSpPr>
                <a:spLocks noChangeArrowheads="1"/>
              </p:cNvSpPr>
              <p:nvPr/>
            </p:nvSpPr>
            <p:spPr bwMode="auto">
              <a:xfrm>
                <a:off x="1466" y="2465"/>
                <a:ext cx="1907" cy="29"/>
              </a:xfrm>
              <a:prstGeom prst="rect">
                <a:avLst/>
              </a:prstGeom>
              <a:solidFill>
                <a:srgbClr val="BFD1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11" name="Rectangle 52">
                <a:extLst>
                  <a:ext uri="{FF2B5EF4-FFF2-40B4-BE49-F238E27FC236}">
                    <a16:creationId xmlns:a16="http://schemas.microsoft.com/office/drawing/2014/main" id="{04F4603F-F5C7-42BC-8D7B-DABD244F1889}"/>
                  </a:ext>
                </a:extLst>
              </p:cNvPr>
              <p:cNvSpPr>
                <a:spLocks noChangeArrowheads="1"/>
              </p:cNvSpPr>
              <p:nvPr/>
            </p:nvSpPr>
            <p:spPr bwMode="auto">
              <a:xfrm>
                <a:off x="1466" y="2494"/>
                <a:ext cx="1907" cy="22"/>
              </a:xfrm>
              <a:prstGeom prst="rect">
                <a:avLst/>
              </a:prstGeom>
              <a:solidFill>
                <a:srgbClr val="C1D3E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12" name="Rectangle 53">
                <a:extLst>
                  <a:ext uri="{FF2B5EF4-FFF2-40B4-BE49-F238E27FC236}">
                    <a16:creationId xmlns:a16="http://schemas.microsoft.com/office/drawing/2014/main" id="{53FFDF76-9207-41C0-B536-DDE2B03A2A02}"/>
                  </a:ext>
                </a:extLst>
              </p:cNvPr>
              <p:cNvSpPr>
                <a:spLocks noChangeArrowheads="1"/>
              </p:cNvSpPr>
              <p:nvPr/>
            </p:nvSpPr>
            <p:spPr bwMode="auto">
              <a:xfrm>
                <a:off x="1466" y="2516"/>
                <a:ext cx="1907" cy="34"/>
              </a:xfrm>
              <a:prstGeom prst="rect">
                <a:avLst/>
              </a:prstGeom>
              <a:solidFill>
                <a:srgbClr val="C3D4E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13" name="Rectangle 54">
                <a:extLst>
                  <a:ext uri="{FF2B5EF4-FFF2-40B4-BE49-F238E27FC236}">
                    <a16:creationId xmlns:a16="http://schemas.microsoft.com/office/drawing/2014/main" id="{624D701D-5BB3-4A70-830C-58D89CBBBAB4}"/>
                  </a:ext>
                </a:extLst>
              </p:cNvPr>
              <p:cNvSpPr>
                <a:spLocks noChangeArrowheads="1"/>
              </p:cNvSpPr>
              <p:nvPr/>
            </p:nvSpPr>
            <p:spPr bwMode="auto">
              <a:xfrm>
                <a:off x="1466" y="2550"/>
                <a:ext cx="1907" cy="29"/>
              </a:xfrm>
              <a:prstGeom prst="rect">
                <a:avLst/>
              </a:prstGeom>
              <a:solidFill>
                <a:srgbClr val="C5D5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14" name="Rectangle 55">
                <a:extLst>
                  <a:ext uri="{FF2B5EF4-FFF2-40B4-BE49-F238E27FC236}">
                    <a16:creationId xmlns:a16="http://schemas.microsoft.com/office/drawing/2014/main" id="{340EC68A-BB92-4567-B840-5A73C9C565B3}"/>
                  </a:ext>
                </a:extLst>
              </p:cNvPr>
              <p:cNvSpPr>
                <a:spLocks noChangeArrowheads="1"/>
              </p:cNvSpPr>
              <p:nvPr/>
            </p:nvSpPr>
            <p:spPr bwMode="auto">
              <a:xfrm>
                <a:off x="1466" y="2579"/>
                <a:ext cx="1907" cy="28"/>
              </a:xfrm>
              <a:prstGeom prst="rect">
                <a:avLst/>
              </a:prstGeom>
              <a:solidFill>
                <a:srgbClr val="C7D6E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15" name="Rectangle 56">
                <a:extLst>
                  <a:ext uri="{FF2B5EF4-FFF2-40B4-BE49-F238E27FC236}">
                    <a16:creationId xmlns:a16="http://schemas.microsoft.com/office/drawing/2014/main" id="{7CE5A7BD-0D71-48A7-94B3-8CB7D4F5757E}"/>
                  </a:ext>
                </a:extLst>
              </p:cNvPr>
              <p:cNvSpPr>
                <a:spLocks noChangeArrowheads="1"/>
              </p:cNvSpPr>
              <p:nvPr/>
            </p:nvSpPr>
            <p:spPr bwMode="auto">
              <a:xfrm>
                <a:off x="1466" y="2607"/>
                <a:ext cx="1907" cy="28"/>
              </a:xfrm>
              <a:prstGeom prst="rect">
                <a:avLst/>
              </a:prstGeom>
              <a:solidFill>
                <a:srgbClr val="C9D8E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16" name="Rectangle 57">
                <a:extLst>
                  <a:ext uri="{FF2B5EF4-FFF2-40B4-BE49-F238E27FC236}">
                    <a16:creationId xmlns:a16="http://schemas.microsoft.com/office/drawing/2014/main" id="{BF97A3F1-CC3E-444B-AEFB-641A1CF197D8}"/>
                  </a:ext>
                </a:extLst>
              </p:cNvPr>
              <p:cNvSpPr>
                <a:spLocks noChangeArrowheads="1"/>
              </p:cNvSpPr>
              <p:nvPr/>
            </p:nvSpPr>
            <p:spPr bwMode="auto">
              <a:xfrm>
                <a:off x="1466" y="2635"/>
                <a:ext cx="1907" cy="29"/>
              </a:xfrm>
              <a:prstGeom prst="rect">
                <a:avLst/>
              </a:prstGeom>
              <a:solidFill>
                <a:srgbClr val="CBD9E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17" name="Rectangle 58">
                <a:extLst>
                  <a:ext uri="{FF2B5EF4-FFF2-40B4-BE49-F238E27FC236}">
                    <a16:creationId xmlns:a16="http://schemas.microsoft.com/office/drawing/2014/main" id="{B7DB7EB0-6808-4294-8FF2-CE4B417EF629}"/>
                  </a:ext>
                </a:extLst>
              </p:cNvPr>
              <p:cNvSpPr>
                <a:spLocks noChangeArrowheads="1"/>
              </p:cNvSpPr>
              <p:nvPr/>
            </p:nvSpPr>
            <p:spPr bwMode="auto">
              <a:xfrm>
                <a:off x="1466" y="2664"/>
                <a:ext cx="1907" cy="22"/>
              </a:xfrm>
              <a:prstGeom prst="rect">
                <a:avLst/>
              </a:prstGeom>
              <a:solidFill>
                <a:srgbClr val="CDDAE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18" name="Rectangle 59">
                <a:extLst>
                  <a:ext uri="{FF2B5EF4-FFF2-40B4-BE49-F238E27FC236}">
                    <a16:creationId xmlns:a16="http://schemas.microsoft.com/office/drawing/2014/main" id="{E29A7043-34D9-45DB-B79C-C47C812B139D}"/>
                  </a:ext>
                </a:extLst>
              </p:cNvPr>
              <p:cNvSpPr>
                <a:spLocks noChangeArrowheads="1"/>
              </p:cNvSpPr>
              <p:nvPr/>
            </p:nvSpPr>
            <p:spPr bwMode="auto">
              <a:xfrm>
                <a:off x="1466" y="2686"/>
                <a:ext cx="1907" cy="29"/>
              </a:xfrm>
              <a:prstGeom prst="rect">
                <a:avLst/>
              </a:prstGeom>
              <a:solidFill>
                <a:srgbClr val="CFDB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19" name="Rectangle 60">
                <a:extLst>
                  <a:ext uri="{FF2B5EF4-FFF2-40B4-BE49-F238E27FC236}">
                    <a16:creationId xmlns:a16="http://schemas.microsoft.com/office/drawing/2014/main" id="{D2DA19CB-3619-4F0D-ACDB-C97D1D36371A}"/>
                  </a:ext>
                </a:extLst>
              </p:cNvPr>
              <p:cNvSpPr>
                <a:spLocks noChangeArrowheads="1"/>
              </p:cNvSpPr>
              <p:nvPr/>
            </p:nvSpPr>
            <p:spPr bwMode="auto">
              <a:xfrm>
                <a:off x="1466" y="2715"/>
                <a:ext cx="1907" cy="28"/>
              </a:xfrm>
              <a:prstGeom prst="rect">
                <a:avLst/>
              </a:prstGeom>
              <a:solidFill>
                <a:srgbClr val="D1DCE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20" name="Rectangle 61">
                <a:extLst>
                  <a:ext uri="{FF2B5EF4-FFF2-40B4-BE49-F238E27FC236}">
                    <a16:creationId xmlns:a16="http://schemas.microsoft.com/office/drawing/2014/main" id="{555A8852-72FA-4B0F-9DC0-40EB6805BEB7}"/>
                  </a:ext>
                </a:extLst>
              </p:cNvPr>
              <p:cNvSpPr>
                <a:spLocks noChangeArrowheads="1"/>
              </p:cNvSpPr>
              <p:nvPr/>
            </p:nvSpPr>
            <p:spPr bwMode="auto">
              <a:xfrm>
                <a:off x="1466" y="2743"/>
                <a:ext cx="1907" cy="34"/>
              </a:xfrm>
              <a:prstGeom prst="rect">
                <a:avLst/>
              </a:prstGeom>
              <a:solidFill>
                <a:srgbClr val="D3DEE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21" name="Rectangle 62">
                <a:extLst>
                  <a:ext uri="{FF2B5EF4-FFF2-40B4-BE49-F238E27FC236}">
                    <a16:creationId xmlns:a16="http://schemas.microsoft.com/office/drawing/2014/main" id="{F7C53639-332C-484A-B564-1E68058D02F1}"/>
                  </a:ext>
                </a:extLst>
              </p:cNvPr>
              <p:cNvSpPr>
                <a:spLocks noChangeArrowheads="1"/>
              </p:cNvSpPr>
              <p:nvPr/>
            </p:nvSpPr>
            <p:spPr bwMode="auto">
              <a:xfrm>
                <a:off x="1466" y="2777"/>
                <a:ext cx="1907" cy="28"/>
              </a:xfrm>
              <a:prstGeom prst="rect">
                <a:avLst/>
              </a:prstGeom>
              <a:solidFill>
                <a:srgbClr val="D5DF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22" name="Rectangle 63">
                <a:extLst>
                  <a:ext uri="{FF2B5EF4-FFF2-40B4-BE49-F238E27FC236}">
                    <a16:creationId xmlns:a16="http://schemas.microsoft.com/office/drawing/2014/main" id="{690FC958-C576-47B4-885C-2D9D10866069}"/>
                  </a:ext>
                </a:extLst>
              </p:cNvPr>
              <p:cNvSpPr>
                <a:spLocks noChangeArrowheads="1"/>
              </p:cNvSpPr>
              <p:nvPr/>
            </p:nvSpPr>
            <p:spPr bwMode="auto">
              <a:xfrm>
                <a:off x="1466" y="2805"/>
                <a:ext cx="1907" cy="23"/>
              </a:xfrm>
              <a:prstGeom prst="rect">
                <a:avLst/>
              </a:prstGeom>
              <a:solidFill>
                <a:srgbClr val="D7E0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23" name="Rectangle 64">
                <a:extLst>
                  <a:ext uri="{FF2B5EF4-FFF2-40B4-BE49-F238E27FC236}">
                    <a16:creationId xmlns:a16="http://schemas.microsoft.com/office/drawing/2014/main" id="{4009DAEB-CBFD-4E2F-AF5E-51877CE8DC01}"/>
                  </a:ext>
                </a:extLst>
              </p:cNvPr>
              <p:cNvSpPr>
                <a:spLocks noChangeArrowheads="1"/>
              </p:cNvSpPr>
              <p:nvPr/>
            </p:nvSpPr>
            <p:spPr bwMode="auto">
              <a:xfrm>
                <a:off x="1466" y="2828"/>
                <a:ext cx="1907" cy="28"/>
              </a:xfrm>
              <a:prstGeom prst="rect">
                <a:avLst/>
              </a:prstGeom>
              <a:solidFill>
                <a:srgbClr val="D9E1E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24" name="Rectangle 65">
                <a:extLst>
                  <a:ext uri="{FF2B5EF4-FFF2-40B4-BE49-F238E27FC236}">
                    <a16:creationId xmlns:a16="http://schemas.microsoft.com/office/drawing/2014/main" id="{130D764B-104F-4DF9-BD07-FD3C89A719CD}"/>
                  </a:ext>
                </a:extLst>
              </p:cNvPr>
              <p:cNvSpPr>
                <a:spLocks noChangeArrowheads="1"/>
              </p:cNvSpPr>
              <p:nvPr/>
            </p:nvSpPr>
            <p:spPr bwMode="auto">
              <a:xfrm>
                <a:off x="1466" y="2856"/>
                <a:ext cx="1907" cy="29"/>
              </a:xfrm>
              <a:prstGeom prst="rect">
                <a:avLst/>
              </a:prstGeom>
              <a:solidFill>
                <a:srgbClr val="DBE3E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25" name="Rectangle 66">
                <a:extLst>
                  <a:ext uri="{FF2B5EF4-FFF2-40B4-BE49-F238E27FC236}">
                    <a16:creationId xmlns:a16="http://schemas.microsoft.com/office/drawing/2014/main" id="{0EE6A82D-E485-4076-B310-2E7677E0DB17}"/>
                  </a:ext>
                </a:extLst>
              </p:cNvPr>
              <p:cNvSpPr>
                <a:spLocks noChangeArrowheads="1"/>
              </p:cNvSpPr>
              <p:nvPr/>
            </p:nvSpPr>
            <p:spPr bwMode="auto">
              <a:xfrm>
                <a:off x="1466" y="2885"/>
                <a:ext cx="1907" cy="28"/>
              </a:xfrm>
              <a:prstGeom prst="rect">
                <a:avLst/>
              </a:prstGeom>
              <a:solidFill>
                <a:srgbClr val="DDE4E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26" name="Rectangle 67">
                <a:extLst>
                  <a:ext uri="{FF2B5EF4-FFF2-40B4-BE49-F238E27FC236}">
                    <a16:creationId xmlns:a16="http://schemas.microsoft.com/office/drawing/2014/main" id="{2B291691-BBA0-4C5C-ACCF-1C5B54EDFA02}"/>
                  </a:ext>
                </a:extLst>
              </p:cNvPr>
              <p:cNvSpPr>
                <a:spLocks noChangeArrowheads="1"/>
              </p:cNvSpPr>
              <p:nvPr/>
            </p:nvSpPr>
            <p:spPr bwMode="auto">
              <a:xfrm>
                <a:off x="1466" y="2913"/>
                <a:ext cx="1907" cy="28"/>
              </a:xfrm>
              <a:prstGeom prst="rect">
                <a:avLst/>
              </a:prstGeom>
              <a:solidFill>
                <a:srgbClr val="DFE5E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27" name="Rectangle 68">
                <a:extLst>
                  <a:ext uri="{FF2B5EF4-FFF2-40B4-BE49-F238E27FC236}">
                    <a16:creationId xmlns:a16="http://schemas.microsoft.com/office/drawing/2014/main" id="{BC5A7042-33BC-46CD-9A6D-7139A6024BFF}"/>
                  </a:ext>
                </a:extLst>
              </p:cNvPr>
              <p:cNvSpPr>
                <a:spLocks noChangeArrowheads="1"/>
              </p:cNvSpPr>
              <p:nvPr/>
            </p:nvSpPr>
            <p:spPr bwMode="auto">
              <a:xfrm>
                <a:off x="1466" y="2941"/>
                <a:ext cx="1907" cy="29"/>
              </a:xfrm>
              <a:prstGeom prst="rect">
                <a:avLst/>
              </a:prstGeom>
              <a:solidFill>
                <a:srgbClr val="E1E6E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28" name="Rectangle 69">
                <a:extLst>
                  <a:ext uri="{FF2B5EF4-FFF2-40B4-BE49-F238E27FC236}">
                    <a16:creationId xmlns:a16="http://schemas.microsoft.com/office/drawing/2014/main" id="{418C6380-4369-4FD5-8BC4-5DBB575B332B}"/>
                  </a:ext>
                </a:extLst>
              </p:cNvPr>
              <p:cNvSpPr>
                <a:spLocks noChangeArrowheads="1"/>
              </p:cNvSpPr>
              <p:nvPr/>
            </p:nvSpPr>
            <p:spPr bwMode="auto">
              <a:xfrm>
                <a:off x="1466" y="2970"/>
                <a:ext cx="1907" cy="28"/>
              </a:xfrm>
              <a:prstGeom prst="rect">
                <a:avLst/>
              </a:prstGeom>
              <a:solidFill>
                <a:srgbClr val="E3E8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29" name="Rectangle 70">
                <a:extLst>
                  <a:ext uri="{FF2B5EF4-FFF2-40B4-BE49-F238E27FC236}">
                    <a16:creationId xmlns:a16="http://schemas.microsoft.com/office/drawing/2014/main" id="{C659EC37-1F4B-4081-88F1-E32CA30EA9B2}"/>
                  </a:ext>
                </a:extLst>
              </p:cNvPr>
              <p:cNvSpPr>
                <a:spLocks noChangeArrowheads="1"/>
              </p:cNvSpPr>
              <p:nvPr/>
            </p:nvSpPr>
            <p:spPr bwMode="auto">
              <a:xfrm>
                <a:off x="1466" y="2998"/>
                <a:ext cx="1907" cy="28"/>
              </a:xfrm>
              <a:prstGeom prst="rect">
                <a:avLst/>
              </a:prstGeom>
              <a:solidFill>
                <a:srgbClr val="E5E9E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30" name="Rectangle 71">
                <a:extLst>
                  <a:ext uri="{FF2B5EF4-FFF2-40B4-BE49-F238E27FC236}">
                    <a16:creationId xmlns:a16="http://schemas.microsoft.com/office/drawing/2014/main" id="{683F2BE8-1EED-4794-90CA-6A14EEBF2020}"/>
                  </a:ext>
                </a:extLst>
              </p:cNvPr>
              <p:cNvSpPr>
                <a:spLocks noChangeArrowheads="1"/>
              </p:cNvSpPr>
              <p:nvPr/>
            </p:nvSpPr>
            <p:spPr bwMode="auto">
              <a:xfrm>
                <a:off x="1466" y="3026"/>
                <a:ext cx="1907" cy="23"/>
              </a:xfrm>
              <a:prstGeom prst="rect">
                <a:avLst/>
              </a:prstGeom>
              <a:solidFill>
                <a:srgbClr val="E7EAE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31" name="Rectangle 72">
                <a:extLst>
                  <a:ext uri="{FF2B5EF4-FFF2-40B4-BE49-F238E27FC236}">
                    <a16:creationId xmlns:a16="http://schemas.microsoft.com/office/drawing/2014/main" id="{73A11581-DF91-476C-BF5D-1FBD57D62D7F}"/>
                  </a:ext>
                </a:extLst>
              </p:cNvPr>
              <p:cNvSpPr>
                <a:spLocks noChangeArrowheads="1"/>
              </p:cNvSpPr>
              <p:nvPr/>
            </p:nvSpPr>
            <p:spPr bwMode="auto">
              <a:xfrm>
                <a:off x="1466" y="3049"/>
                <a:ext cx="1907" cy="28"/>
              </a:xfrm>
              <a:prstGeom prst="rect">
                <a:avLst/>
              </a:prstGeom>
              <a:solidFill>
                <a:srgbClr val="E9EBE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32" name="Rectangle 73">
                <a:extLst>
                  <a:ext uri="{FF2B5EF4-FFF2-40B4-BE49-F238E27FC236}">
                    <a16:creationId xmlns:a16="http://schemas.microsoft.com/office/drawing/2014/main" id="{CEA6E4A6-5E44-49B3-B182-26A9AD618ABF}"/>
                  </a:ext>
                </a:extLst>
              </p:cNvPr>
              <p:cNvSpPr>
                <a:spLocks noChangeArrowheads="1"/>
              </p:cNvSpPr>
              <p:nvPr/>
            </p:nvSpPr>
            <p:spPr bwMode="auto">
              <a:xfrm>
                <a:off x="1466" y="3077"/>
                <a:ext cx="1907" cy="29"/>
              </a:xfrm>
              <a:prstGeom prst="rect">
                <a:avLst/>
              </a:prstGeom>
              <a:solidFill>
                <a:srgbClr val="EBECE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33" name="Rectangle 74">
                <a:extLst>
                  <a:ext uri="{FF2B5EF4-FFF2-40B4-BE49-F238E27FC236}">
                    <a16:creationId xmlns:a16="http://schemas.microsoft.com/office/drawing/2014/main" id="{3FA19CBF-2BD2-4930-A3E4-98F5A063A19C}"/>
                  </a:ext>
                </a:extLst>
              </p:cNvPr>
              <p:cNvSpPr>
                <a:spLocks noChangeArrowheads="1"/>
              </p:cNvSpPr>
              <p:nvPr/>
            </p:nvSpPr>
            <p:spPr bwMode="auto">
              <a:xfrm>
                <a:off x="1466" y="3106"/>
                <a:ext cx="1907" cy="34"/>
              </a:xfrm>
              <a:prstGeom prst="rect">
                <a:avLst/>
              </a:prstGeom>
              <a:solidFill>
                <a:srgbClr val="EDEEE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34" name="Rectangle 75">
                <a:extLst>
                  <a:ext uri="{FF2B5EF4-FFF2-40B4-BE49-F238E27FC236}">
                    <a16:creationId xmlns:a16="http://schemas.microsoft.com/office/drawing/2014/main" id="{52622E8A-11EC-4DEE-B6DC-B2566F67C8BB}"/>
                  </a:ext>
                </a:extLst>
              </p:cNvPr>
              <p:cNvSpPr>
                <a:spLocks noChangeArrowheads="1"/>
              </p:cNvSpPr>
              <p:nvPr/>
            </p:nvSpPr>
            <p:spPr bwMode="auto">
              <a:xfrm>
                <a:off x="1466" y="3140"/>
                <a:ext cx="1907" cy="17"/>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35" name="Freeform 76">
                <a:extLst>
                  <a:ext uri="{FF2B5EF4-FFF2-40B4-BE49-F238E27FC236}">
                    <a16:creationId xmlns:a16="http://schemas.microsoft.com/office/drawing/2014/main" id="{B33AE53B-047A-4CF2-8308-3436508B60F6}"/>
                  </a:ext>
                </a:extLst>
              </p:cNvPr>
              <p:cNvSpPr>
                <a:spLocks/>
              </p:cNvSpPr>
              <p:nvPr/>
            </p:nvSpPr>
            <p:spPr bwMode="auto">
              <a:xfrm>
                <a:off x="1456" y="1687"/>
                <a:ext cx="1912" cy="1508"/>
              </a:xfrm>
              <a:custGeom>
                <a:avLst/>
                <a:gdLst>
                  <a:gd name="T0" fmla="*/ 145 w 1912"/>
                  <a:gd name="T1" fmla="*/ 699 h 1508"/>
                  <a:gd name="T2" fmla="*/ 465 w 1912"/>
                  <a:gd name="T3" fmla="*/ 411 h 1508"/>
                  <a:gd name="T4" fmla="*/ 557 w 1912"/>
                  <a:gd name="T5" fmla="*/ 459 h 1508"/>
                  <a:gd name="T6" fmla="*/ 790 w 1912"/>
                  <a:gd name="T7" fmla="*/ 278 h 1508"/>
                  <a:gd name="T8" fmla="*/ 891 w 1912"/>
                  <a:gd name="T9" fmla="*/ 368 h 1508"/>
                  <a:gd name="T10" fmla="*/ 948 w 1912"/>
                  <a:gd name="T11" fmla="*/ 177 h 1508"/>
                  <a:gd name="T12" fmla="*/ 1065 w 1912"/>
                  <a:gd name="T13" fmla="*/ 206 h 1508"/>
                  <a:gd name="T14" fmla="*/ 1283 w 1912"/>
                  <a:gd name="T15" fmla="*/ 167 h 1508"/>
                  <a:gd name="T16" fmla="*/ 1473 w 1912"/>
                  <a:gd name="T17" fmla="*/ 33 h 1508"/>
                  <a:gd name="T18" fmla="*/ 1573 w 1912"/>
                  <a:gd name="T19" fmla="*/ 173 h 1508"/>
                  <a:gd name="T20" fmla="*/ 1805 w 1912"/>
                  <a:gd name="T21" fmla="*/ 373 h 1508"/>
                  <a:gd name="T22" fmla="*/ 1796 w 1912"/>
                  <a:gd name="T23" fmla="*/ 524 h 1508"/>
                  <a:gd name="T24" fmla="*/ 1912 w 1912"/>
                  <a:gd name="T25" fmla="*/ 682 h 1508"/>
                  <a:gd name="T26" fmla="*/ 1854 w 1912"/>
                  <a:gd name="T27" fmla="*/ 817 h 1508"/>
                  <a:gd name="T28" fmla="*/ 1656 w 1912"/>
                  <a:gd name="T29" fmla="*/ 1199 h 1508"/>
                  <a:gd name="T30" fmla="*/ 1573 w 1912"/>
                  <a:gd name="T31" fmla="*/ 1200 h 1508"/>
                  <a:gd name="T32" fmla="*/ 1438 w 1912"/>
                  <a:gd name="T33" fmla="*/ 1280 h 1508"/>
                  <a:gd name="T34" fmla="*/ 1391 w 1912"/>
                  <a:gd name="T35" fmla="*/ 1235 h 1508"/>
                  <a:gd name="T36" fmla="*/ 1154 w 1912"/>
                  <a:gd name="T37" fmla="*/ 1350 h 1508"/>
                  <a:gd name="T38" fmla="*/ 949 w 1912"/>
                  <a:gd name="T39" fmla="*/ 1373 h 1508"/>
                  <a:gd name="T40" fmla="*/ 564 w 1912"/>
                  <a:gd name="T41" fmla="*/ 1343 h 1508"/>
                  <a:gd name="T42" fmla="*/ 552 w 1912"/>
                  <a:gd name="T43" fmla="*/ 1323 h 1508"/>
                  <a:gd name="T44" fmla="*/ 426 w 1912"/>
                  <a:gd name="T45" fmla="*/ 1319 h 1508"/>
                  <a:gd name="T46" fmla="*/ 402 w 1912"/>
                  <a:gd name="T47" fmla="*/ 1232 h 1508"/>
                  <a:gd name="T48" fmla="*/ 140 w 1912"/>
                  <a:gd name="T49" fmla="*/ 1128 h 1508"/>
                  <a:gd name="T50" fmla="*/ 23 w 1912"/>
                  <a:gd name="T51" fmla="*/ 859 h 1508"/>
                  <a:gd name="T52" fmla="*/ 145 w 1912"/>
                  <a:gd name="T53" fmla="*/ 699 h 15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12"/>
                  <a:gd name="T82" fmla="*/ 0 h 1508"/>
                  <a:gd name="T83" fmla="*/ 1912 w 1912"/>
                  <a:gd name="T84" fmla="*/ 1508 h 15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12" h="1508">
                    <a:moveTo>
                      <a:pt x="145" y="699"/>
                    </a:moveTo>
                    <a:cubicBezTo>
                      <a:pt x="174" y="501"/>
                      <a:pt x="318" y="372"/>
                      <a:pt x="465" y="411"/>
                    </a:cubicBezTo>
                    <a:cubicBezTo>
                      <a:pt x="498" y="419"/>
                      <a:pt x="529" y="436"/>
                      <a:pt x="557" y="459"/>
                    </a:cubicBezTo>
                    <a:cubicBezTo>
                      <a:pt x="584" y="323"/>
                      <a:pt x="688" y="242"/>
                      <a:pt x="790" y="278"/>
                    </a:cubicBezTo>
                    <a:cubicBezTo>
                      <a:pt x="830" y="293"/>
                      <a:pt x="865" y="324"/>
                      <a:pt x="891" y="368"/>
                    </a:cubicBezTo>
                    <a:cubicBezTo>
                      <a:pt x="867" y="294"/>
                      <a:pt x="893" y="209"/>
                      <a:pt x="948" y="177"/>
                    </a:cubicBezTo>
                    <a:cubicBezTo>
                      <a:pt x="988" y="154"/>
                      <a:pt x="1034" y="166"/>
                      <a:pt x="1065" y="206"/>
                    </a:cubicBezTo>
                    <a:cubicBezTo>
                      <a:pt x="1128" y="143"/>
                      <a:pt x="1210" y="129"/>
                      <a:pt x="1283" y="167"/>
                    </a:cubicBezTo>
                    <a:cubicBezTo>
                      <a:pt x="1308" y="60"/>
                      <a:pt x="1393" y="0"/>
                      <a:pt x="1473" y="33"/>
                    </a:cubicBezTo>
                    <a:cubicBezTo>
                      <a:pt x="1522" y="54"/>
                      <a:pt x="1560" y="107"/>
                      <a:pt x="1573" y="173"/>
                    </a:cubicBezTo>
                    <a:cubicBezTo>
                      <a:pt x="1678" y="142"/>
                      <a:pt x="1782" y="232"/>
                      <a:pt x="1805" y="373"/>
                    </a:cubicBezTo>
                    <a:cubicBezTo>
                      <a:pt x="1813" y="423"/>
                      <a:pt x="1810" y="476"/>
                      <a:pt x="1796" y="524"/>
                    </a:cubicBezTo>
                    <a:cubicBezTo>
                      <a:pt x="1860" y="525"/>
                      <a:pt x="1912" y="595"/>
                      <a:pt x="1912" y="682"/>
                    </a:cubicBezTo>
                    <a:cubicBezTo>
                      <a:pt x="1912" y="737"/>
                      <a:pt x="1890" y="789"/>
                      <a:pt x="1854" y="817"/>
                    </a:cubicBezTo>
                    <a:cubicBezTo>
                      <a:pt x="1878" y="995"/>
                      <a:pt x="1789" y="1167"/>
                      <a:pt x="1656" y="1199"/>
                    </a:cubicBezTo>
                    <a:cubicBezTo>
                      <a:pt x="1629" y="1205"/>
                      <a:pt x="1601" y="1206"/>
                      <a:pt x="1573" y="1200"/>
                    </a:cubicBezTo>
                    <a:cubicBezTo>
                      <a:pt x="1554" y="1273"/>
                      <a:pt x="1494" y="1309"/>
                      <a:pt x="1438" y="1280"/>
                    </a:cubicBezTo>
                    <a:cubicBezTo>
                      <a:pt x="1420" y="1271"/>
                      <a:pt x="1403" y="1255"/>
                      <a:pt x="1391" y="1235"/>
                    </a:cubicBezTo>
                    <a:cubicBezTo>
                      <a:pt x="1351" y="1347"/>
                      <a:pt x="1249" y="1396"/>
                      <a:pt x="1154" y="1350"/>
                    </a:cubicBezTo>
                    <a:cubicBezTo>
                      <a:pt x="1089" y="1389"/>
                      <a:pt x="1016" y="1397"/>
                      <a:pt x="949" y="1373"/>
                    </a:cubicBezTo>
                    <a:cubicBezTo>
                      <a:pt x="836" y="1508"/>
                      <a:pt x="664" y="1494"/>
                      <a:pt x="564" y="1343"/>
                    </a:cubicBezTo>
                    <a:cubicBezTo>
                      <a:pt x="559" y="1336"/>
                      <a:pt x="555" y="1330"/>
                      <a:pt x="552" y="1323"/>
                    </a:cubicBezTo>
                    <a:cubicBezTo>
                      <a:pt x="516" y="1369"/>
                      <a:pt x="460" y="1367"/>
                      <a:pt x="426" y="1319"/>
                    </a:cubicBezTo>
                    <a:cubicBezTo>
                      <a:pt x="410" y="1296"/>
                      <a:pt x="401" y="1265"/>
                      <a:pt x="402" y="1232"/>
                    </a:cubicBezTo>
                    <a:cubicBezTo>
                      <a:pt x="307" y="1292"/>
                      <a:pt x="195" y="1247"/>
                      <a:pt x="140" y="1128"/>
                    </a:cubicBezTo>
                    <a:cubicBezTo>
                      <a:pt x="52" y="1098"/>
                      <a:pt x="0" y="977"/>
                      <a:pt x="23" y="859"/>
                    </a:cubicBezTo>
                    <a:cubicBezTo>
                      <a:pt x="38" y="779"/>
                      <a:pt x="85" y="718"/>
                      <a:pt x="145" y="699"/>
                    </a:cubicBezTo>
                  </a:path>
                </a:pathLst>
              </a:custGeom>
              <a:noFill/>
              <a:ln w="16" cap="rnd">
                <a:solidFill>
                  <a:srgbClr val="40404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pic>
            <p:nvPicPr>
              <p:cNvPr id="336" name="Picture 77">
                <a:extLst>
                  <a:ext uri="{FF2B5EF4-FFF2-40B4-BE49-F238E27FC236}">
                    <a16:creationId xmlns:a16="http://schemas.microsoft.com/office/drawing/2014/main" id="{C1FAA5FD-91EE-45BB-AB9E-9238313D23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85" y="1845"/>
                <a:ext cx="1543" cy="1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7" name="Picture 78">
                <a:extLst>
                  <a:ext uri="{FF2B5EF4-FFF2-40B4-BE49-F238E27FC236}">
                    <a16:creationId xmlns:a16="http://schemas.microsoft.com/office/drawing/2014/main" id="{11FEAB42-F9FA-4F59-8E77-63541BB759B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66" y="1665"/>
                <a:ext cx="1009" cy="1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 name="Picture 79">
                <a:extLst>
                  <a:ext uri="{FF2B5EF4-FFF2-40B4-BE49-F238E27FC236}">
                    <a16:creationId xmlns:a16="http://schemas.microsoft.com/office/drawing/2014/main" id="{F4767E9A-0C71-4613-927B-AEDAFF69C3D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30" y="2380"/>
                <a:ext cx="725" cy="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9" name="Picture 80">
                <a:extLst>
                  <a:ext uri="{FF2B5EF4-FFF2-40B4-BE49-F238E27FC236}">
                    <a16:creationId xmlns:a16="http://schemas.microsoft.com/office/drawing/2014/main" id="{6A4E504C-883E-4EA1-8E98-E8F8B76A939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30" y="2380"/>
                <a:ext cx="725" cy="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0" name="Rectangle 82">
                <a:extLst>
                  <a:ext uri="{FF2B5EF4-FFF2-40B4-BE49-F238E27FC236}">
                    <a16:creationId xmlns:a16="http://schemas.microsoft.com/office/drawing/2014/main" id="{9FC67EBC-EFE5-4F5F-AC21-24F6AA66A478}"/>
                  </a:ext>
                </a:extLst>
              </p:cNvPr>
              <p:cNvSpPr>
                <a:spLocks noChangeArrowheads="1"/>
              </p:cNvSpPr>
              <p:nvPr/>
            </p:nvSpPr>
            <p:spPr bwMode="auto">
              <a:xfrm>
                <a:off x="2156" y="2159"/>
                <a:ext cx="640" cy="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2600" b="1">
                    <a:solidFill>
                      <a:srgbClr val="CDCDCD"/>
                    </a:solidFill>
                    <a:latin typeface="微软雅黑" panose="020B0503020204020204" pitchFamily="34" charset="-122"/>
                    <a:ea typeface="宋体" panose="02010600030101010101" pitchFamily="2" charset="-122"/>
                  </a:rPr>
                  <a:t>产品全生命</a:t>
                </a:r>
                <a:endParaRPr lang="zh-CN" altLang="zh-CN">
                  <a:ea typeface="宋体" panose="02010600030101010101" pitchFamily="2" charset="-122"/>
                </a:endParaRPr>
              </a:p>
            </p:txBody>
          </p:sp>
          <p:sp>
            <p:nvSpPr>
              <p:cNvPr id="341" name="Rectangle 83">
                <a:extLst>
                  <a:ext uri="{FF2B5EF4-FFF2-40B4-BE49-F238E27FC236}">
                    <a16:creationId xmlns:a16="http://schemas.microsoft.com/office/drawing/2014/main" id="{75130126-066B-4B26-9F11-BDE96B682E42}"/>
                  </a:ext>
                </a:extLst>
              </p:cNvPr>
              <p:cNvSpPr>
                <a:spLocks noChangeArrowheads="1"/>
              </p:cNvSpPr>
              <p:nvPr/>
            </p:nvSpPr>
            <p:spPr bwMode="auto">
              <a:xfrm>
                <a:off x="1800" y="2414"/>
                <a:ext cx="753" cy="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2600" b="1">
                    <a:solidFill>
                      <a:srgbClr val="CDCDCD"/>
                    </a:solidFill>
                    <a:latin typeface="微软雅黑" panose="020B0503020204020204" pitchFamily="34" charset="-122"/>
                    <a:ea typeface="宋体" panose="02010600030101010101" pitchFamily="2" charset="-122"/>
                  </a:rPr>
                  <a:t>周期管控系统</a:t>
                </a:r>
                <a:endParaRPr lang="zh-CN" altLang="zh-CN">
                  <a:ea typeface="宋体" panose="02010600030101010101" pitchFamily="2" charset="-122"/>
                </a:endParaRPr>
              </a:p>
            </p:txBody>
          </p:sp>
          <p:sp>
            <p:nvSpPr>
              <p:cNvPr id="342" name="Rectangle 85">
                <a:extLst>
                  <a:ext uri="{FF2B5EF4-FFF2-40B4-BE49-F238E27FC236}">
                    <a16:creationId xmlns:a16="http://schemas.microsoft.com/office/drawing/2014/main" id="{55AA1D59-0F7E-4D99-8041-2337886C13F7}"/>
                  </a:ext>
                </a:extLst>
              </p:cNvPr>
              <p:cNvSpPr>
                <a:spLocks noChangeArrowheads="1"/>
              </p:cNvSpPr>
              <p:nvPr/>
            </p:nvSpPr>
            <p:spPr bwMode="auto">
              <a:xfrm>
                <a:off x="1925" y="2148"/>
                <a:ext cx="1055"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2600" b="1">
                    <a:solidFill>
                      <a:srgbClr val="000000"/>
                    </a:solidFill>
                    <a:latin typeface="微软雅黑" panose="020B0503020204020204" pitchFamily="34" charset="-122"/>
                    <a:ea typeface="宋体" panose="02010600030101010101" pitchFamily="2" charset="-122"/>
                  </a:rPr>
                  <a:t>产品全</a:t>
                </a:r>
                <a:r>
                  <a:rPr lang="zh-CN" altLang="en-US" sz="2600" b="1">
                    <a:solidFill>
                      <a:srgbClr val="000000"/>
                    </a:solidFill>
                    <a:latin typeface="微软雅黑" panose="020B0503020204020204" pitchFamily="34" charset="-122"/>
                    <a:ea typeface="宋体" panose="02010600030101010101" pitchFamily="2" charset="-122"/>
                  </a:rPr>
                  <a:t>流程</a:t>
                </a:r>
                <a:endParaRPr lang="zh-CN" altLang="zh-CN">
                  <a:ea typeface="宋体" panose="02010600030101010101" pitchFamily="2" charset="-122"/>
                </a:endParaRPr>
              </a:p>
            </p:txBody>
          </p:sp>
          <p:sp>
            <p:nvSpPr>
              <p:cNvPr id="343" name="Rectangle 86">
                <a:extLst>
                  <a:ext uri="{FF2B5EF4-FFF2-40B4-BE49-F238E27FC236}">
                    <a16:creationId xmlns:a16="http://schemas.microsoft.com/office/drawing/2014/main" id="{B136008F-00C4-40E6-8885-CDF1DFDEA614}"/>
                  </a:ext>
                </a:extLst>
              </p:cNvPr>
              <p:cNvSpPr>
                <a:spLocks noChangeArrowheads="1"/>
              </p:cNvSpPr>
              <p:nvPr/>
            </p:nvSpPr>
            <p:spPr bwMode="auto">
              <a:xfrm>
                <a:off x="1699" y="2403"/>
                <a:ext cx="1532"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en-US" sz="2600" b="1" dirty="0">
                    <a:solidFill>
                      <a:srgbClr val="000000"/>
                    </a:solidFill>
                    <a:latin typeface="微软雅黑" panose="020B0503020204020204" pitchFamily="34" charset="-122"/>
                    <a:ea typeface="宋体" panose="02010600030101010101" pitchFamily="2" charset="-122"/>
                  </a:rPr>
                  <a:t>可追溯大数据平台</a:t>
                </a:r>
                <a:endParaRPr lang="zh-CN" altLang="zh-CN" dirty="0">
                  <a:ea typeface="宋体" panose="02010600030101010101" pitchFamily="2" charset="-122"/>
                </a:endParaRPr>
              </a:p>
            </p:txBody>
          </p:sp>
          <p:sp>
            <p:nvSpPr>
              <p:cNvPr id="344" name="Rectangle 87">
                <a:extLst>
                  <a:ext uri="{FF2B5EF4-FFF2-40B4-BE49-F238E27FC236}">
                    <a16:creationId xmlns:a16="http://schemas.microsoft.com/office/drawing/2014/main" id="{BE9E1026-D049-4C20-BAFC-3B6A8FED6DD7}"/>
                  </a:ext>
                </a:extLst>
              </p:cNvPr>
              <p:cNvSpPr>
                <a:spLocks noChangeArrowheads="1"/>
              </p:cNvSpPr>
              <p:nvPr/>
            </p:nvSpPr>
            <p:spPr bwMode="auto">
              <a:xfrm>
                <a:off x="894" y="862"/>
                <a:ext cx="1059" cy="329"/>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45" name="Freeform 88">
                <a:extLst>
                  <a:ext uri="{FF2B5EF4-FFF2-40B4-BE49-F238E27FC236}">
                    <a16:creationId xmlns:a16="http://schemas.microsoft.com/office/drawing/2014/main" id="{9AAFCE31-A9FA-40FE-B430-4E1C82D617A2}"/>
                  </a:ext>
                </a:extLst>
              </p:cNvPr>
              <p:cNvSpPr>
                <a:spLocks/>
              </p:cNvSpPr>
              <p:nvPr/>
            </p:nvSpPr>
            <p:spPr bwMode="auto">
              <a:xfrm>
                <a:off x="894" y="866"/>
                <a:ext cx="1053" cy="321"/>
              </a:xfrm>
              <a:custGeom>
                <a:avLst/>
                <a:gdLst>
                  <a:gd name="T0" fmla="*/ 0 w 2976"/>
                  <a:gd name="T1" fmla="*/ 0 h 907"/>
                  <a:gd name="T2" fmla="*/ 0 w 2976"/>
                  <a:gd name="T3" fmla="*/ 0 h 907"/>
                  <a:gd name="T4" fmla="*/ 0 w 2976"/>
                  <a:gd name="T5" fmla="*/ 0 h 907"/>
                  <a:gd name="T6" fmla="*/ 0 w 2976"/>
                  <a:gd name="T7" fmla="*/ 0 h 907"/>
                  <a:gd name="T8" fmla="*/ 0 w 2976"/>
                  <a:gd name="T9" fmla="*/ 0 h 907"/>
                  <a:gd name="T10" fmla="*/ 0 w 2976"/>
                  <a:gd name="T11" fmla="*/ 0 h 907"/>
                  <a:gd name="T12" fmla="*/ 0 w 2976"/>
                  <a:gd name="T13" fmla="*/ 0 h 907"/>
                  <a:gd name="T14" fmla="*/ 0 w 2976"/>
                  <a:gd name="T15" fmla="*/ 0 h 907"/>
                  <a:gd name="T16" fmla="*/ 0 w 2976"/>
                  <a:gd name="T17" fmla="*/ 0 h 907"/>
                  <a:gd name="T18" fmla="*/ 0 w 2976"/>
                  <a:gd name="T19" fmla="*/ 0 h 907"/>
                  <a:gd name="T20" fmla="*/ 0 w 2976"/>
                  <a:gd name="T21" fmla="*/ 0 h 907"/>
                  <a:gd name="T22" fmla="*/ 0 w 2976"/>
                  <a:gd name="T23" fmla="*/ 0 h 907"/>
                  <a:gd name="T24" fmla="*/ 0 w 2976"/>
                  <a:gd name="T25" fmla="*/ 0 h 907"/>
                  <a:gd name="T26" fmla="*/ 0 w 2976"/>
                  <a:gd name="T27" fmla="*/ 0 h 907"/>
                  <a:gd name="T28" fmla="*/ 0 w 2976"/>
                  <a:gd name="T29" fmla="*/ 0 h 907"/>
                  <a:gd name="T30" fmla="*/ 0 w 2976"/>
                  <a:gd name="T31" fmla="*/ 0 h 907"/>
                  <a:gd name="T32" fmla="*/ 0 w 2976"/>
                  <a:gd name="T33" fmla="*/ 0 h 90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76"/>
                  <a:gd name="T52" fmla="*/ 0 h 907"/>
                  <a:gd name="T53" fmla="*/ 2976 w 2976"/>
                  <a:gd name="T54" fmla="*/ 907 h 90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76" h="907">
                    <a:moveTo>
                      <a:pt x="2670" y="907"/>
                    </a:moveTo>
                    <a:cubicBezTo>
                      <a:pt x="2837" y="907"/>
                      <a:pt x="2972" y="772"/>
                      <a:pt x="2972" y="605"/>
                    </a:cubicBezTo>
                    <a:lnTo>
                      <a:pt x="2976" y="598"/>
                    </a:lnTo>
                    <a:lnTo>
                      <a:pt x="2976" y="294"/>
                    </a:lnTo>
                    <a:lnTo>
                      <a:pt x="2972" y="302"/>
                    </a:lnTo>
                    <a:cubicBezTo>
                      <a:pt x="2972" y="135"/>
                      <a:pt x="2837" y="0"/>
                      <a:pt x="2670" y="0"/>
                    </a:cubicBezTo>
                    <a:lnTo>
                      <a:pt x="2672" y="6"/>
                    </a:lnTo>
                    <a:lnTo>
                      <a:pt x="304" y="6"/>
                    </a:lnTo>
                    <a:lnTo>
                      <a:pt x="302" y="0"/>
                    </a:lnTo>
                    <a:cubicBezTo>
                      <a:pt x="135" y="0"/>
                      <a:pt x="0" y="135"/>
                      <a:pt x="0" y="302"/>
                    </a:cubicBezTo>
                    <a:lnTo>
                      <a:pt x="0" y="294"/>
                    </a:lnTo>
                    <a:lnTo>
                      <a:pt x="0" y="598"/>
                    </a:lnTo>
                    <a:lnTo>
                      <a:pt x="0" y="605"/>
                    </a:lnTo>
                    <a:cubicBezTo>
                      <a:pt x="0" y="772"/>
                      <a:pt x="135" y="907"/>
                      <a:pt x="302" y="907"/>
                    </a:cubicBezTo>
                    <a:lnTo>
                      <a:pt x="304" y="902"/>
                    </a:lnTo>
                    <a:lnTo>
                      <a:pt x="2672" y="902"/>
                    </a:lnTo>
                    <a:lnTo>
                      <a:pt x="2670" y="907"/>
                    </a:lnTo>
                    <a:close/>
                  </a:path>
                </a:pathLst>
              </a:custGeom>
              <a:solidFill>
                <a:srgbClr val="FFFFFF"/>
              </a:solidFill>
              <a:ln w="0">
                <a:solidFill>
                  <a:srgbClr val="000000"/>
                </a:solidFill>
                <a:round/>
                <a:headEnd/>
                <a:tailEnd/>
              </a:ln>
            </p:spPr>
            <p:txBody>
              <a:bodyPr/>
              <a:lstStyle/>
              <a:p>
                <a:endParaRPr lang="zh-CN" altLang="en-US"/>
              </a:p>
            </p:txBody>
          </p:sp>
          <p:sp>
            <p:nvSpPr>
              <p:cNvPr id="346" name="Rectangle 89">
                <a:extLst>
                  <a:ext uri="{FF2B5EF4-FFF2-40B4-BE49-F238E27FC236}">
                    <a16:creationId xmlns:a16="http://schemas.microsoft.com/office/drawing/2014/main" id="{1AEBB2D4-383A-47FD-A5B2-81F1F4511165}"/>
                  </a:ext>
                </a:extLst>
              </p:cNvPr>
              <p:cNvSpPr>
                <a:spLocks noChangeArrowheads="1"/>
              </p:cNvSpPr>
              <p:nvPr/>
            </p:nvSpPr>
            <p:spPr bwMode="auto">
              <a:xfrm>
                <a:off x="894" y="862"/>
                <a:ext cx="1059" cy="329"/>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47" name="Rectangle 90">
                <a:extLst>
                  <a:ext uri="{FF2B5EF4-FFF2-40B4-BE49-F238E27FC236}">
                    <a16:creationId xmlns:a16="http://schemas.microsoft.com/office/drawing/2014/main" id="{DCE6A785-EECC-4372-8E9A-A9A1BA8ADF46}"/>
                  </a:ext>
                </a:extLst>
              </p:cNvPr>
              <p:cNvSpPr>
                <a:spLocks noChangeArrowheads="1"/>
              </p:cNvSpPr>
              <p:nvPr/>
            </p:nvSpPr>
            <p:spPr bwMode="auto">
              <a:xfrm>
                <a:off x="889" y="862"/>
                <a:ext cx="1064" cy="334"/>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48" name="Freeform 91">
                <a:extLst>
                  <a:ext uri="{FF2B5EF4-FFF2-40B4-BE49-F238E27FC236}">
                    <a16:creationId xmlns:a16="http://schemas.microsoft.com/office/drawing/2014/main" id="{59CED413-596E-422E-BACF-1DB2B7D7E394}"/>
                  </a:ext>
                </a:extLst>
              </p:cNvPr>
              <p:cNvSpPr>
                <a:spLocks/>
              </p:cNvSpPr>
              <p:nvPr/>
            </p:nvSpPr>
            <p:spPr bwMode="auto">
              <a:xfrm>
                <a:off x="891" y="863"/>
                <a:ext cx="1059" cy="327"/>
              </a:xfrm>
              <a:custGeom>
                <a:avLst/>
                <a:gdLst>
                  <a:gd name="T0" fmla="*/ 0 w 2992"/>
                  <a:gd name="T1" fmla="*/ 0 h 924"/>
                  <a:gd name="T2" fmla="*/ 0 w 2992"/>
                  <a:gd name="T3" fmla="*/ 0 h 924"/>
                  <a:gd name="T4" fmla="*/ 0 w 2992"/>
                  <a:gd name="T5" fmla="*/ 0 h 924"/>
                  <a:gd name="T6" fmla="*/ 0 w 2992"/>
                  <a:gd name="T7" fmla="*/ 0 h 924"/>
                  <a:gd name="T8" fmla="*/ 0 w 2992"/>
                  <a:gd name="T9" fmla="*/ 0 h 924"/>
                  <a:gd name="T10" fmla="*/ 0 w 2992"/>
                  <a:gd name="T11" fmla="*/ 0 h 924"/>
                  <a:gd name="T12" fmla="*/ 0 w 2992"/>
                  <a:gd name="T13" fmla="*/ 0 h 924"/>
                  <a:gd name="T14" fmla="*/ 0 w 2992"/>
                  <a:gd name="T15" fmla="*/ 0 h 924"/>
                  <a:gd name="T16" fmla="*/ 0 w 2992"/>
                  <a:gd name="T17" fmla="*/ 0 h 924"/>
                  <a:gd name="T18" fmla="*/ 0 w 2992"/>
                  <a:gd name="T19" fmla="*/ 0 h 924"/>
                  <a:gd name="T20" fmla="*/ 0 w 2992"/>
                  <a:gd name="T21" fmla="*/ 0 h 924"/>
                  <a:gd name="T22" fmla="*/ 0 w 2992"/>
                  <a:gd name="T23" fmla="*/ 0 h 924"/>
                  <a:gd name="T24" fmla="*/ 0 w 2992"/>
                  <a:gd name="T25" fmla="*/ 0 h 924"/>
                  <a:gd name="T26" fmla="*/ 0 w 2992"/>
                  <a:gd name="T27" fmla="*/ 0 h 924"/>
                  <a:gd name="T28" fmla="*/ 0 w 2992"/>
                  <a:gd name="T29" fmla="*/ 0 h 924"/>
                  <a:gd name="T30" fmla="*/ 0 w 2992"/>
                  <a:gd name="T31" fmla="*/ 0 h 924"/>
                  <a:gd name="T32" fmla="*/ 0 w 2992"/>
                  <a:gd name="T33" fmla="*/ 0 h 924"/>
                  <a:gd name="T34" fmla="*/ 0 w 2992"/>
                  <a:gd name="T35" fmla="*/ 0 h 924"/>
                  <a:gd name="T36" fmla="*/ 0 w 2992"/>
                  <a:gd name="T37" fmla="*/ 0 h 924"/>
                  <a:gd name="T38" fmla="*/ 0 w 2992"/>
                  <a:gd name="T39" fmla="*/ 0 h 924"/>
                  <a:gd name="T40" fmla="*/ 0 w 2992"/>
                  <a:gd name="T41" fmla="*/ 0 h 924"/>
                  <a:gd name="T42" fmla="*/ 0 w 2992"/>
                  <a:gd name="T43" fmla="*/ 0 h 924"/>
                  <a:gd name="T44" fmla="*/ 0 w 2992"/>
                  <a:gd name="T45" fmla="*/ 0 h 924"/>
                  <a:gd name="T46" fmla="*/ 0 w 2992"/>
                  <a:gd name="T47" fmla="*/ 0 h 924"/>
                  <a:gd name="T48" fmla="*/ 0 w 2992"/>
                  <a:gd name="T49" fmla="*/ 0 h 924"/>
                  <a:gd name="T50" fmla="*/ 0 w 2992"/>
                  <a:gd name="T51" fmla="*/ 0 h 924"/>
                  <a:gd name="T52" fmla="*/ 0 w 2992"/>
                  <a:gd name="T53" fmla="*/ 0 h 924"/>
                  <a:gd name="T54" fmla="*/ 0 w 2992"/>
                  <a:gd name="T55" fmla="*/ 0 h 924"/>
                  <a:gd name="T56" fmla="*/ 0 w 2992"/>
                  <a:gd name="T57" fmla="*/ 0 h 924"/>
                  <a:gd name="T58" fmla="*/ 0 w 2992"/>
                  <a:gd name="T59" fmla="*/ 0 h 924"/>
                  <a:gd name="T60" fmla="*/ 0 w 2992"/>
                  <a:gd name="T61" fmla="*/ 0 h 924"/>
                  <a:gd name="T62" fmla="*/ 0 w 2992"/>
                  <a:gd name="T63" fmla="*/ 0 h 924"/>
                  <a:gd name="T64" fmla="*/ 0 w 2992"/>
                  <a:gd name="T65" fmla="*/ 0 h 924"/>
                  <a:gd name="T66" fmla="*/ 0 w 2992"/>
                  <a:gd name="T67" fmla="*/ 0 h 924"/>
                  <a:gd name="T68" fmla="*/ 0 w 2992"/>
                  <a:gd name="T69" fmla="*/ 0 h 924"/>
                  <a:gd name="T70" fmla="*/ 0 w 2992"/>
                  <a:gd name="T71" fmla="*/ 0 h 924"/>
                  <a:gd name="T72" fmla="*/ 0 w 2992"/>
                  <a:gd name="T73" fmla="*/ 0 h 924"/>
                  <a:gd name="T74" fmla="*/ 0 w 2992"/>
                  <a:gd name="T75" fmla="*/ 0 h 924"/>
                  <a:gd name="T76" fmla="*/ 0 w 2992"/>
                  <a:gd name="T77" fmla="*/ 0 h 924"/>
                  <a:gd name="T78" fmla="*/ 0 w 2992"/>
                  <a:gd name="T79" fmla="*/ 0 h 924"/>
                  <a:gd name="T80" fmla="*/ 0 w 2992"/>
                  <a:gd name="T81" fmla="*/ 0 h 924"/>
                  <a:gd name="T82" fmla="*/ 0 w 2992"/>
                  <a:gd name="T83" fmla="*/ 0 h 924"/>
                  <a:gd name="T84" fmla="*/ 0 w 2992"/>
                  <a:gd name="T85" fmla="*/ 0 h 924"/>
                  <a:gd name="T86" fmla="*/ 0 w 2992"/>
                  <a:gd name="T87" fmla="*/ 0 h 924"/>
                  <a:gd name="T88" fmla="*/ 0 w 2992"/>
                  <a:gd name="T89" fmla="*/ 0 h 924"/>
                  <a:gd name="T90" fmla="*/ 0 w 2992"/>
                  <a:gd name="T91" fmla="*/ 0 h 924"/>
                  <a:gd name="T92" fmla="*/ 0 w 2992"/>
                  <a:gd name="T93" fmla="*/ 0 h 924"/>
                  <a:gd name="T94" fmla="*/ 0 w 2992"/>
                  <a:gd name="T95" fmla="*/ 0 h 924"/>
                  <a:gd name="T96" fmla="*/ 0 w 2992"/>
                  <a:gd name="T97" fmla="*/ 0 h 924"/>
                  <a:gd name="T98" fmla="*/ 0 w 2992"/>
                  <a:gd name="T99" fmla="*/ 0 h 924"/>
                  <a:gd name="T100" fmla="*/ 0 w 2992"/>
                  <a:gd name="T101" fmla="*/ 0 h 924"/>
                  <a:gd name="T102" fmla="*/ 0 w 2992"/>
                  <a:gd name="T103" fmla="*/ 0 h 924"/>
                  <a:gd name="T104" fmla="*/ 0 w 2992"/>
                  <a:gd name="T105" fmla="*/ 0 h 924"/>
                  <a:gd name="T106" fmla="*/ 0 w 2992"/>
                  <a:gd name="T107" fmla="*/ 0 h 924"/>
                  <a:gd name="T108" fmla="*/ 0 w 2992"/>
                  <a:gd name="T109" fmla="*/ 0 h 924"/>
                  <a:gd name="T110" fmla="*/ 0 w 2992"/>
                  <a:gd name="T111" fmla="*/ 0 h 924"/>
                  <a:gd name="T112" fmla="*/ 0 w 2992"/>
                  <a:gd name="T113" fmla="*/ 0 h 924"/>
                  <a:gd name="T114" fmla="*/ 0 w 2992"/>
                  <a:gd name="T115" fmla="*/ 0 h 924"/>
                  <a:gd name="T116" fmla="*/ 0 w 2992"/>
                  <a:gd name="T117" fmla="*/ 0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992"/>
                  <a:gd name="T178" fmla="*/ 0 h 924"/>
                  <a:gd name="T179" fmla="*/ 2992 w 2992"/>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992" h="924">
                    <a:moveTo>
                      <a:pt x="2678" y="908"/>
                    </a:moveTo>
                    <a:lnTo>
                      <a:pt x="2739" y="902"/>
                    </a:lnTo>
                    <a:lnTo>
                      <a:pt x="2737" y="902"/>
                    </a:lnTo>
                    <a:lnTo>
                      <a:pt x="2794" y="884"/>
                    </a:lnTo>
                    <a:lnTo>
                      <a:pt x="2793" y="884"/>
                    </a:lnTo>
                    <a:lnTo>
                      <a:pt x="2844" y="856"/>
                    </a:lnTo>
                    <a:lnTo>
                      <a:pt x="2842" y="857"/>
                    </a:lnTo>
                    <a:lnTo>
                      <a:pt x="2887" y="821"/>
                    </a:lnTo>
                    <a:lnTo>
                      <a:pt x="2886" y="822"/>
                    </a:lnTo>
                    <a:lnTo>
                      <a:pt x="2922" y="777"/>
                    </a:lnTo>
                    <a:lnTo>
                      <a:pt x="2921" y="779"/>
                    </a:lnTo>
                    <a:lnTo>
                      <a:pt x="2949" y="728"/>
                    </a:lnTo>
                    <a:lnTo>
                      <a:pt x="2949" y="729"/>
                    </a:lnTo>
                    <a:lnTo>
                      <a:pt x="2967" y="672"/>
                    </a:lnTo>
                    <a:lnTo>
                      <a:pt x="2967" y="674"/>
                    </a:lnTo>
                    <a:lnTo>
                      <a:pt x="2973" y="613"/>
                    </a:lnTo>
                    <a:cubicBezTo>
                      <a:pt x="2973" y="612"/>
                      <a:pt x="2973" y="610"/>
                      <a:pt x="2974" y="609"/>
                    </a:cubicBezTo>
                    <a:lnTo>
                      <a:pt x="2978" y="602"/>
                    </a:lnTo>
                    <a:lnTo>
                      <a:pt x="2976" y="606"/>
                    </a:lnTo>
                    <a:lnTo>
                      <a:pt x="2976" y="302"/>
                    </a:lnTo>
                    <a:lnTo>
                      <a:pt x="2992" y="306"/>
                    </a:lnTo>
                    <a:lnTo>
                      <a:pt x="2988" y="314"/>
                    </a:lnTo>
                    <a:cubicBezTo>
                      <a:pt x="2986" y="317"/>
                      <a:pt x="2983" y="319"/>
                      <a:pt x="2979" y="318"/>
                    </a:cubicBezTo>
                    <a:cubicBezTo>
                      <a:pt x="2976" y="318"/>
                      <a:pt x="2973" y="315"/>
                      <a:pt x="2973" y="311"/>
                    </a:cubicBezTo>
                    <a:lnTo>
                      <a:pt x="2967" y="250"/>
                    </a:lnTo>
                    <a:lnTo>
                      <a:pt x="2967" y="252"/>
                    </a:lnTo>
                    <a:lnTo>
                      <a:pt x="2949" y="195"/>
                    </a:lnTo>
                    <a:lnTo>
                      <a:pt x="2949" y="196"/>
                    </a:lnTo>
                    <a:lnTo>
                      <a:pt x="2921" y="145"/>
                    </a:lnTo>
                    <a:lnTo>
                      <a:pt x="2922" y="146"/>
                    </a:lnTo>
                    <a:lnTo>
                      <a:pt x="2886" y="101"/>
                    </a:lnTo>
                    <a:lnTo>
                      <a:pt x="2887" y="103"/>
                    </a:lnTo>
                    <a:lnTo>
                      <a:pt x="2842" y="67"/>
                    </a:lnTo>
                    <a:lnTo>
                      <a:pt x="2844" y="67"/>
                    </a:lnTo>
                    <a:lnTo>
                      <a:pt x="2793" y="39"/>
                    </a:lnTo>
                    <a:lnTo>
                      <a:pt x="2794" y="40"/>
                    </a:lnTo>
                    <a:lnTo>
                      <a:pt x="2737" y="22"/>
                    </a:lnTo>
                    <a:lnTo>
                      <a:pt x="2739" y="22"/>
                    </a:lnTo>
                    <a:lnTo>
                      <a:pt x="2678" y="16"/>
                    </a:lnTo>
                    <a:lnTo>
                      <a:pt x="2686" y="6"/>
                    </a:lnTo>
                    <a:lnTo>
                      <a:pt x="2688" y="12"/>
                    </a:lnTo>
                    <a:cubicBezTo>
                      <a:pt x="2689" y="14"/>
                      <a:pt x="2688" y="17"/>
                      <a:pt x="2687" y="19"/>
                    </a:cubicBezTo>
                    <a:cubicBezTo>
                      <a:pt x="2685" y="21"/>
                      <a:pt x="2683" y="22"/>
                      <a:pt x="2680" y="22"/>
                    </a:cubicBezTo>
                    <a:lnTo>
                      <a:pt x="312" y="22"/>
                    </a:lnTo>
                    <a:cubicBezTo>
                      <a:pt x="309" y="22"/>
                      <a:pt x="306" y="20"/>
                      <a:pt x="305" y="17"/>
                    </a:cubicBezTo>
                    <a:lnTo>
                      <a:pt x="303" y="11"/>
                    </a:lnTo>
                    <a:lnTo>
                      <a:pt x="311" y="16"/>
                    </a:lnTo>
                    <a:lnTo>
                      <a:pt x="250" y="22"/>
                    </a:lnTo>
                    <a:lnTo>
                      <a:pt x="252" y="22"/>
                    </a:lnTo>
                    <a:lnTo>
                      <a:pt x="195" y="40"/>
                    </a:lnTo>
                    <a:lnTo>
                      <a:pt x="196" y="39"/>
                    </a:lnTo>
                    <a:lnTo>
                      <a:pt x="145" y="67"/>
                    </a:lnTo>
                    <a:lnTo>
                      <a:pt x="146" y="67"/>
                    </a:lnTo>
                    <a:lnTo>
                      <a:pt x="101" y="103"/>
                    </a:lnTo>
                    <a:lnTo>
                      <a:pt x="103" y="101"/>
                    </a:lnTo>
                    <a:lnTo>
                      <a:pt x="67" y="146"/>
                    </a:lnTo>
                    <a:lnTo>
                      <a:pt x="67" y="145"/>
                    </a:lnTo>
                    <a:lnTo>
                      <a:pt x="39" y="196"/>
                    </a:lnTo>
                    <a:lnTo>
                      <a:pt x="40" y="195"/>
                    </a:lnTo>
                    <a:lnTo>
                      <a:pt x="22" y="252"/>
                    </a:lnTo>
                    <a:lnTo>
                      <a:pt x="22" y="250"/>
                    </a:lnTo>
                    <a:lnTo>
                      <a:pt x="16" y="311"/>
                    </a:lnTo>
                    <a:cubicBezTo>
                      <a:pt x="16" y="315"/>
                      <a:pt x="12" y="319"/>
                      <a:pt x="8" y="318"/>
                    </a:cubicBezTo>
                    <a:cubicBezTo>
                      <a:pt x="4" y="318"/>
                      <a:pt x="0" y="315"/>
                      <a:pt x="0" y="310"/>
                    </a:cubicBezTo>
                    <a:lnTo>
                      <a:pt x="0" y="302"/>
                    </a:lnTo>
                    <a:cubicBezTo>
                      <a:pt x="0" y="298"/>
                      <a:pt x="4" y="294"/>
                      <a:pt x="8" y="294"/>
                    </a:cubicBezTo>
                    <a:cubicBezTo>
                      <a:pt x="13" y="294"/>
                      <a:pt x="16" y="298"/>
                      <a:pt x="16" y="302"/>
                    </a:cubicBezTo>
                    <a:lnTo>
                      <a:pt x="16" y="606"/>
                    </a:lnTo>
                    <a:lnTo>
                      <a:pt x="16" y="613"/>
                    </a:lnTo>
                    <a:lnTo>
                      <a:pt x="22" y="674"/>
                    </a:lnTo>
                    <a:lnTo>
                      <a:pt x="22" y="672"/>
                    </a:lnTo>
                    <a:lnTo>
                      <a:pt x="40" y="729"/>
                    </a:lnTo>
                    <a:lnTo>
                      <a:pt x="39" y="728"/>
                    </a:lnTo>
                    <a:lnTo>
                      <a:pt x="67" y="779"/>
                    </a:lnTo>
                    <a:lnTo>
                      <a:pt x="67" y="777"/>
                    </a:lnTo>
                    <a:lnTo>
                      <a:pt x="103" y="822"/>
                    </a:lnTo>
                    <a:lnTo>
                      <a:pt x="101" y="821"/>
                    </a:lnTo>
                    <a:lnTo>
                      <a:pt x="146" y="857"/>
                    </a:lnTo>
                    <a:lnTo>
                      <a:pt x="145" y="856"/>
                    </a:lnTo>
                    <a:lnTo>
                      <a:pt x="196" y="884"/>
                    </a:lnTo>
                    <a:lnTo>
                      <a:pt x="195" y="884"/>
                    </a:lnTo>
                    <a:lnTo>
                      <a:pt x="252" y="902"/>
                    </a:lnTo>
                    <a:lnTo>
                      <a:pt x="250" y="902"/>
                    </a:lnTo>
                    <a:lnTo>
                      <a:pt x="311" y="908"/>
                    </a:lnTo>
                    <a:lnTo>
                      <a:pt x="303" y="912"/>
                    </a:lnTo>
                    <a:lnTo>
                      <a:pt x="305" y="907"/>
                    </a:lnTo>
                    <a:cubicBezTo>
                      <a:pt x="306" y="904"/>
                      <a:pt x="309" y="902"/>
                      <a:pt x="312" y="902"/>
                    </a:cubicBezTo>
                    <a:lnTo>
                      <a:pt x="2680" y="902"/>
                    </a:lnTo>
                    <a:cubicBezTo>
                      <a:pt x="2685" y="902"/>
                      <a:pt x="2688" y="906"/>
                      <a:pt x="2688" y="910"/>
                    </a:cubicBezTo>
                    <a:cubicBezTo>
                      <a:pt x="2688" y="915"/>
                      <a:pt x="2685" y="918"/>
                      <a:pt x="2680" y="918"/>
                    </a:cubicBezTo>
                    <a:lnTo>
                      <a:pt x="312" y="918"/>
                    </a:lnTo>
                    <a:lnTo>
                      <a:pt x="320" y="913"/>
                    </a:lnTo>
                    <a:lnTo>
                      <a:pt x="318" y="918"/>
                    </a:lnTo>
                    <a:cubicBezTo>
                      <a:pt x="317" y="922"/>
                      <a:pt x="313" y="924"/>
                      <a:pt x="310" y="923"/>
                    </a:cubicBezTo>
                    <a:lnTo>
                      <a:pt x="249" y="917"/>
                    </a:lnTo>
                    <a:cubicBezTo>
                      <a:pt x="248" y="917"/>
                      <a:pt x="248" y="917"/>
                      <a:pt x="247" y="917"/>
                    </a:cubicBezTo>
                    <a:lnTo>
                      <a:pt x="190" y="899"/>
                    </a:lnTo>
                    <a:cubicBezTo>
                      <a:pt x="190" y="899"/>
                      <a:pt x="189" y="899"/>
                      <a:pt x="189" y="898"/>
                    </a:cubicBezTo>
                    <a:lnTo>
                      <a:pt x="138" y="870"/>
                    </a:lnTo>
                    <a:cubicBezTo>
                      <a:pt x="137" y="870"/>
                      <a:pt x="137" y="870"/>
                      <a:pt x="136" y="870"/>
                    </a:cubicBezTo>
                    <a:lnTo>
                      <a:pt x="91" y="834"/>
                    </a:lnTo>
                    <a:cubicBezTo>
                      <a:pt x="91" y="833"/>
                      <a:pt x="91" y="833"/>
                      <a:pt x="90" y="832"/>
                    </a:cubicBezTo>
                    <a:lnTo>
                      <a:pt x="54" y="787"/>
                    </a:lnTo>
                    <a:cubicBezTo>
                      <a:pt x="54" y="787"/>
                      <a:pt x="54" y="787"/>
                      <a:pt x="53" y="786"/>
                    </a:cubicBezTo>
                    <a:lnTo>
                      <a:pt x="25" y="735"/>
                    </a:lnTo>
                    <a:cubicBezTo>
                      <a:pt x="25" y="735"/>
                      <a:pt x="25" y="734"/>
                      <a:pt x="25" y="734"/>
                    </a:cubicBezTo>
                    <a:lnTo>
                      <a:pt x="7" y="677"/>
                    </a:lnTo>
                    <a:cubicBezTo>
                      <a:pt x="7" y="676"/>
                      <a:pt x="7" y="676"/>
                      <a:pt x="7" y="675"/>
                    </a:cubicBezTo>
                    <a:lnTo>
                      <a:pt x="0" y="613"/>
                    </a:lnTo>
                    <a:lnTo>
                      <a:pt x="0" y="606"/>
                    </a:lnTo>
                    <a:lnTo>
                      <a:pt x="0" y="302"/>
                    </a:lnTo>
                    <a:lnTo>
                      <a:pt x="16" y="302"/>
                    </a:lnTo>
                    <a:lnTo>
                      <a:pt x="16" y="310"/>
                    </a:lnTo>
                    <a:lnTo>
                      <a:pt x="1" y="310"/>
                    </a:lnTo>
                    <a:lnTo>
                      <a:pt x="7" y="249"/>
                    </a:lnTo>
                    <a:cubicBezTo>
                      <a:pt x="7" y="248"/>
                      <a:pt x="7" y="248"/>
                      <a:pt x="7" y="247"/>
                    </a:cubicBezTo>
                    <a:lnTo>
                      <a:pt x="25" y="190"/>
                    </a:lnTo>
                    <a:cubicBezTo>
                      <a:pt x="25" y="190"/>
                      <a:pt x="25" y="189"/>
                      <a:pt x="25" y="189"/>
                    </a:cubicBezTo>
                    <a:lnTo>
                      <a:pt x="53" y="138"/>
                    </a:lnTo>
                    <a:cubicBezTo>
                      <a:pt x="54" y="137"/>
                      <a:pt x="54" y="137"/>
                      <a:pt x="54" y="136"/>
                    </a:cubicBezTo>
                    <a:lnTo>
                      <a:pt x="90" y="91"/>
                    </a:lnTo>
                    <a:cubicBezTo>
                      <a:pt x="91" y="91"/>
                      <a:pt x="91" y="91"/>
                      <a:pt x="91" y="90"/>
                    </a:cubicBezTo>
                    <a:lnTo>
                      <a:pt x="136" y="54"/>
                    </a:lnTo>
                    <a:cubicBezTo>
                      <a:pt x="137" y="54"/>
                      <a:pt x="137" y="54"/>
                      <a:pt x="138" y="53"/>
                    </a:cubicBezTo>
                    <a:lnTo>
                      <a:pt x="189" y="25"/>
                    </a:lnTo>
                    <a:cubicBezTo>
                      <a:pt x="189" y="25"/>
                      <a:pt x="190" y="25"/>
                      <a:pt x="190" y="25"/>
                    </a:cubicBezTo>
                    <a:lnTo>
                      <a:pt x="247" y="7"/>
                    </a:lnTo>
                    <a:cubicBezTo>
                      <a:pt x="248" y="7"/>
                      <a:pt x="248" y="7"/>
                      <a:pt x="249" y="7"/>
                    </a:cubicBezTo>
                    <a:lnTo>
                      <a:pt x="310" y="1"/>
                    </a:lnTo>
                    <a:cubicBezTo>
                      <a:pt x="313" y="0"/>
                      <a:pt x="317" y="2"/>
                      <a:pt x="318" y="6"/>
                    </a:cubicBezTo>
                    <a:lnTo>
                      <a:pt x="320" y="12"/>
                    </a:lnTo>
                    <a:lnTo>
                      <a:pt x="312" y="6"/>
                    </a:lnTo>
                    <a:lnTo>
                      <a:pt x="2680" y="6"/>
                    </a:lnTo>
                    <a:lnTo>
                      <a:pt x="2673" y="17"/>
                    </a:lnTo>
                    <a:lnTo>
                      <a:pt x="2671" y="11"/>
                    </a:lnTo>
                    <a:cubicBezTo>
                      <a:pt x="2670" y="8"/>
                      <a:pt x="2671" y="6"/>
                      <a:pt x="2672" y="3"/>
                    </a:cubicBezTo>
                    <a:cubicBezTo>
                      <a:pt x="2674" y="1"/>
                      <a:pt x="2677" y="0"/>
                      <a:pt x="2679" y="1"/>
                    </a:cubicBezTo>
                    <a:lnTo>
                      <a:pt x="2740" y="7"/>
                    </a:lnTo>
                    <a:cubicBezTo>
                      <a:pt x="2741" y="7"/>
                      <a:pt x="2741" y="7"/>
                      <a:pt x="2742" y="7"/>
                    </a:cubicBezTo>
                    <a:lnTo>
                      <a:pt x="2799" y="25"/>
                    </a:lnTo>
                    <a:cubicBezTo>
                      <a:pt x="2799" y="25"/>
                      <a:pt x="2800" y="25"/>
                      <a:pt x="2800" y="25"/>
                    </a:cubicBezTo>
                    <a:lnTo>
                      <a:pt x="2851" y="53"/>
                    </a:lnTo>
                    <a:cubicBezTo>
                      <a:pt x="2852" y="54"/>
                      <a:pt x="2852" y="54"/>
                      <a:pt x="2852" y="54"/>
                    </a:cubicBezTo>
                    <a:lnTo>
                      <a:pt x="2897" y="90"/>
                    </a:lnTo>
                    <a:cubicBezTo>
                      <a:pt x="2898" y="91"/>
                      <a:pt x="2898" y="91"/>
                      <a:pt x="2899" y="91"/>
                    </a:cubicBezTo>
                    <a:lnTo>
                      <a:pt x="2935" y="136"/>
                    </a:lnTo>
                    <a:cubicBezTo>
                      <a:pt x="2935" y="137"/>
                      <a:pt x="2935" y="137"/>
                      <a:pt x="2935" y="138"/>
                    </a:cubicBezTo>
                    <a:lnTo>
                      <a:pt x="2963" y="189"/>
                    </a:lnTo>
                    <a:cubicBezTo>
                      <a:pt x="2964" y="189"/>
                      <a:pt x="2964" y="190"/>
                      <a:pt x="2964" y="190"/>
                    </a:cubicBezTo>
                    <a:lnTo>
                      <a:pt x="2982" y="247"/>
                    </a:lnTo>
                    <a:cubicBezTo>
                      <a:pt x="2982" y="248"/>
                      <a:pt x="2982" y="248"/>
                      <a:pt x="2982" y="249"/>
                    </a:cubicBezTo>
                    <a:lnTo>
                      <a:pt x="2988" y="310"/>
                    </a:lnTo>
                    <a:lnTo>
                      <a:pt x="2973" y="307"/>
                    </a:lnTo>
                    <a:lnTo>
                      <a:pt x="2977" y="299"/>
                    </a:lnTo>
                    <a:cubicBezTo>
                      <a:pt x="2979" y="296"/>
                      <a:pt x="2983" y="294"/>
                      <a:pt x="2986" y="295"/>
                    </a:cubicBezTo>
                    <a:cubicBezTo>
                      <a:pt x="2990" y="296"/>
                      <a:pt x="2992" y="299"/>
                      <a:pt x="2992" y="302"/>
                    </a:cubicBezTo>
                    <a:lnTo>
                      <a:pt x="2992" y="606"/>
                    </a:lnTo>
                    <a:cubicBezTo>
                      <a:pt x="2992" y="608"/>
                      <a:pt x="2992" y="609"/>
                      <a:pt x="2991" y="610"/>
                    </a:cubicBezTo>
                    <a:lnTo>
                      <a:pt x="2987" y="617"/>
                    </a:lnTo>
                    <a:lnTo>
                      <a:pt x="2988" y="614"/>
                    </a:lnTo>
                    <a:lnTo>
                      <a:pt x="2982" y="675"/>
                    </a:lnTo>
                    <a:cubicBezTo>
                      <a:pt x="2982" y="676"/>
                      <a:pt x="2982" y="676"/>
                      <a:pt x="2982" y="677"/>
                    </a:cubicBezTo>
                    <a:lnTo>
                      <a:pt x="2964" y="734"/>
                    </a:lnTo>
                    <a:cubicBezTo>
                      <a:pt x="2964" y="734"/>
                      <a:pt x="2964" y="735"/>
                      <a:pt x="2963" y="735"/>
                    </a:cubicBezTo>
                    <a:lnTo>
                      <a:pt x="2935" y="786"/>
                    </a:lnTo>
                    <a:cubicBezTo>
                      <a:pt x="2935" y="787"/>
                      <a:pt x="2935" y="787"/>
                      <a:pt x="2935" y="787"/>
                    </a:cubicBezTo>
                    <a:lnTo>
                      <a:pt x="2899" y="832"/>
                    </a:lnTo>
                    <a:cubicBezTo>
                      <a:pt x="2898" y="833"/>
                      <a:pt x="2898" y="833"/>
                      <a:pt x="2897" y="834"/>
                    </a:cubicBezTo>
                    <a:lnTo>
                      <a:pt x="2852" y="870"/>
                    </a:lnTo>
                    <a:cubicBezTo>
                      <a:pt x="2852" y="870"/>
                      <a:pt x="2852" y="870"/>
                      <a:pt x="2851" y="870"/>
                    </a:cubicBezTo>
                    <a:lnTo>
                      <a:pt x="2800" y="898"/>
                    </a:lnTo>
                    <a:cubicBezTo>
                      <a:pt x="2800" y="899"/>
                      <a:pt x="2799" y="899"/>
                      <a:pt x="2799" y="899"/>
                    </a:cubicBezTo>
                    <a:lnTo>
                      <a:pt x="2742" y="917"/>
                    </a:lnTo>
                    <a:cubicBezTo>
                      <a:pt x="2741" y="917"/>
                      <a:pt x="2741" y="917"/>
                      <a:pt x="2740" y="917"/>
                    </a:cubicBezTo>
                    <a:lnTo>
                      <a:pt x="2679" y="923"/>
                    </a:lnTo>
                    <a:cubicBezTo>
                      <a:pt x="2675" y="924"/>
                      <a:pt x="2671" y="921"/>
                      <a:pt x="2671" y="916"/>
                    </a:cubicBezTo>
                    <a:cubicBezTo>
                      <a:pt x="2670" y="912"/>
                      <a:pt x="2673" y="908"/>
                      <a:pt x="2678" y="908"/>
                    </a:cubicBezTo>
                    <a:close/>
                  </a:path>
                </a:pathLst>
              </a:custGeom>
              <a:solidFill>
                <a:srgbClr val="FFFFFF"/>
              </a:solidFill>
              <a:ln w="0">
                <a:solidFill>
                  <a:srgbClr val="000000"/>
                </a:solidFill>
                <a:round/>
                <a:headEnd/>
                <a:tailEnd/>
              </a:ln>
            </p:spPr>
            <p:txBody>
              <a:bodyPr/>
              <a:lstStyle/>
              <a:p>
                <a:endParaRPr lang="zh-CN" altLang="en-US"/>
              </a:p>
            </p:txBody>
          </p:sp>
          <p:sp>
            <p:nvSpPr>
              <p:cNvPr id="349" name="Rectangle 92">
                <a:extLst>
                  <a:ext uri="{FF2B5EF4-FFF2-40B4-BE49-F238E27FC236}">
                    <a16:creationId xmlns:a16="http://schemas.microsoft.com/office/drawing/2014/main" id="{8E72A1FC-FE87-4BEF-837A-150D1E87AA15}"/>
                  </a:ext>
                </a:extLst>
              </p:cNvPr>
              <p:cNvSpPr>
                <a:spLocks noChangeArrowheads="1"/>
              </p:cNvSpPr>
              <p:nvPr/>
            </p:nvSpPr>
            <p:spPr bwMode="auto">
              <a:xfrm>
                <a:off x="889" y="862"/>
                <a:ext cx="1064" cy="334"/>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50" name="Rectangle 93">
                <a:extLst>
                  <a:ext uri="{FF2B5EF4-FFF2-40B4-BE49-F238E27FC236}">
                    <a16:creationId xmlns:a16="http://schemas.microsoft.com/office/drawing/2014/main" id="{B0AF42F1-27B9-4645-882D-EBC81037C8AD}"/>
                  </a:ext>
                </a:extLst>
              </p:cNvPr>
              <p:cNvSpPr>
                <a:spLocks noChangeArrowheads="1"/>
              </p:cNvSpPr>
              <p:nvPr/>
            </p:nvSpPr>
            <p:spPr bwMode="auto">
              <a:xfrm>
                <a:off x="877" y="845"/>
                <a:ext cx="1064" cy="6"/>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51" name="Rectangle 94">
                <a:extLst>
                  <a:ext uri="{FF2B5EF4-FFF2-40B4-BE49-F238E27FC236}">
                    <a16:creationId xmlns:a16="http://schemas.microsoft.com/office/drawing/2014/main" id="{EFDDCE2A-5A8E-44EB-8AE8-0BD9B4334B9C}"/>
                  </a:ext>
                </a:extLst>
              </p:cNvPr>
              <p:cNvSpPr>
                <a:spLocks noChangeArrowheads="1"/>
              </p:cNvSpPr>
              <p:nvPr/>
            </p:nvSpPr>
            <p:spPr bwMode="auto">
              <a:xfrm>
                <a:off x="877" y="851"/>
                <a:ext cx="1064" cy="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52" name="Rectangle 95">
                <a:extLst>
                  <a:ext uri="{FF2B5EF4-FFF2-40B4-BE49-F238E27FC236}">
                    <a16:creationId xmlns:a16="http://schemas.microsoft.com/office/drawing/2014/main" id="{16449253-94A8-426E-8F71-D9681EBACEAF}"/>
                  </a:ext>
                </a:extLst>
              </p:cNvPr>
              <p:cNvSpPr>
                <a:spLocks noChangeArrowheads="1"/>
              </p:cNvSpPr>
              <p:nvPr/>
            </p:nvSpPr>
            <p:spPr bwMode="auto">
              <a:xfrm>
                <a:off x="877" y="862"/>
                <a:ext cx="1064" cy="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53" name="Rectangle 96">
                <a:extLst>
                  <a:ext uri="{FF2B5EF4-FFF2-40B4-BE49-F238E27FC236}">
                    <a16:creationId xmlns:a16="http://schemas.microsoft.com/office/drawing/2014/main" id="{B4CA1DEC-B2D9-442F-A187-04D586E97931}"/>
                  </a:ext>
                </a:extLst>
              </p:cNvPr>
              <p:cNvSpPr>
                <a:spLocks noChangeArrowheads="1"/>
              </p:cNvSpPr>
              <p:nvPr/>
            </p:nvSpPr>
            <p:spPr bwMode="auto">
              <a:xfrm>
                <a:off x="877" y="885"/>
                <a:ext cx="1064" cy="17"/>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54" name="Rectangle 97">
                <a:extLst>
                  <a:ext uri="{FF2B5EF4-FFF2-40B4-BE49-F238E27FC236}">
                    <a16:creationId xmlns:a16="http://schemas.microsoft.com/office/drawing/2014/main" id="{75870168-83CE-4693-80AD-940E9260780B}"/>
                  </a:ext>
                </a:extLst>
              </p:cNvPr>
              <p:cNvSpPr>
                <a:spLocks noChangeArrowheads="1"/>
              </p:cNvSpPr>
              <p:nvPr/>
            </p:nvSpPr>
            <p:spPr bwMode="auto">
              <a:xfrm>
                <a:off x="877" y="902"/>
                <a:ext cx="1064" cy="22"/>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55" name="Rectangle 98">
                <a:extLst>
                  <a:ext uri="{FF2B5EF4-FFF2-40B4-BE49-F238E27FC236}">
                    <a16:creationId xmlns:a16="http://schemas.microsoft.com/office/drawing/2014/main" id="{FB8671B7-50AB-4E16-82C9-3F3A265F95A4}"/>
                  </a:ext>
                </a:extLst>
              </p:cNvPr>
              <p:cNvSpPr>
                <a:spLocks noChangeArrowheads="1"/>
              </p:cNvSpPr>
              <p:nvPr/>
            </p:nvSpPr>
            <p:spPr bwMode="auto">
              <a:xfrm>
                <a:off x="877" y="924"/>
                <a:ext cx="1064" cy="23"/>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56" name="Rectangle 99">
                <a:extLst>
                  <a:ext uri="{FF2B5EF4-FFF2-40B4-BE49-F238E27FC236}">
                    <a16:creationId xmlns:a16="http://schemas.microsoft.com/office/drawing/2014/main" id="{E4FC16BA-B112-490C-B055-668B46560757}"/>
                  </a:ext>
                </a:extLst>
              </p:cNvPr>
              <p:cNvSpPr>
                <a:spLocks noChangeArrowheads="1"/>
              </p:cNvSpPr>
              <p:nvPr/>
            </p:nvSpPr>
            <p:spPr bwMode="auto">
              <a:xfrm>
                <a:off x="877" y="947"/>
                <a:ext cx="1064" cy="17"/>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57" name="Rectangle 100">
                <a:extLst>
                  <a:ext uri="{FF2B5EF4-FFF2-40B4-BE49-F238E27FC236}">
                    <a16:creationId xmlns:a16="http://schemas.microsoft.com/office/drawing/2014/main" id="{9C621773-DB74-42EC-8A86-2728410D4500}"/>
                  </a:ext>
                </a:extLst>
              </p:cNvPr>
              <p:cNvSpPr>
                <a:spLocks noChangeArrowheads="1"/>
              </p:cNvSpPr>
              <p:nvPr/>
            </p:nvSpPr>
            <p:spPr bwMode="auto">
              <a:xfrm>
                <a:off x="877" y="964"/>
                <a:ext cx="1064" cy="23"/>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58" name="Rectangle 101">
                <a:extLst>
                  <a:ext uri="{FF2B5EF4-FFF2-40B4-BE49-F238E27FC236}">
                    <a16:creationId xmlns:a16="http://schemas.microsoft.com/office/drawing/2014/main" id="{1BE75A7A-BFDD-4D6B-85F1-6A0862838735}"/>
                  </a:ext>
                </a:extLst>
              </p:cNvPr>
              <p:cNvSpPr>
                <a:spLocks noChangeArrowheads="1"/>
              </p:cNvSpPr>
              <p:nvPr/>
            </p:nvSpPr>
            <p:spPr bwMode="auto">
              <a:xfrm>
                <a:off x="877" y="987"/>
                <a:ext cx="1064" cy="39"/>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59" name="Rectangle 102">
                <a:extLst>
                  <a:ext uri="{FF2B5EF4-FFF2-40B4-BE49-F238E27FC236}">
                    <a16:creationId xmlns:a16="http://schemas.microsoft.com/office/drawing/2014/main" id="{C38B10E9-70A3-4B09-B428-B5E20DC1C7A1}"/>
                  </a:ext>
                </a:extLst>
              </p:cNvPr>
              <p:cNvSpPr>
                <a:spLocks noChangeArrowheads="1"/>
              </p:cNvSpPr>
              <p:nvPr/>
            </p:nvSpPr>
            <p:spPr bwMode="auto">
              <a:xfrm>
                <a:off x="877" y="1026"/>
                <a:ext cx="1064" cy="23"/>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60" name="Rectangle 103">
                <a:extLst>
                  <a:ext uri="{FF2B5EF4-FFF2-40B4-BE49-F238E27FC236}">
                    <a16:creationId xmlns:a16="http://schemas.microsoft.com/office/drawing/2014/main" id="{80A8C333-A575-438C-8E22-0AC0CB951F5C}"/>
                  </a:ext>
                </a:extLst>
              </p:cNvPr>
              <p:cNvSpPr>
                <a:spLocks noChangeArrowheads="1"/>
              </p:cNvSpPr>
              <p:nvPr/>
            </p:nvSpPr>
            <p:spPr bwMode="auto">
              <a:xfrm>
                <a:off x="877" y="1049"/>
                <a:ext cx="1064" cy="23"/>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61" name="Rectangle 104">
                <a:extLst>
                  <a:ext uri="{FF2B5EF4-FFF2-40B4-BE49-F238E27FC236}">
                    <a16:creationId xmlns:a16="http://schemas.microsoft.com/office/drawing/2014/main" id="{98D415AA-C525-4A81-8DA1-005B71711C3F}"/>
                  </a:ext>
                </a:extLst>
              </p:cNvPr>
              <p:cNvSpPr>
                <a:spLocks noChangeArrowheads="1"/>
              </p:cNvSpPr>
              <p:nvPr/>
            </p:nvSpPr>
            <p:spPr bwMode="auto">
              <a:xfrm>
                <a:off x="877" y="1072"/>
                <a:ext cx="1064" cy="1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62" name="Rectangle 105">
                <a:extLst>
                  <a:ext uri="{FF2B5EF4-FFF2-40B4-BE49-F238E27FC236}">
                    <a16:creationId xmlns:a16="http://schemas.microsoft.com/office/drawing/2014/main" id="{73104367-43FF-42CA-A7A0-514CD59D21C0}"/>
                  </a:ext>
                </a:extLst>
              </p:cNvPr>
              <p:cNvSpPr>
                <a:spLocks noChangeArrowheads="1"/>
              </p:cNvSpPr>
              <p:nvPr/>
            </p:nvSpPr>
            <p:spPr bwMode="auto">
              <a:xfrm>
                <a:off x="877" y="1089"/>
                <a:ext cx="1064" cy="22"/>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63" name="Rectangle 106">
                <a:extLst>
                  <a:ext uri="{FF2B5EF4-FFF2-40B4-BE49-F238E27FC236}">
                    <a16:creationId xmlns:a16="http://schemas.microsoft.com/office/drawing/2014/main" id="{18341750-E57F-4FEB-884B-761438610ACF}"/>
                  </a:ext>
                </a:extLst>
              </p:cNvPr>
              <p:cNvSpPr>
                <a:spLocks noChangeArrowheads="1"/>
              </p:cNvSpPr>
              <p:nvPr/>
            </p:nvSpPr>
            <p:spPr bwMode="auto">
              <a:xfrm>
                <a:off x="877" y="1111"/>
                <a:ext cx="1064" cy="23"/>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64" name="Rectangle 107">
                <a:extLst>
                  <a:ext uri="{FF2B5EF4-FFF2-40B4-BE49-F238E27FC236}">
                    <a16:creationId xmlns:a16="http://schemas.microsoft.com/office/drawing/2014/main" id="{D640281A-7F64-46EC-9816-81AE0AD49D0D}"/>
                  </a:ext>
                </a:extLst>
              </p:cNvPr>
              <p:cNvSpPr>
                <a:spLocks noChangeArrowheads="1"/>
              </p:cNvSpPr>
              <p:nvPr/>
            </p:nvSpPr>
            <p:spPr bwMode="auto">
              <a:xfrm>
                <a:off x="877" y="1134"/>
                <a:ext cx="1064" cy="17"/>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65" name="Rectangle 108">
                <a:extLst>
                  <a:ext uri="{FF2B5EF4-FFF2-40B4-BE49-F238E27FC236}">
                    <a16:creationId xmlns:a16="http://schemas.microsoft.com/office/drawing/2014/main" id="{7D5C38CE-89DB-4141-8D71-11F9B94F8BB7}"/>
                  </a:ext>
                </a:extLst>
              </p:cNvPr>
              <p:cNvSpPr>
                <a:spLocks noChangeArrowheads="1"/>
              </p:cNvSpPr>
              <p:nvPr/>
            </p:nvSpPr>
            <p:spPr bwMode="auto">
              <a:xfrm>
                <a:off x="877" y="1151"/>
                <a:ext cx="1064" cy="23"/>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66" name="Rectangle 109">
                <a:extLst>
                  <a:ext uri="{FF2B5EF4-FFF2-40B4-BE49-F238E27FC236}">
                    <a16:creationId xmlns:a16="http://schemas.microsoft.com/office/drawing/2014/main" id="{E5F382CD-59A3-4ABC-BBB8-A18A58B6BBF8}"/>
                  </a:ext>
                </a:extLst>
              </p:cNvPr>
              <p:cNvSpPr>
                <a:spLocks noChangeArrowheads="1"/>
              </p:cNvSpPr>
              <p:nvPr/>
            </p:nvSpPr>
            <p:spPr bwMode="auto">
              <a:xfrm>
                <a:off x="877" y="1174"/>
                <a:ext cx="1064" cy="5"/>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67" name="Freeform 110">
                <a:extLst>
                  <a:ext uri="{FF2B5EF4-FFF2-40B4-BE49-F238E27FC236}">
                    <a16:creationId xmlns:a16="http://schemas.microsoft.com/office/drawing/2014/main" id="{04B7E86E-D7E3-4274-9E8C-6B0421D9EBF5}"/>
                  </a:ext>
                </a:extLst>
              </p:cNvPr>
              <p:cNvSpPr>
                <a:spLocks/>
              </p:cNvSpPr>
              <p:nvPr/>
            </p:nvSpPr>
            <p:spPr bwMode="auto">
              <a:xfrm>
                <a:off x="883" y="855"/>
                <a:ext cx="1053" cy="321"/>
              </a:xfrm>
              <a:custGeom>
                <a:avLst/>
                <a:gdLst>
                  <a:gd name="T0" fmla="*/ 0 w 2976"/>
                  <a:gd name="T1" fmla="*/ 0 h 907"/>
                  <a:gd name="T2" fmla="*/ 0 w 2976"/>
                  <a:gd name="T3" fmla="*/ 0 h 907"/>
                  <a:gd name="T4" fmla="*/ 0 w 2976"/>
                  <a:gd name="T5" fmla="*/ 0 h 907"/>
                  <a:gd name="T6" fmla="*/ 0 w 2976"/>
                  <a:gd name="T7" fmla="*/ 0 h 907"/>
                  <a:gd name="T8" fmla="*/ 0 w 2976"/>
                  <a:gd name="T9" fmla="*/ 0 h 907"/>
                  <a:gd name="T10" fmla="*/ 0 w 2976"/>
                  <a:gd name="T11" fmla="*/ 0 h 907"/>
                  <a:gd name="T12" fmla="*/ 0 w 2976"/>
                  <a:gd name="T13" fmla="*/ 0 h 907"/>
                  <a:gd name="T14" fmla="*/ 0 w 2976"/>
                  <a:gd name="T15" fmla="*/ 0 h 907"/>
                  <a:gd name="T16" fmla="*/ 0 w 2976"/>
                  <a:gd name="T17" fmla="*/ 0 h 907"/>
                  <a:gd name="T18" fmla="*/ 0 w 2976"/>
                  <a:gd name="T19" fmla="*/ 0 h 907"/>
                  <a:gd name="T20" fmla="*/ 0 w 2976"/>
                  <a:gd name="T21" fmla="*/ 0 h 907"/>
                  <a:gd name="T22" fmla="*/ 0 w 2976"/>
                  <a:gd name="T23" fmla="*/ 0 h 907"/>
                  <a:gd name="T24" fmla="*/ 0 w 2976"/>
                  <a:gd name="T25" fmla="*/ 0 h 907"/>
                  <a:gd name="T26" fmla="*/ 0 w 2976"/>
                  <a:gd name="T27" fmla="*/ 0 h 907"/>
                  <a:gd name="T28" fmla="*/ 0 w 2976"/>
                  <a:gd name="T29" fmla="*/ 0 h 907"/>
                  <a:gd name="T30" fmla="*/ 0 w 2976"/>
                  <a:gd name="T31" fmla="*/ 0 h 907"/>
                  <a:gd name="T32" fmla="*/ 0 w 2976"/>
                  <a:gd name="T33" fmla="*/ 0 h 90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76"/>
                  <a:gd name="T52" fmla="*/ 0 h 907"/>
                  <a:gd name="T53" fmla="*/ 2976 w 2976"/>
                  <a:gd name="T54" fmla="*/ 907 h 90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76" h="907">
                    <a:moveTo>
                      <a:pt x="2671" y="907"/>
                    </a:moveTo>
                    <a:cubicBezTo>
                      <a:pt x="2838" y="907"/>
                      <a:pt x="2974" y="772"/>
                      <a:pt x="2974" y="605"/>
                    </a:cubicBezTo>
                    <a:lnTo>
                      <a:pt x="2976" y="597"/>
                    </a:lnTo>
                    <a:lnTo>
                      <a:pt x="2976" y="309"/>
                    </a:lnTo>
                    <a:lnTo>
                      <a:pt x="2974" y="302"/>
                    </a:lnTo>
                    <a:cubicBezTo>
                      <a:pt x="2974" y="136"/>
                      <a:pt x="2838" y="0"/>
                      <a:pt x="2671" y="0"/>
                    </a:cubicBezTo>
                    <a:lnTo>
                      <a:pt x="2672" y="5"/>
                    </a:lnTo>
                    <a:lnTo>
                      <a:pt x="304" y="5"/>
                    </a:lnTo>
                    <a:lnTo>
                      <a:pt x="303" y="0"/>
                    </a:lnTo>
                    <a:cubicBezTo>
                      <a:pt x="136" y="0"/>
                      <a:pt x="1" y="136"/>
                      <a:pt x="1" y="302"/>
                    </a:cubicBezTo>
                    <a:lnTo>
                      <a:pt x="0" y="309"/>
                    </a:lnTo>
                    <a:lnTo>
                      <a:pt x="0" y="597"/>
                    </a:lnTo>
                    <a:lnTo>
                      <a:pt x="1" y="605"/>
                    </a:lnTo>
                    <a:cubicBezTo>
                      <a:pt x="1" y="772"/>
                      <a:pt x="136" y="907"/>
                      <a:pt x="303" y="907"/>
                    </a:cubicBezTo>
                    <a:lnTo>
                      <a:pt x="304" y="901"/>
                    </a:lnTo>
                    <a:lnTo>
                      <a:pt x="2672" y="901"/>
                    </a:lnTo>
                    <a:lnTo>
                      <a:pt x="2671" y="907"/>
                    </a:lnTo>
                    <a:close/>
                  </a:path>
                </a:pathLst>
              </a:custGeom>
              <a:noFill/>
              <a:ln w="2" cap="rnd">
                <a:solidFill>
                  <a:srgbClr val="40404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368" name="Rectangle 111">
                <a:extLst>
                  <a:ext uri="{FF2B5EF4-FFF2-40B4-BE49-F238E27FC236}">
                    <a16:creationId xmlns:a16="http://schemas.microsoft.com/office/drawing/2014/main" id="{A1D78B4B-1CE3-4857-9203-801D9A5DFE55}"/>
                  </a:ext>
                </a:extLst>
              </p:cNvPr>
              <p:cNvSpPr>
                <a:spLocks noChangeArrowheads="1"/>
              </p:cNvSpPr>
              <p:nvPr/>
            </p:nvSpPr>
            <p:spPr bwMode="auto">
              <a:xfrm>
                <a:off x="953" y="943"/>
                <a:ext cx="878"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b="1">
                    <a:solidFill>
                      <a:srgbClr val="000000"/>
                    </a:solidFill>
                    <a:latin typeface="微软雅黑" panose="020B0503020204020204" pitchFamily="34" charset="-122"/>
                    <a:ea typeface="宋体" panose="02010600030101010101" pitchFamily="2" charset="-122"/>
                  </a:rPr>
                  <a:t>原料</a:t>
                </a:r>
                <a:r>
                  <a:rPr lang="zh-CN" altLang="en-US" b="1">
                    <a:solidFill>
                      <a:srgbClr val="000000"/>
                    </a:solidFill>
                    <a:latin typeface="微软雅黑" panose="020B0503020204020204" pitchFamily="34" charset="-122"/>
                    <a:ea typeface="宋体" panose="02010600030101010101" pitchFamily="2" charset="-122"/>
                  </a:rPr>
                  <a:t>包材</a:t>
                </a:r>
                <a:r>
                  <a:rPr lang="zh-CN" altLang="zh-CN" b="1">
                    <a:solidFill>
                      <a:srgbClr val="000000"/>
                    </a:solidFill>
                    <a:latin typeface="微软雅黑" panose="020B0503020204020204" pitchFamily="34" charset="-122"/>
                    <a:ea typeface="宋体" panose="02010600030101010101" pitchFamily="2" charset="-122"/>
                  </a:rPr>
                  <a:t>信息</a:t>
                </a:r>
                <a:endParaRPr lang="zh-CN" altLang="zh-CN">
                  <a:ea typeface="宋体" panose="02010600030101010101" pitchFamily="2" charset="-122"/>
                </a:endParaRPr>
              </a:p>
            </p:txBody>
          </p:sp>
          <p:sp>
            <p:nvSpPr>
              <p:cNvPr id="369" name="Rectangle 112">
                <a:extLst>
                  <a:ext uri="{FF2B5EF4-FFF2-40B4-BE49-F238E27FC236}">
                    <a16:creationId xmlns:a16="http://schemas.microsoft.com/office/drawing/2014/main" id="{098BE514-F0EE-4813-A3D8-F15A475C0069}"/>
                  </a:ext>
                </a:extLst>
              </p:cNvPr>
              <p:cNvSpPr>
                <a:spLocks noChangeArrowheads="1"/>
              </p:cNvSpPr>
              <p:nvPr/>
            </p:nvSpPr>
            <p:spPr bwMode="auto">
              <a:xfrm>
                <a:off x="17" y="1820"/>
                <a:ext cx="866" cy="311"/>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70" name="Freeform 113">
                <a:extLst>
                  <a:ext uri="{FF2B5EF4-FFF2-40B4-BE49-F238E27FC236}">
                    <a16:creationId xmlns:a16="http://schemas.microsoft.com/office/drawing/2014/main" id="{87558060-094F-4EE0-AF5D-15AFFE3EAE60}"/>
                  </a:ext>
                </a:extLst>
              </p:cNvPr>
              <p:cNvSpPr>
                <a:spLocks/>
              </p:cNvSpPr>
              <p:nvPr/>
            </p:nvSpPr>
            <p:spPr bwMode="auto">
              <a:xfrm>
                <a:off x="21" y="1824"/>
                <a:ext cx="856" cy="301"/>
              </a:xfrm>
              <a:custGeom>
                <a:avLst/>
                <a:gdLst>
                  <a:gd name="T0" fmla="*/ 0 w 2422"/>
                  <a:gd name="T1" fmla="*/ 0 h 852"/>
                  <a:gd name="T2" fmla="*/ 0 w 2422"/>
                  <a:gd name="T3" fmla="*/ 0 h 852"/>
                  <a:gd name="T4" fmla="*/ 0 w 2422"/>
                  <a:gd name="T5" fmla="*/ 0 h 852"/>
                  <a:gd name="T6" fmla="*/ 0 w 2422"/>
                  <a:gd name="T7" fmla="*/ 0 h 852"/>
                  <a:gd name="T8" fmla="*/ 0 w 2422"/>
                  <a:gd name="T9" fmla="*/ 0 h 852"/>
                  <a:gd name="T10" fmla="*/ 0 w 2422"/>
                  <a:gd name="T11" fmla="*/ 0 h 852"/>
                  <a:gd name="T12" fmla="*/ 0 w 2422"/>
                  <a:gd name="T13" fmla="*/ 0 h 852"/>
                  <a:gd name="T14" fmla="*/ 0 w 2422"/>
                  <a:gd name="T15" fmla="*/ 0 h 852"/>
                  <a:gd name="T16" fmla="*/ 0 w 2422"/>
                  <a:gd name="T17" fmla="*/ 0 h 852"/>
                  <a:gd name="T18" fmla="*/ 0 w 2422"/>
                  <a:gd name="T19" fmla="*/ 0 h 852"/>
                  <a:gd name="T20" fmla="*/ 0 w 2422"/>
                  <a:gd name="T21" fmla="*/ 0 h 852"/>
                  <a:gd name="T22" fmla="*/ 0 w 2422"/>
                  <a:gd name="T23" fmla="*/ 0 h 852"/>
                  <a:gd name="T24" fmla="*/ 0 w 2422"/>
                  <a:gd name="T25" fmla="*/ 0 h 852"/>
                  <a:gd name="T26" fmla="*/ 0 w 2422"/>
                  <a:gd name="T27" fmla="*/ 0 h 852"/>
                  <a:gd name="T28" fmla="*/ 0 w 2422"/>
                  <a:gd name="T29" fmla="*/ 0 h 852"/>
                  <a:gd name="T30" fmla="*/ 0 w 2422"/>
                  <a:gd name="T31" fmla="*/ 0 h 852"/>
                  <a:gd name="T32" fmla="*/ 0 w 2422"/>
                  <a:gd name="T33" fmla="*/ 0 h 85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22"/>
                  <a:gd name="T52" fmla="*/ 0 h 852"/>
                  <a:gd name="T53" fmla="*/ 2422 w 2422"/>
                  <a:gd name="T54" fmla="*/ 852 h 85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22" h="852">
                    <a:moveTo>
                      <a:pt x="2116" y="846"/>
                    </a:moveTo>
                    <a:cubicBezTo>
                      <a:pt x="2283" y="846"/>
                      <a:pt x="2419" y="711"/>
                      <a:pt x="2419" y="544"/>
                    </a:cubicBezTo>
                    <a:lnTo>
                      <a:pt x="2422" y="548"/>
                    </a:lnTo>
                    <a:lnTo>
                      <a:pt x="2422" y="308"/>
                    </a:lnTo>
                    <a:lnTo>
                      <a:pt x="2419" y="302"/>
                    </a:lnTo>
                    <a:cubicBezTo>
                      <a:pt x="2419" y="135"/>
                      <a:pt x="2283" y="0"/>
                      <a:pt x="2116" y="0"/>
                    </a:cubicBezTo>
                    <a:lnTo>
                      <a:pt x="2118" y="4"/>
                    </a:lnTo>
                    <a:lnTo>
                      <a:pt x="294" y="4"/>
                    </a:lnTo>
                    <a:lnTo>
                      <a:pt x="302" y="0"/>
                    </a:lnTo>
                    <a:cubicBezTo>
                      <a:pt x="135" y="0"/>
                      <a:pt x="0" y="135"/>
                      <a:pt x="0" y="302"/>
                    </a:cubicBezTo>
                    <a:lnTo>
                      <a:pt x="6" y="308"/>
                    </a:lnTo>
                    <a:lnTo>
                      <a:pt x="6" y="548"/>
                    </a:lnTo>
                    <a:lnTo>
                      <a:pt x="0" y="544"/>
                    </a:lnTo>
                    <a:cubicBezTo>
                      <a:pt x="0" y="711"/>
                      <a:pt x="135" y="846"/>
                      <a:pt x="302" y="846"/>
                    </a:cubicBezTo>
                    <a:lnTo>
                      <a:pt x="294" y="852"/>
                    </a:lnTo>
                    <a:lnTo>
                      <a:pt x="2118" y="852"/>
                    </a:lnTo>
                    <a:lnTo>
                      <a:pt x="2116" y="846"/>
                    </a:lnTo>
                    <a:close/>
                  </a:path>
                </a:pathLst>
              </a:custGeom>
              <a:solidFill>
                <a:srgbClr val="FFFFFF"/>
              </a:solidFill>
              <a:ln w="0">
                <a:solidFill>
                  <a:srgbClr val="000000"/>
                </a:solidFill>
                <a:round/>
                <a:headEnd/>
                <a:tailEnd/>
              </a:ln>
            </p:spPr>
            <p:txBody>
              <a:bodyPr/>
              <a:lstStyle/>
              <a:p>
                <a:endParaRPr lang="zh-CN" altLang="en-US"/>
              </a:p>
            </p:txBody>
          </p:sp>
          <p:sp>
            <p:nvSpPr>
              <p:cNvPr id="371" name="Rectangle 114">
                <a:extLst>
                  <a:ext uri="{FF2B5EF4-FFF2-40B4-BE49-F238E27FC236}">
                    <a16:creationId xmlns:a16="http://schemas.microsoft.com/office/drawing/2014/main" id="{FA594D20-ADCA-4C3D-ADB5-B35518B38CE4}"/>
                  </a:ext>
                </a:extLst>
              </p:cNvPr>
              <p:cNvSpPr>
                <a:spLocks noChangeArrowheads="1"/>
              </p:cNvSpPr>
              <p:nvPr/>
            </p:nvSpPr>
            <p:spPr bwMode="auto">
              <a:xfrm>
                <a:off x="17" y="1820"/>
                <a:ext cx="866" cy="311"/>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72" name="Rectangle 115">
                <a:extLst>
                  <a:ext uri="{FF2B5EF4-FFF2-40B4-BE49-F238E27FC236}">
                    <a16:creationId xmlns:a16="http://schemas.microsoft.com/office/drawing/2014/main" id="{BFAFA309-5893-437F-BB9D-D3B5340608BB}"/>
                  </a:ext>
                </a:extLst>
              </p:cNvPr>
              <p:cNvSpPr>
                <a:spLocks noChangeArrowheads="1"/>
              </p:cNvSpPr>
              <p:nvPr/>
            </p:nvSpPr>
            <p:spPr bwMode="auto">
              <a:xfrm>
                <a:off x="17" y="1820"/>
                <a:ext cx="872" cy="317"/>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73" name="Freeform 116">
                <a:extLst>
                  <a:ext uri="{FF2B5EF4-FFF2-40B4-BE49-F238E27FC236}">
                    <a16:creationId xmlns:a16="http://schemas.microsoft.com/office/drawing/2014/main" id="{7D85E50E-85E5-47B8-A87A-3CA857DB268B}"/>
                  </a:ext>
                </a:extLst>
              </p:cNvPr>
              <p:cNvSpPr>
                <a:spLocks/>
              </p:cNvSpPr>
              <p:nvPr/>
            </p:nvSpPr>
            <p:spPr bwMode="auto">
              <a:xfrm>
                <a:off x="18" y="1821"/>
                <a:ext cx="862" cy="307"/>
              </a:xfrm>
              <a:custGeom>
                <a:avLst/>
                <a:gdLst>
                  <a:gd name="T0" fmla="*/ 0 w 2438"/>
                  <a:gd name="T1" fmla="*/ 0 h 868"/>
                  <a:gd name="T2" fmla="*/ 0 w 2438"/>
                  <a:gd name="T3" fmla="*/ 0 h 868"/>
                  <a:gd name="T4" fmla="*/ 0 w 2438"/>
                  <a:gd name="T5" fmla="*/ 0 h 868"/>
                  <a:gd name="T6" fmla="*/ 0 w 2438"/>
                  <a:gd name="T7" fmla="*/ 0 h 868"/>
                  <a:gd name="T8" fmla="*/ 0 w 2438"/>
                  <a:gd name="T9" fmla="*/ 0 h 868"/>
                  <a:gd name="T10" fmla="*/ 0 w 2438"/>
                  <a:gd name="T11" fmla="*/ 0 h 868"/>
                  <a:gd name="T12" fmla="*/ 0 w 2438"/>
                  <a:gd name="T13" fmla="*/ 0 h 868"/>
                  <a:gd name="T14" fmla="*/ 0 w 2438"/>
                  <a:gd name="T15" fmla="*/ 0 h 868"/>
                  <a:gd name="T16" fmla="*/ 0 w 2438"/>
                  <a:gd name="T17" fmla="*/ 0 h 868"/>
                  <a:gd name="T18" fmla="*/ 0 w 2438"/>
                  <a:gd name="T19" fmla="*/ 0 h 868"/>
                  <a:gd name="T20" fmla="*/ 0 w 2438"/>
                  <a:gd name="T21" fmla="*/ 0 h 868"/>
                  <a:gd name="T22" fmla="*/ 0 w 2438"/>
                  <a:gd name="T23" fmla="*/ 0 h 868"/>
                  <a:gd name="T24" fmla="*/ 0 w 2438"/>
                  <a:gd name="T25" fmla="*/ 0 h 868"/>
                  <a:gd name="T26" fmla="*/ 0 w 2438"/>
                  <a:gd name="T27" fmla="*/ 0 h 868"/>
                  <a:gd name="T28" fmla="*/ 0 w 2438"/>
                  <a:gd name="T29" fmla="*/ 0 h 868"/>
                  <a:gd name="T30" fmla="*/ 0 w 2438"/>
                  <a:gd name="T31" fmla="*/ 0 h 868"/>
                  <a:gd name="T32" fmla="*/ 0 w 2438"/>
                  <a:gd name="T33" fmla="*/ 0 h 868"/>
                  <a:gd name="T34" fmla="*/ 0 w 2438"/>
                  <a:gd name="T35" fmla="*/ 0 h 868"/>
                  <a:gd name="T36" fmla="*/ 0 w 2438"/>
                  <a:gd name="T37" fmla="*/ 0 h 868"/>
                  <a:gd name="T38" fmla="*/ 0 w 2438"/>
                  <a:gd name="T39" fmla="*/ 0 h 868"/>
                  <a:gd name="T40" fmla="*/ 0 w 2438"/>
                  <a:gd name="T41" fmla="*/ 0 h 868"/>
                  <a:gd name="T42" fmla="*/ 0 w 2438"/>
                  <a:gd name="T43" fmla="*/ 0 h 868"/>
                  <a:gd name="T44" fmla="*/ 0 w 2438"/>
                  <a:gd name="T45" fmla="*/ 0 h 868"/>
                  <a:gd name="T46" fmla="*/ 0 w 2438"/>
                  <a:gd name="T47" fmla="*/ 0 h 868"/>
                  <a:gd name="T48" fmla="*/ 0 w 2438"/>
                  <a:gd name="T49" fmla="*/ 0 h 868"/>
                  <a:gd name="T50" fmla="*/ 0 w 2438"/>
                  <a:gd name="T51" fmla="*/ 0 h 868"/>
                  <a:gd name="T52" fmla="*/ 0 w 2438"/>
                  <a:gd name="T53" fmla="*/ 0 h 868"/>
                  <a:gd name="T54" fmla="*/ 0 w 2438"/>
                  <a:gd name="T55" fmla="*/ 0 h 868"/>
                  <a:gd name="T56" fmla="*/ 0 w 2438"/>
                  <a:gd name="T57" fmla="*/ 0 h 868"/>
                  <a:gd name="T58" fmla="*/ 0 w 2438"/>
                  <a:gd name="T59" fmla="*/ 0 h 868"/>
                  <a:gd name="T60" fmla="*/ 0 w 2438"/>
                  <a:gd name="T61" fmla="*/ 0 h 868"/>
                  <a:gd name="T62" fmla="*/ 0 w 2438"/>
                  <a:gd name="T63" fmla="*/ 0 h 868"/>
                  <a:gd name="T64" fmla="*/ 0 w 2438"/>
                  <a:gd name="T65" fmla="*/ 0 h 868"/>
                  <a:gd name="T66" fmla="*/ 0 w 2438"/>
                  <a:gd name="T67" fmla="*/ 0 h 868"/>
                  <a:gd name="T68" fmla="*/ 0 w 2438"/>
                  <a:gd name="T69" fmla="*/ 0 h 868"/>
                  <a:gd name="T70" fmla="*/ 0 w 2438"/>
                  <a:gd name="T71" fmla="*/ 0 h 868"/>
                  <a:gd name="T72" fmla="*/ 0 w 2438"/>
                  <a:gd name="T73" fmla="*/ 0 h 868"/>
                  <a:gd name="T74" fmla="*/ 0 w 2438"/>
                  <a:gd name="T75" fmla="*/ 0 h 868"/>
                  <a:gd name="T76" fmla="*/ 0 w 2438"/>
                  <a:gd name="T77" fmla="*/ 0 h 868"/>
                  <a:gd name="T78" fmla="*/ 0 w 2438"/>
                  <a:gd name="T79" fmla="*/ 0 h 868"/>
                  <a:gd name="T80" fmla="*/ 0 w 2438"/>
                  <a:gd name="T81" fmla="*/ 0 h 868"/>
                  <a:gd name="T82" fmla="*/ 0 w 2438"/>
                  <a:gd name="T83" fmla="*/ 0 h 868"/>
                  <a:gd name="T84" fmla="*/ 0 w 2438"/>
                  <a:gd name="T85" fmla="*/ 0 h 868"/>
                  <a:gd name="T86" fmla="*/ 0 w 2438"/>
                  <a:gd name="T87" fmla="*/ 0 h 868"/>
                  <a:gd name="T88" fmla="*/ 0 w 2438"/>
                  <a:gd name="T89" fmla="*/ 0 h 868"/>
                  <a:gd name="T90" fmla="*/ 0 w 2438"/>
                  <a:gd name="T91" fmla="*/ 0 h 868"/>
                  <a:gd name="T92" fmla="*/ 0 w 2438"/>
                  <a:gd name="T93" fmla="*/ 0 h 868"/>
                  <a:gd name="T94" fmla="*/ 0 w 2438"/>
                  <a:gd name="T95" fmla="*/ 0 h 868"/>
                  <a:gd name="T96" fmla="*/ 0 w 2438"/>
                  <a:gd name="T97" fmla="*/ 0 h 868"/>
                  <a:gd name="T98" fmla="*/ 0 w 2438"/>
                  <a:gd name="T99" fmla="*/ 0 h 868"/>
                  <a:gd name="T100" fmla="*/ 0 w 2438"/>
                  <a:gd name="T101" fmla="*/ 0 h 868"/>
                  <a:gd name="T102" fmla="*/ 0 w 2438"/>
                  <a:gd name="T103" fmla="*/ 0 h 868"/>
                  <a:gd name="T104" fmla="*/ 0 w 2438"/>
                  <a:gd name="T105" fmla="*/ 0 h 868"/>
                  <a:gd name="T106" fmla="*/ 0 w 2438"/>
                  <a:gd name="T107" fmla="*/ 0 h 868"/>
                  <a:gd name="T108" fmla="*/ 0 w 2438"/>
                  <a:gd name="T109" fmla="*/ 0 h 868"/>
                  <a:gd name="T110" fmla="*/ 0 w 2438"/>
                  <a:gd name="T111" fmla="*/ 0 h 868"/>
                  <a:gd name="T112" fmla="*/ 0 w 2438"/>
                  <a:gd name="T113" fmla="*/ 0 h 868"/>
                  <a:gd name="T114" fmla="*/ 0 w 2438"/>
                  <a:gd name="T115" fmla="*/ 0 h 868"/>
                  <a:gd name="T116" fmla="*/ 0 w 2438"/>
                  <a:gd name="T117" fmla="*/ 0 h 868"/>
                  <a:gd name="T118" fmla="*/ 0 w 2438"/>
                  <a:gd name="T119" fmla="*/ 0 h 868"/>
                  <a:gd name="T120" fmla="*/ 0 w 2438"/>
                  <a:gd name="T121" fmla="*/ 0 h 86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38"/>
                  <a:gd name="T184" fmla="*/ 0 h 868"/>
                  <a:gd name="T185" fmla="*/ 2438 w 2438"/>
                  <a:gd name="T186" fmla="*/ 868 h 86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38" h="868">
                    <a:moveTo>
                      <a:pt x="2124" y="847"/>
                    </a:moveTo>
                    <a:lnTo>
                      <a:pt x="2185" y="841"/>
                    </a:lnTo>
                    <a:lnTo>
                      <a:pt x="2183" y="841"/>
                    </a:lnTo>
                    <a:lnTo>
                      <a:pt x="2240" y="823"/>
                    </a:lnTo>
                    <a:lnTo>
                      <a:pt x="2239" y="823"/>
                    </a:lnTo>
                    <a:lnTo>
                      <a:pt x="2290" y="795"/>
                    </a:lnTo>
                    <a:lnTo>
                      <a:pt x="2288" y="796"/>
                    </a:lnTo>
                    <a:lnTo>
                      <a:pt x="2333" y="760"/>
                    </a:lnTo>
                    <a:lnTo>
                      <a:pt x="2332" y="761"/>
                    </a:lnTo>
                    <a:lnTo>
                      <a:pt x="2369" y="716"/>
                    </a:lnTo>
                    <a:lnTo>
                      <a:pt x="2368" y="718"/>
                    </a:lnTo>
                    <a:lnTo>
                      <a:pt x="2396" y="667"/>
                    </a:lnTo>
                    <a:lnTo>
                      <a:pt x="2396" y="668"/>
                    </a:lnTo>
                    <a:lnTo>
                      <a:pt x="2414" y="611"/>
                    </a:lnTo>
                    <a:lnTo>
                      <a:pt x="2414" y="613"/>
                    </a:lnTo>
                    <a:lnTo>
                      <a:pt x="2420" y="552"/>
                    </a:lnTo>
                    <a:cubicBezTo>
                      <a:pt x="2420" y="548"/>
                      <a:pt x="2422" y="546"/>
                      <a:pt x="2425" y="545"/>
                    </a:cubicBezTo>
                    <a:cubicBezTo>
                      <a:pt x="2428" y="544"/>
                      <a:pt x="2432" y="545"/>
                      <a:pt x="2434" y="548"/>
                    </a:cubicBezTo>
                    <a:lnTo>
                      <a:pt x="2437" y="552"/>
                    </a:lnTo>
                    <a:lnTo>
                      <a:pt x="2422" y="556"/>
                    </a:lnTo>
                    <a:lnTo>
                      <a:pt x="2422" y="316"/>
                    </a:lnTo>
                    <a:lnTo>
                      <a:pt x="2423" y="320"/>
                    </a:lnTo>
                    <a:lnTo>
                      <a:pt x="2420" y="314"/>
                    </a:lnTo>
                    <a:cubicBezTo>
                      <a:pt x="2420" y="313"/>
                      <a:pt x="2420" y="312"/>
                      <a:pt x="2420" y="311"/>
                    </a:cubicBezTo>
                    <a:lnTo>
                      <a:pt x="2414" y="250"/>
                    </a:lnTo>
                    <a:lnTo>
                      <a:pt x="2414" y="252"/>
                    </a:lnTo>
                    <a:lnTo>
                      <a:pt x="2396" y="195"/>
                    </a:lnTo>
                    <a:lnTo>
                      <a:pt x="2396" y="196"/>
                    </a:lnTo>
                    <a:lnTo>
                      <a:pt x="2368" y="145"/>
                    </a:lnTo>
                    <a:lnTo>
                      <a:pt x="2369" y="147"/>
                    </a:lnTo>
                    <a:lnTo>
                      <a:pt x="2332" y="102"/>
                    </a:lnTo>
                    <a:lnTo>
                      <a:pt x="2333" y="103"/>
                    </a:lnTo>
                    <a:lnTo>
                      <a:pt x="2288" y="67"/>
                    </a:lnTo>
                    <a:lnTo>
                      <a:pt x="2290" y="67"/>
                    </a:lnTo>
                    <a:lnTo>
                      <a:pt x="2239" y="39"/>
                    </a:lnTo>
                    <a:lnTo>
                      <a:pt x="2240" y="40"/>
                    </a:lnTo>
                    <a:lnTo>
                      <a:pt x="2183" y="22"/>
                    </a:lnTo>
                    <a:lnTo>
                      <a:pt x="2185" y="22"/>
                    </a:lnTo>
                    <a:lnTo>
                      <a:pt x="2124" y="16"/>
                    </a:lnTo>
                    <a:lnTo>
                      <a:pt x="2132" y="5"/>
                    </a:lnTo>
                    <a:lnTo>
                      <a:pt x="2134" y="9"/>
                    </a:lnTo>
                    <a:cubicBezTo>
                      <a:pt x="2135" y="11"/>
                      <a:pt x="2135" y="14"/>
                      <a:pt x="2133" y="17"/>
                    </a:cubicBezTo>
                    <a:cubicBezTo>
                      <a:pt x="2132" y="19"/>
                      <a:pt x="2129" y="20"/>
                      <a:pt x="2126" y="20"/>
                    </a:cubicBezTo>
                    <a:lnTo>
                      <a:pt x="302" y="20"/>
                    </a:lnTo>
                    <a:cubicBezTo>
                      <a:pt x="299" y="20"/>
                      <a:pt x="296" y="18"/>
                      <a:pt x="295" y="14"/>
                    </a:cubicBezTo>
                    <a:cubicBezTo>
                      <a:pt x="294" y="11"/>
                      <a:pt x="296" y="7"/>
                      <a:pt x="299" y="5"/>
                    </a:cubicBezTo>
                    <a:lnTo>
                      <a:pt x="307" y="1"/>
                    </a:lnTo>
                    <a:lnTo>
                      <a:pt x="311" y="16"/>
                    </a:lnTo>
                    <a:lnTo>
                      <a:pt x="250" y="22"/>
                    </a:lnTo>
                    <a:lnTo>
                      <a:pt x="252" y="22"/>
                    </a:lnTo>
                    <a:lnTo>
                      <a:pt x="195" y="40"/>
                    </a:lnTo>
                    <a:lnTo>
                      <a:pt x="196" y="39"/>
                    </a:lnTo>
                    <a:lnTo>
                      <a:pt x="145" y="67"/>
                    </a:lnTo>
                    <a:lnTo>
                      <a:pt x="146" y="67"/>
                    </a:lnTo>
                    <a:lnTo>
                      <a:pt x="101" y="103"/>
                    </a:lnTo>
                    <a:lnTo>
                      <a:pt x="103" y="101"/>
                    </a:lnTo>
                    <a:lnTo>
                      <a:pt x="67" y="146"/>
                    </a:lnTo>
                    <a:lnTo>
                      <a:pt x="67" y="145"/>
                    </a:lnTo>
                    <a:lnTo>
                      <a:pt x="39" y="196"/>
                    </a:lnTo>
                    <a:lnTo>
                      <a:pt x="40" y="195"/>
                    </a:lnTo>
                    <a:lnTo>
                      <a:pt x="22" y="252"/>
                    </a:lnTo>
                    <a:lnTo>
                      <a:pt x="22" y="250"/>
                    </a:lnTo>
                    <a:lnTo>
                      <a:pt x="16" y="311"/>
                    </a:lnTo>
                    <a:lnTo>
                      <a:pt x="14" y="305"/>
                    </a:lnTo>
                    <a:lnTo>
                      <a:pt x="20" y="311"/>
                    </a:lnTo>
                    <a:cubicBezTo>
                      <a:pt x="22" y="312"/>
                      <a:pt x="22" y="314"/>
                      <a:pt x="22" y="316"/>
                    </a:cubicBezTo>
                    <a:lnTo>
                      <a:pt x="22" y="556"/>
                    </a:lnTo>
                    <a:cubicBezTo>
                      <a:pt x="22" y="559"/>
                      <a:pt x="21" y="562"/>
                      <a:pt x="18" y="564"/>
                    </a:cubicBezTo>
                    <a:cubicBezTo>
                      <a:pt x="16" y="565"/>
                      <a:pt x="12" y="565"/>
                      <a:pt x="10" y="563"/>
                    </a:cubicBezTo>
                    <a:lnTo>
                      <a:pt x="4" y="559"/>
                    </a:lnTo>
                    <a:lnTo>
                      <a:pt x="16" y="552"/>
                    </a:lnTo>
                    <a:lnTo>
                      <a:pt x="22" y="613"/>
                    </a:lnTo>
                    <a:lnTo>
                      <a:pt x="22" y="611"/>
                    </a:lnTo>
                    <a:lnTo>
                      <a:pt x="40" y="668"/>
                    </a:lnTo>
                    <a:lnTo>
                      <a:pt x="39" y="667"/>
                    </a:lnTo>
                    <a:lnTo>
                      <a:pt x="67" y="718"/>
                    </a:lnTo>
                    <a:lnTo>
                      <a:pt x="67" y="716"/>
                    </a:lnTo>
                    <a:lnTo>
                      <a:pt x="103" y="761"/>
                    </a:lnTo>
                    <a:lnTo>
                      <a:pt x="101" y="760"/>
                    </a:lnTo>
                    <a:lnTo>
                      <a:pt x="146" y="796"/>
                    </a:lnTo>
                    <a:lnTo>
                      <a:pt x="145" y="795"/>
                    </a:lnTo>
                    <a:lnTo>
                      <a:pt x="196" y="823"/>
                    </a:lnTo>
                    <a:lnTo>
                      <a:pt x="195" y="823"/>
                    </a:lnTo>
                    <a:lnTo>
                      <a:pt x="252" y="841"/>
                    </a:lnTo>
                    <a:lnTo>
                      <a:pt x="250" y="841"/>
                    </a:lnTo>
                    <a:lnTo>
                      <a:pt x="311" y="847"/>
                    </a:lnTo>
                    <a:cubicBezTo>
                      <a:pt x="315" y="847"/>
                      <a:pt x="317" y="849"/>
                      <a:pt x="318" y="852"/>
                    </a:cubicBezTo>
                    <a:cubicBezTo>
                      <a:pt x="319" y="855"/>
                      <a:pt x="318" y="859"/>
                      <a:pt x="315" y="861"/>
                    </a:cubicBezTo>
                    <a:lnTo>
                      <a:pt x="307" y="867"/>
                    </a:lnTo>
                    <a:lnTo>
                      <a:pt x="302" y="852"/>
                    </a:lnTo>
                    <a:lnTo>
                      <a:pt x="2126" y="852"/>
                    </a:lnTo>
                    <a:cubicBezTo>
                      <a:pt x="2131" y="852"/>
                      <a:pt x="2134" y="856"/>
                      <a:pt x="2134" y="860"/>
                    </a:cubicBezTo>
                    <a:cubicBezTo>
                      <a:pt x="2134" y="865"/>
                      <a:pt x="2131" y="868"/>
                      <a:pt x="2126" y="868"/>
                    </a:cubicBezTo>
                    <a:lnTo>
                      <a:pt x="302" y="868"/>
                    </a:lnTo>
                    <a:cubicBezTo>
                      <a:pt x="299" y="868"/>
                      <a:pt x="296" y="866"/>
                      <a:pt x="295" y="863"/>
                    </a:cubicBezTo>
                    <a:cubicBezTo>
                      <a:pt x="294" y="860"/>
                      <a:pt x="295" y="856"/>
                      <a:pt x="298" y="854"/>
                    </a:cubicBezTo>
                    <a:lnTo>
                      <a:pt x="306" y="848"/>
                    </a:lnTo>
                    <a:lnTo>
                      <a:pt x="310" y="862"/>
                    </a:lnTo>
                    <a:lnTo>
                      <a:pt x="249" y="856"/>
                    </a:lnTo>
                    <a:cubicBezTo>
                      <a:pt x="248" y="856"/>
                      <a:pt x="248" y="856"/>
                      <a:pt x="247" y="856"/>
                    </a:cubicBezTo>
                    <a:lnTo>
                      <a:pt x="190" y="838"/>
                    </a:lnTo>
                    <a:cubicBezTo>
                      <a:pt x="190" y="838"/>
                      <a:pt x="189" y="838"/>
                      <a:pt x="189" y="837"/>
                    </a:cubicBezTo>
                    <a:lnTo>
                      <a:pt x="138" y="809"/>
                    </a:lnTo>
                    <a:cubicBezTo>
                      <a:pt x="137" y="809"/>
                      <a:pt x="137" y="809"/>
                      <a:pt x="136" y="809"/>
                    </a:cubicBezTo>
                    <a:lnTo>
                      <a:pt x="91" y="773"/>
                    </a:lnTo>
                    <a:cubicBezTo>
                      <a:pt x="91" y="772"/>
                      <a:pt x="91" y="772"/>
                      <a:pt x="90" y="771"/>
                    </a:cubicBezTo>
                    <a:lnTo>
                      <a:pt x="54" y="726"/>
                    </a:lnTo>
                    <a:cubicBezTo>
                      <a:pt x="54" y="726"/>
                      <a:pt x="54" y="726"/>
                      <a:pt x="53" y="725"/>
                    </a:cubicBezTo>
                    <a:lnTo>
                      <a:pt x="25" y="674"/>
                    </a:lnTo>
                    <a:cubicBezTo>
                      <a:pt x="25" y="674"/>
                      <a:pt x="25" y="673"/>
                      <a:pt x="25" y="673"/>
                    </a:cubicBezTo>
                    <a:lnTo>
                      <a:pt x="7" y="616"/>
                    </a:lnTo>
                    <a:cubicBezTo>
                      <a:pt x="7" y="615"/>
                      <a:pt x="7" y="615"/>
                      <a:pt x="7" y="614"/>
                    </a:cubicBezTo>
                    <a:lnTo>
                      <a:pt x="1" y="553"/>
                    </a:lnTo>
                    <a:cubicBezTo>
                      <a:pt x="0" y="550"/>
                      <a:pt x="2" y="547"/>
                      <a:pt x="4" y="546"/>
                    </a:cubicBezTo>
                    <a:cubicBezTo>
                      <a:pt x="7" y="544"/>
                      <a:pt x="10" y="544"/>
                      <a:pt x="13" y="546"/>
                    </a:cubicBezTo>
                    <a:lnTo>
                      <a:pt x="19" y="550"/>
                    </a:lnTo>
                    <a:lnTo>
                      <a:pt x="6" y="556"/>
                    </a:lnTo>
                    <a:lnTo>
                      <a:pt x="6" y="316"/>
                    </a:lnTo>
                    <a:lnTo>
                      <a:pt x="9" y="322"/>
                    </a:lnTo>
                    <a:lnTo>
                      <a:pt x="3" y="316"/>
                    </a:lnTo>
                    <a:cubicBezTo>
                      <a:pt x="1" y="314"/>
                      <a:pt x="0" y="312"/>
                      <a:pt x="1" y="310"/>
                    </a:cubicBezTo>
                    <a:lnTo>
                      <a:pt x="7" y="249"/>
                    </a:lnTo>
                    <a:cubicBezTo>
                      <a:pt x="7" y="248"/>
                      <a:pt x="7" y="248"/>
                      <a:pt x="7" y="247"/>
                    </a:cubicBezTo>
                    <a:lnTo>
                      <a:pt x="25" y="190"/>
                    </a:lnTo>
                    <a:cubicBezTo>
                      <a:pt x="25" y="190"/>
                      <a:pt x="25" y="189"/>
                      <a:pt x="25" y="189"/>
                    </a:cubicBezTo>
                    <a:lnTo>
                      <a:pt x="53" y="138"/>
                    </a:lnTo>
                    <a:cubicBezTo>
                      <a:pt x="54" y="137"/>
                      <a:pt x="54" y="137"/>
                      <a:pt x="54" y="136"/>
                    </a:cubicBezTo>
                    <a:lnTo>
                      <a:pt x="90" y="91"/>
                    </a:lnTo>
                    <a:cubicBezTo>
                      <a:pt x="91" y="91"/>
                      <a:pt x="91" y="91"/>
                      <a:pt x="91" y="90"/>
                    </a:cubicBezTo>
                    <a:lnTo>
                      <a:pt x="136" y="54"/>
                    </a:lnTo>
                    <a:cubicBezTo>
                      <a:pt x="137" y="54"/>
                      <a:pt x="137" y="54"/>
                      <a:pt x="138" y="53"/>
                    </a:cubicBezTo>
                    <a:lnTo>
                      <a:pt x="189" y="25"/>
                    </a:lnTo>
                    <a:cubicBezTo>
                      <a:pt x="189" y="25"/>
                      <a:pt x="190" y="25"/>
                      <a:pt x="190" y="25"/>
                    </a:cubicBezTo>
                    <a:lnTo>
                      <a:pt x="247" y="7"/>
                    </a:lnTo>
                    <a:cubicBezTo>
                      <a:pt x="248" y="7"/>
                      <a:pt x="248" y="7"/>
                      <a:pt x="249" y="7"/>
                    </a:cubicBezTo>
                    <a:lnTo>
                      <a:pt x="310" y="1"/>
                    </a:lnTo>
                    <a:cubicBezTo>
                      <a:pt x="314" y="0"/>
                      <a:pt x="317" y="3"/>
                      <a:pt x="318" y="6"/>
                    </a:cubicBezTo>
                    <a:cubicBezTo>
                      <a:pt x="319" y="10"/>
                      <a:pt x="317" y="14"/>
                      <a:pt x="314" y="16"/>
                    </a:cubicBezTo>
                    <a:lnTo>
                      <a:pt x="306" y="20"/>
                    </a:lnTo>
                    <a:lnTo>
                      <a:pt x="302" y="4"/>
                    </a:lnTo>
                    <a:lnTo>
                      <a:pt x="2126" y="4"/>
                    </a:lnTo>
                    <a:lnTo>
                      <a:pt x="2119" y="16"/>
                    </a:lnTo>
                    <a:lnTo>
                      <a:pt x="2117" y="12"/>
                    </a:lnTo>
                    <a:cubicBezTo>
                      <a:pt x="2116" y="9"/>
                      <a:pt x="2116" y="6"/>
                      <a:pt x="2118" y="4"/>
                    </a:cubicBezTo>
                    <a:cubicBezTo>
                      <a:pt x="2120" y="2"/>
                      <a:pt x="2122" y="0"/>
                      <a:pt x="2125" y="1"/>
                    </a:cubicBezTo>
                    <a:lnTo>
                      <a:pt x="2186" y="7"/>
                    </a:lnTo>
                    <a:cubicBezTo>
                      <a:pt x="2187" y="7"/>
                      <a:pt x="2187" y="7"/>
                      <a:pt x="2188" y="7"/>
                    </a:cubicBezTo>
                    <a:lnTo>
                      <a:pt x="2245" y="25"/>
                    </a:lnTo>
                    <a:cubicBezTo>
                      <a:pt x="2245" y="25"/>
                      <a:pt x="2246" y="25"/>
                      <a:pt x="2246" y="25"/>
                    </a:cubicBezTo>
                    <a:lnTo>
                      <a:pt x="2297" y="53"/>
                    </a:lnTo>
                    <a:cubicBezTo>
                      <a:pt x="2298" y="54"/>
                      <a:pt x="2298" y="54"/>
                      <a:pt x="2298" y="54"/>
                    </a:cubicBezTo>
                    <a:lnTo>
                      <a:pt x="2343" y="90"/>
                    </a:lnTo>
                    <a:cubicBezTo>
                      <a:pt x="2344" y="91"/>
                      <a:pt x="2344" y="91"/>
                      <a:pt x="2345" y="91"/>
                    </a:cubicBezTo>
                    <a:lnTo>
                      <a:pt x="2382" y="136"/>
                    </a:lnTo>
                    <a:cubicBezTo>
                      <a:pt x="2382" y="137"/>
                      <a:pt x="2382" y="137"/>
                      <a:pt x="2382" y="138"/>
                    </a:cubicBezTo>
                    <a:lnTo>
                      <a:pt x="2410" y="189"/>
                    </a:lnTo>
                    <a:cubicBezTo>
                      <a:pt x="2411" y="189"/>
                      <a:pt x="2411" y="190"/>
                      <a:pt x="2411" y="190"/>
                    </a:cubicBezTo>
                    <a:lnTo>
                      <a:pt x="2429" y="247"/>
                    </a:lnTo>
                    <a:cubicBezTo>
                      <a:pt x="2429" y="248"/>
                      <a:pt x="2429" y="248"/>
                      <a:pt x="2429" y="249"/>
                    </a:cubicBezTo>
                    <a:lnTo>
                      <a:pt x="2435" y="310"/>
                    </a:lnTo>
                    <a:lnTo>
                      <a:pt x="2435" y="307"/>
                    </a:lnTo>
                    <a:lnTo>
                      <a:pt x="2438" y="313"/>
                    </a:lnTo>
                    <a:cubicBezTo>
                      <a:pt x="2438" y="314"/>
                      <a:pt x="2438" y="315"/>
                      <a:pt x="2438" y="316"/>
                    </a:cubicBezTo>
                    <a:lnTo>
                      <a:pt x="2438" y="556"/>
                    </a:lnTo>
                    <a:cubicBezTo>
                      <a:pt x="2438" y="560"/>
                      <a:pt x="2436" y="563"/>
                      <a:pt x="2433" y="564"/>
                    </a:cubicBezTo>
                    <a:cubicBezTo>
                      <a:pt x="2430" y="565"/>
                      <a:pt x="2426" y="564"/>
                      <a:pt x="2424" y="561"/>
                    </a:cubicBezTo>
                    <a:lnTo>
                      <a:pt x="2421" y="557"/>
                    </a:lnTo>
                    <a:lnTo>
                      <a:pt x="2435" y="553"/>
                    </a:lnTo>
                    <a:lnTo>
                      <a:pt x="2429" y="614"/>
                    </a:lnTo>
                    <a:cubicBezTo>
                      <a:pt x="2429" y="615"/>
                      <a:pt x="2429" y="615"/>
                      <a:pt x="2429" y="616"/>
                    </a:cubicBezTo>
                    <a:lnTo>
                      <a:pt x="2411" y="673"/>
                    </a:lnTo>
                    <a:cubicBezTo>
                      <a:pt x="2411" y="673"/>
                      <a:pt x="2411" y="674"/>
                      <a:pt x="2410" y="674"/>
                    </a:cubicBezTo>
                    <a:lnTo>
                      <a:pt x="2382" y="725"/>
                    </a:lnTo>
                    <a:cubicBezTo>
                      <a:pt x="2382" y="726"/>
                      <a:pt x="2382" y="726"/>
                      <a:pt x="2382" y="727"/>
                    </a:cubicBezTo>
                    <a:lnTo>
                      <a:pt x="2345" y="772"/>
                    </a:lnTo>
                    <a:cubicBezTo>
                      <a:pt x="2344" y="772"/>
                      <a:pt x="2344" y="772"/>
                      <a:pt x="2343" y="773"/>
                    </a:cubicBezTo>
                    <a:lnTo>
                      <a:pt x="2298" y="809"/>
                    </a:lnTo>
                    <a:cubicBezTo>
                      <a:pt x="2298" y="809"/>
                      <a:pt x="2298" y="809"/>
                      <a:pt x="2297" y="809"/>
                    </a:cubicBezTo>
                    <a:lnTo>
                      <a:pt x="2246" y="837"/>
                    </a:lnTo>
                    <a:cubicBezTo>
                      <a:pt x="2246" y="838"/>
                      <a:pt x="2245" y="838"/>
                      <a:pt x="2245" y="838"/>
                    </a:cubicBezTo>
                    <a:lnTo>
                      <a:pt x="2188" y="856"/>
                    </a:lnTo>
                    <a:cubicBezTo>
                      <a:pt x="2187" y="856"/>
                      <a:pt x="2187" y="856"/>
                      <a:pt x="2186" y="856"/>
                    </a:cubicBezTo>
                    <a:lnTo>
                      <a:pt x="2125" y="862"/>
                    </a:lnTo>
                    <a:cubicBezTo>
                      <a:pt x="2121" y="863"/>
                      <a:pt x="2117" y="860"/>
                      <a:pt x="2117" y="855"/>
                    </a:cubicBezTo>
                    <a:cubicBezTo>
                      <a:pt x="2116" y="851"/>
                      <a:pt x="2119" y="847"/>
                      <a:pt x="2124" y="847"/>
                    </a:cubicBezTo>
                    <a:close/>
                  </a:path>
                </a:pathLst>
              </a:custGeom>
              <a:solidFill>
                <a:srgbClr val="FFFFFF"/>
              </a:solidFill>
              <a:ln w="0">
                <a:solidFill>
                  <a:srgbClr val="000000"/>
                </a:solidFill>
                <a:round/>
                <a:headEnd/>
                <a:tailEnd/>
              </a:ln>
            </p:spPr>
            <p:txBody>
              <a:bodyPr/>
              <a:lstStyle/>
              <a:p>
                <a:endParaRPr lang="zh-CN" altLang="en-US"/>
              </a:p>
            </p:txBody>
          </p:sp>
          <p:sp>
            <p:nvSpPr>
              <p:cNvPr id="374" name="Rectangle 117">
                <a:extLst>
                  <a:ext uri="{FF2B5EF4-FFF2-40B4-BE49-F238E27FC236}">
                    <a16:creationId xmlns:a16="http://schemas.microsoft.com/office/drawing/2014/main" id="{353A8B5C-C88F-460A-BBCF-72E9E7EB4BD5}"/>
                  </a:ext>
                </a:extLst>
              </p:cNvPr>
              <p:cNvSpPr>
                <a:spLocks noChangeArrowheads="1"/>
              </p:cNvSpPr>
              <p:nvPr/>
            </p:nvSpPr>
            <p:spPr bwMode="auto">
              <a:xfrm>
                <a:off x="17" y="1820"/>
                <a:ext cx="872" cy="317"/>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75" name="Rectangle 118">
                <a:extLst>
                  <a:ext uri="{FF2B5EF4-FFF2-40B4-BE49-F238E27FC236}">
                    <a16:creationId xmlns:a16="http://schemas.microsoft.com/office/drawing/2014/main" id="{1B71543C-6D96-4F90-88AD-91FCF32964CC}"/>
                  </a:ext>
                </a:extLst>
              </p:cNvPr>
              <p:cNvSpPr>
                <a:spLocks noChangeArrowheads="1"/>
              </p:cNvSpPr>
              <p:nvPr/>
            </p:nvSpPr>
            <p:spPr bwMode="auto">
              <a:xfrm>
                <a:off x="0" y="1803"/>
                <a:ext cx="872" cy="5"/>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76" name="Rectangle 119">
                <a:extLst>
                  <a:ext uri="{FF2B5EF4-FFF2-40B4-BE49-F238E27FC236}">
                    <a16:creationId xmlns:a16="http://schemas.microsoft.com/office/drawing/2014/main" id="{4CA85068-F0E6-4213-84A5-F99583B76D3C}"/>
                  </a:ext>
                </a:extLst>
              </p:cNvPr>
              <p:cNvSpPr>
                <a:spLocks noChangeArrowheads="1"/>
              </p:cNvSpPr>
              <p:nvPr/>
            </p:nvSpPr>
            <p:spPr bwMode="auto">
              <a:xfrm>
                <a:off x="0" y="1808"/>
                <a:ext cx="872"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77" name="Rectangle 120">
                <a:extLst>
                  <a:ext uri="{FF2B5EF4-FFF2-40B4-BE49-F238E27FC236}">
                    <a16:creationId xmlns:a16="http://schemas.microsoft.com/office/drawing/2014/main" id="{4B983764-EB37-4E83-8E49-181A58EA403A}"/>
                  </a:ext>
                </a:extLst>
              </p:cNvPr>
              <p:cNvSpPr>
                <a:spLocks noChangeArrowheads="1"/>
              </p:cNvSpPr>
              <p:nvPr/>
            </p:nvSpPr>
            <p:spPr bwMode="auto">
              <a:xfrm>
                <a:off x="0" y="1820"/>
                <a:ext cx="872" cy="1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78" name="Rectangle 121">
                <a:extLst>
                  <a:ext uri="{FF2B5EF4-FFF2-40B4-BE49-F238E27FC236}">
                    <a16:creationId xmlns:a16="http://schemas.microsoft.com/office/drawing/2014/main" id="{1F69A8A3-8E3F-43EC-8B1B-39FAA85D677E}"/>
                  </a:ext>
                </a:extLst>
              </p:cNvPr>
              <p:cNvSpPr>
                <a:spLocks noChangeArrowheads="1"/>
              </p:cNvSpPr>
              <p:nvPr/>
            </p:nvSpPr>
            <p:spPr bwMode="auto">
              <a:xfrm>
                <a:off x="0" y="1837"/>
                <a:ext cx="872" cy="22"/>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79" name="Rectangle 122">
                <a:extLst>
                  <a:ext uri="{FF2B5EF4-FFF2-40B4-BE49-F238E27FC236}">
                    <a16:creationId xmlns:a16="http://schemas.microsoft.com/office/drawing/2014/main" id="{054E3879-3A35-46A6-BEB4-F68D31B986D4}"/>
                  </a:ext>
                </a:extLst>
              </p:cNvPr>
              <p:cNvSpPr>
                <a:spLocks noChangeArrowheads="1"/>
              </p:cNvSpPr>
              <p:nvPr/>
            </p:nvSpPr>
            <p:spPr bwMode="auto">
              <a:xfrm>
                <a:off x="0" y="1859"/>
                <a:ext cx="872" cy="17"/>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80" name="Rectangle 123">
                <a:extLst>
                  <a:ext uri="{FF2B5EF4-FFF2-40B4-BE49-F238E27FC236}">
                    <a16:creationId xmlns:a16="http://schemas.microsoft.com/office/drawing/2014/main" id="{FE9C7859-993B-4D2B-8E5E-5BA5E88A5D08}"/>
                  </a:ext>
                </a:extLst>
              </p:cNvPr>
              <p:cNvSpPr>
                <a:spLocks noChangeArrowheads="1"/>
              </p:cNvSpPr>
              <p:nvPr/>
            </p:nvSpPr>
            <p:spPr bwMode="auto">
              <a:xfrm>
                <a:off x="0" y="1876"/>
                <a:ext cx="872" cy="23"/>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81" name="Rectangle 124">
                <a:extLst>
                  <a:ext uri="{FF2B5EF4-FFF2-40B4-BE49-F238E27FC236}">
                    <a16:creationId xmlns:a16="http://schemas.microsoft.com/office/drawing/2014/main" id="{69AC93AC-6FB4-485E-A4B0-C37CE1149303}"/>
                  </a:ext>
                </a:extLst>
              </p:cNvPr>
              <p:cNvSpPr>
                <a:spLocks noChangeArrowheads="1"/>
              </p:cNvSpPr>
              <p:nvPr/>
            </p:nvSpPr>
            <p:spPr bwMode="auto">
              <a:xfrm>
                <a:off x="0" y="1899"/>
                <a:ext cx="872" cy="17"/>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82" name="Rectangle 125">
                <a:extLst>
                  <a:ext uri="{FF2B5EF4-FFF2-40B4-BE49-F238E27FC236}">
                    <a16:creationId xmlns:a16="http://schemas.microsoft.com/office/drawing/2014/main" id="{3C00F5B5-D1F0-4A02-9704-B63AA29C8AD7}"/>
                  </a:ext>
                </a:extLst>
              </p:cNvPr>
              <p:cNvSpPr>
                <a:spLocks noChangeArrowheads="1"/>
              </p:cNvSpPr>
              <p:nvPr/>
            </p:nvSpPr>
            <p:spPr bwMode="auto">
              <a:xfrm>
                <a:off x="0" y="1916"/>
                <a:ext cx="872" cy="22"/>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83" name="Rectangle 126">
                <a:extLst>
                  <a:ext uri="{FF2B5EF4-FFF2-40B4-BE49-F238E27FC236}">
                    <a16:creationId xmlns:a16="http://schemas.microsoft.com/office/drawing/2014/main" id="{A7E0CBB8-693E-4614-BA76-8E0C55A37C62}"/>
                  </a:ext>
                </a:extLst>
              </p:cNvPr>
              <p:cNvSpPr>
                <a:spLocks noChangeArrowheads="1"/>
              </p:cNvSpPr>
              <p:nvPr/>
            </p:nvSpPr>
            <p:spPr bwMode="auto">
              <a:xfrm>
                <a:off x="0" y="1938"/>
                <a:ext cx="872" cy="34"/>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84" name="Rectangle 127">
                <a:extLst>
                  <a:ext uri="{FF2B5EF4-FFF2-40B4-BE49-F238E27FC236}">
                    <a16:creationId xmlns:a16="http://schemas.microsoft.com/office/drawing/2014/main" id="{43090C86-7D2A-4478-9907-56F68BC1CF16}"/>
                  </a:ext>
                </a:extLst>
              </p:cNvPr>
              <p:cNvSpPr>
                <a:spLocks noChangeArrowheads="1"/>
              </p:cNvSpPr>
              <p:nvPr/>
            </p:nvSpPr>
            <p:spPr bwMode="auto">
              <a:xfrm>
                <a:off x="0" y="1972"/>
                <a:ext cx="872" cy="23"/>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85" name="Rectangle 128">
                <a:extLst>
                  <a:ext uri="{FF2B5EF4-FFF2-40B4-BE49-F238E27FC236}">
                    <a16:creationId xmlns:a16="http://schemas.microsoft.com/office/drawing/2014/main" id="{BD4F18B8-86C4-4901-AA98-6FFF76F6F0FE}"/>
                  </a:ext>
                </a:extLst>
              </p:cNvPr>
              <p:cNvSpPr>
                <a:spLocks noChangeArrowheads="1"/>
              </p:cNvSpPr>
              <p:nvPr/>
            </p:nvSpPr>
            <p:spPr bwMode="auto">
              <a:xfrm>
                <a:off x="0" y="1995"/>
                <a:ext cx="872" cy="17"/>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86" name="Rectangle 129">
                <a:extLst>
                  <a:ext uri="{FF2B5EF4-FFF2-40B4-BE49-F238E27FC236}">
                    <a16:creationId xmlns:a16="http://schemas.microsoft.com/office/drawing/2014/main" id="{CED3A3B8-F365-4C81-9449-F16C0256D47A}"/>
                  </a:ext>
                </a:extLst>
              </p:cNvPr>
              <p:cNvSpPr>
                <a:spLocks noChangeArrowheads="1"/>
              </p:cNvSpPr>
              <p:nvPr/>
            </p:nvSpPr>
            <p:spPr bwMode="auto">
              <a:xfrm>
                <a:off x="0" y="2012"/>
                <a:ext cx="872" cy="2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87" name="Rectangle 130">
                <a:extLst>
                  <a:ext uri="{FF2B5EF4-FFF2-40B4-BE49-F238E27FC236}">
                    <a16:creationId xmlns:a16="http://schemas.microsoft.com/office/drawing/2014/main" id="{C35EC7BC-4140-40B3-9729-2E139E3295BF}"/>
                  </a:ext>
                </a:extLst>
              </p:cNvPr>
              <p:cNvSpPr>
                <a:spLocks noChangeArrowheads="1"/>
              </p:cNvSpPr>
              <p:nvPr/>
            </p:nvSpPr>
            <p:spPr bwMode="auto">
              <a:xfrm>
                <a:off x="0" y="2035"/>
                <a:ext cx="872" cy="17"/>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88" name="Rectangle 131">
                <a:extLst>
                  <a:ext uri="{FF2B5EF4-FFF2-40B4-BE49-F238E27FC236}">
                    <a16:creationId xmlns:a16="http://schemas.microsoft.com/office/drawing/2014/main" id="{FDD16E83-2609-40CE-950C-42358D0CC609}"/>
                  </a:ext>
                </a:extLst>
              </p:cNvPr>
              <p:cNvSpPr>
                <a:spLocks noChangeArrowheads="1"/>
              </p:cNvSpPr>
              <p:nvPr/>
            </p:nvSpPr>
            <p:spPr bwMode="auto">
              <a:xfrm>
                <a:off x="0" y="2052"/>
                <a:ext cx="872" cy="22"/>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89" name="Rectangle 132">
                <a:extLst>
                  <a:ext uri="{FF2B5EF4-FFF2-40B4-BE49-F238E27FC236}">
                    <a16:creationId xmlns:a16="http://schemas.microsoft.com/office/drawing/2014/main" id="{90464B3F-0A6A-4443-BCAD-9981309D47BD}"/>
                  </a:ext>
                </a:extLst>
              </p:cNvPr>
              <p:cNvSpPr>
                <a:spLocks noChangeArrowheads="1"/>
              </p:cNvSpPr>
              <p:nvPr/>
            </p:nvSpPr>
            <p:spPr bwMode="auto">
              <a:xfrm>
                <a:off x="0" y="2074"/>
                <a:ext cx="872" cy="17"/>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90" name="Rectangle 133">
                <a:extLst>
                  <a:ext uri="{FF2B5EF4-FFF2-40B4-BE49-F238E27FC236}">
                    <a16:creationId xmlns:a16="http://schemas.microsoft.com/office/drawing/2014/main" id="{74D1D179-EB09-4A5C-9021-A57E756DA932}"/>
                  </a:ext>
                </a:extLst>
              </p:cNvPr>
              <p:cNvSpPr>
                <a:spLocks noChangeArrowheads="1"/>
              </p:cNvSpPr>
              <p:nvPr/>
            </p:nvSpPr>
            <p:spPr bwMode="auto">
              <a:xfrm>
                <a:off x="0" y="2091"/>
                <a:ext cx="872" cy="17"/>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91" name="Rectangle 134">
                <a:extLst>
                  <a:ext uri="{FF2B5EF4-FFF2-40B4-BE49-F238E27FC236}">
                    <a16:creationId xmlns:a16="http://schemas.microsoft.com/office/drawing/2014/main" id="{6761FBDF-4679-4565-A374-AD7A028BD150}"/>
                  </a:ext>
                </a:extLst>
              </p:cNvPr>
              <p:cNvSpPr>
                <a:spLocks noChangeArrowheads="1"/>
              </p:cNvSpPr>
              <p:nvPr/>
            </p:nvSpPr>
            <p:spPr bwMode="auto">
              <a:xfrm>
                <a:off x="0" y="2108"/>
                <a:ext cx="872" cy="6"/>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92" name="Freeform 135">
                <a:extLst>
                  <a:ext uri="{FF2B5EF4-FFF2-40B4-BE49-F238E27FC236}">
                    <a16:creationId xmlns:a16="http://schemas.microsoft.com/office/drawing/2014/main" id="{EE17325D-7FDD-4C53-9BBC-70F5D46D553B}"/>
                  </a:ext>
                </a:extLst>
              </p:cNvPr>
              <p:cNvSpPr>
                <a:spLocks/>
              </p:cNvSpPr>
              <p:nvPr/>
            </p:nvSpPr>
            <p:spPr bwMode="auto">
              <a:xfrm>
                <a:off x="10" y="1813"/>
                <a:ext cx="856" cy="301"/>
              </a:xfrm>
              <a:custGeom>
                <a:avLst/>
                <a:gdLst>
                  <a:gd name="T0" fmla="*/ 0 w 2421"/>
                  <a:gd name="T1" fmla="*/ 0 h 851"/>
                  <a:gd name="T2" fmla="*/ 0 w 2421"/>
                  <a:gd name="T3" fmla="*/ 0 h 851"/>
                  <a:gd name="T4" fmla="*/ 0 w 2421"/>
                  <a:gd name="T5" fmla="*/ 0 h 851"/>
                  <a:gd name="T6" fmla="*/ 0 w 2421"/>
                  <a:gd name="T7" fmla="*/ 0 h 851"/>
                  <a:gd name="T8" fmla="*/ 0 w 2421"/>
                  <a:gd name="T9" fmla="*/ 0 h 851"/>
                  <a:gd name="T10" fmla="*/ 0 w 2421"/>
                  <a:gd name="T11" fmla="*/ 0 h 851"/>
                  <a:gd name="T12" fmla="*/ 0 w 2421"/>
                  <a:gd name="T13" fmla="*/ 0 h 851"/>
                  <a:gd name="T14" fmla="*/ 0 w 2421"/>
                  <a:gd name="T15" fmla="*/ 0 h 851"/>
                  <a:gd name="T16" fmla="*/ 0 w 2421"/>
                  <a:gd name="T17" fmla="*/ 0 h 851"/>
                  <a:gd name="T18" fmla="*/ 0 w 2421"/>
                  <a:gd name="T19" fmla="*/ 0 h 851"/>
                  <a:gd name="T20" fmla="*/ 0 w 2421"/>
                  <a:gd name="T21" fmla="*/ 0 h 851"/>
                  <a:gd name="T22" fmla="*/ 0 w 2421"/>
                  <a:gd name="T23" fmla="*/ 0 h 851"/>
                  <a:gd name="T24" fmla="*/ 0 w 2421"/>
                  <a:gd name="T25" fmla="*/ 0 h 851"/>
                  <a:gd name="T26" fmla="*/ 0 w 2421"/>
                  <a:gd name="T27" fmla="*/ 0 h 851"/>
                  <a:gd name="T28" fmla="*/ 0 w 2421"/>
                  <a:gd name="T29" fmla="*/ 0 h 851"/>
                  <a:gd name="T30" fmla="*/ 0 w 2421"/>
                  <a:gd name="T31" fmla="*/ 0 h 851"/>
                  <a:gd name="T32" fmla="*/ 0 w 2421"/>
                  <a:gd name="T33" fmla="*/ 0 h 8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21"/>
                  <a:gd name="T52" fmla="*/ 0 h 851"/>
                  <a:gd name="T53" fmla="*/ 2421 w 2421"/>
                  <a:gd name="T54" fmla="*/ 851 h 85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21" h="851">
                    <a:moveTo>
                      <a:pt x="2117" y="847"/>
                    </a:moveTo>
                    <a:cubicBezTo>
                      <a:pt x="2284" y="847"/>
                      <a:pt x="2419" y="711"/>
                      <a:pt x="2419" y="544"/>
                    </a:cubicBezTo>
                    <a:lnTo>
                      <a:pt x="2421" y="547"/>
                    </a:lnTo>
                    <a:lnTo>
                      <a:pt x="2421" y="307"/>
                    </a:lnTo>
                    <a:lnTo>
                      <a:pt x="2419" y="302"/>
                    </a:lnTo>
                    <a:cubicBezTo>
                      <a:pt x="2419" y="135"/>
                      <a:pt x="2284" y="0"/>
                      <a:pt x="2117" y="0"/>
                    </a:cubicBezTo>
                    <a:lnTo>
                      <a:pt x="2117" y="3"/>
                    </a:lnTo>
                    <a:lnTo>
                      <a:pt x="309" y="3"/>
                    </a:lnTo>
                    <a:lnTo>
                      <a:pt x="302" y="0"/>
                    </a:lnTo>
                    <a:cubicBezTo>
                      <a:pt x="136" y="0"/>
                      <a:pt x="0" y="135"/>
                      <a:pt x="0" y="302"/>
                    </a:cubicBezTo>
                    <a:lnTo>
                      <a:pt x="5" y="307"/>
                    </a:lnTo>
                    <a:lnTo>
                      <a:pt x="5" y="547"/>
                    </a:lnTo>
                    <a:lnTo>
                      <a:pt x="0" y="544"/>
                    </a:lnTo>
                    <a:cubicBezTo>
                      <a:pt x="0" y="711"/>
                      <a:pt x="136" y="847"/>
                      <a:pt x="302" y="847"/>
                    </a:cubicBezTo>
                    <a:lnTo>
                      <a:pt x="309" y="851"/>
                    </a:lnTo>
                    <a:lnTo>
                      <a:pt x="2117" y="851"/>
                    </a:lnTo>
                    <a:lnTo>
                      <a:pt x="2117" y="847"/>
                    </a:lnTo>
                    <a:close/>
                  </a:path>
                </a:pathLst>
              </a:custGeom>
              <a:noFill/>
              <a:ln w="2" cap="rnd">
                <a:solidFill>
                  <a:srgbClr val="40404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393" name="Rectangle 136">
                <a:extLst>
                  <a:ext uri="{FF2B5EF4-FFF2-40B4-BE49-F238E27FC236}">
                    <a16:creationId xmlns:a16="http://schemas.microsoft.com/office/drawing/2014/main" id="{8A5292A3-D58B-4D8B-A98B-1D275D825C1A}"/>
                  </a:ext>
                </a:extLst>
              </p:cNvPr>
              <p:cNvSpPr>
                <a:spLocks noChangeArrowheads="1"/>
              </p:cNvSpPr>
              <p:nvPr/>
            </p:nvSpPr>
            <p:spPr bwMode="auto">
              <a:xfrm>
                <a:off x="74" y="1825"/>
                <a:ext cx="747"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en-US" sz="2300" b="1">
                    <a:solidFill>
                      <a:srgbClr val="000000"/>
                    </a:solidFill>
                    <a:latin typeface="微软雅黑" panose="020B0503020204020204" pitchFamily="34" charset="-122"/>
                    <a:ea typeface="宋体" panose="02010600030101010101" pitchFamily="2" charset="-122"/>
                  </a:rPr>
                  <a:t>批次</a:t>
                </a:r>
                <a:r>
                  <a:rPr lang="zh-CN" altLang="zh-CN" sz="2300" b="1">
                    <a:solidFill>
                      <a:srgbClr val="000000"/>
                    </a:solidFill>
                    <a:latin typeface="微软雅黑" panose="020B0503020204020204" pitchFamily="34" charset="-122"/>
                    <a:ea typeface="宋体" panose="02010600030101010101" pitchFamily="2" charset="-122"/>
                  </a:rPr>
                  <a:t>信息</a:t>
                </a:r>
                <a:endParaRPr lang="zh-CN" altLang="zh-CN">
                  <a:ea typeface="宋体" panose="02010600030101010101" pitchFamily="2" charset="-122"/>
                </a:endParaRPr>
              </a:p>
            </p:txBody>
          </p:sp>
          <p:sp>
            <p:nvSpPr>
              <p:cNvPr id="394" name="Rectangle 137">
                <a:extLst>
                  <a:ext uri="{FF2B5EF4-FFF2-40B4-BE49-F238E27FC236}">
                    <a16:creationId xmlns:a16="http://schemas.microsoft.com/office/drawing/2014/main" id="{96A9ADDE-ABFC-4AA4-AF02-43BD1FA4E100}"/>
                  </a:ext>
                </a:extLst>
              </p:cNvPr>
              <p:cNvSpPr>
                <a:spLocks noChangeArrowheads="1"/>
              </p:cNvSpPr>
              <p:nvPr/>
            </p:nvSpPr>
            <p:spPr bwMode="auto">
              <a:xfrm>
                <a:off x="555" y="3497"/>
                <a:ext cx="866" cy="311"/>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95" name="Freeform 138">
                <a:extLst>
                  <a:ext uri="{FF2B5EF4-FFF2-40B4-BE49-F238E27FC236}">
                    <a16:creationId xmlns:a16="http://schemas.microsoft.com/office/drawing/2014/main" id="{2FED9925-1A41-4A98-A69C-C1ABA34532C3}"/>
                  </a:ext>
                </a:extLst>
              </p:cNvPr>
              <p:cNvSpPr>
                <a:spLocks/>
              </p:cNvSpPr>
              <p:nvPr/>
            </p:nvSpPr>
            <p:spPr bwMode="auto">
              <a:xfrm>
                <a:off x="555" y="3497"/>
                <a:ext cx="856" cy="302"/>
              </a:xfrm>
              <a:custGeom>
                <a:avLst/>
                <a:gdLst>
                  <a:gd name="T0" fmla="*/ 0 w 2421"/>
                  <a:gd name="T1" fmla="*/ 0 h 855"/>
                  <a:gd name="T2" fmla="*/ 0 w 2421"/>
                  <a:gd name="T3" fmla="*/ 0 h 855"/>
                  <a:gd name="T4" fmla="*/ 0 w 2421"/>
                  <a:gd name="T5" fmla="*/ 0 h 855"/>
                  <a:gd name="T6" fmla="*/ 0 w 2421"/>
                  <a:gd name="T7" fmla="*/ 0 h 855"/>
                  <a:gd name="T8" fmla="*/ 0 w 2421"/>
                  <a:gd name="T9" fmla="*/ 0 h 855"/>
                  <a:gd name="T10" fmla="*/ 0 w 2421"/>
                  <a:gd name="T11" fmla="*/ 0 h 855"/>
                  <a:gd name="T12" fmla="*/ 0 w 2421"/>
                  <a:gd name="T13" fmla="*/ 0 h 855"/>
                  <a:gd name="T14" fmla="*/ 0 w 2421"/>
                  <a:gd name="T15" fmla="*/ 0 h 855"/>
                  <a:gd name="T16" fmla="*/ 0 w 2421"/>
                  <a:gd name="T17" fmla="*/ 0 h 855"/>
                  <a:gd name="T18" fmla="*/ 0 w 2421"/>
                  <a:gd name="T19" fmla="*/ 0 h 855"/>
                  <a:gd name="T20" fmla="*/ 0 w 2421"/>
                  <a:gd name="T21" fmla="*/ 0 h 855"/>
                  <a:gd name="T22" fmla="*/ 0 w 2421"/>
                  <a:gd name="T23" fmla="*/ 0 h 855"/>
                  <a:gd name="T24" fmla="*/ 0 w 2421"/>
                  <a:gd name="T25" fmla="*/ 0 h 855"/>
                  <a:gd name="T26" fmla="*/ 0 w 2421"/>
                  <a:gd name="T27" fmla="*/ 0 h 855"/>
                  <a:gd name="T28" fmla="*/ 0 w 2421"/>
                  <a:gd name="T29" fmla="*/ 0 h 855"/>
                  <a:gd name="T30" fmla="*/ 0 w 2421"/>
                  <a:gd name="T31" fmla="*/ 0 h 855"/>
                  <a:gd name="T32" fmla="*/ 0 w 2421"/>
                  <a:gd name="T33" fmla="*/ 0 h 8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21"/>
                  <a:gd name="T52" fmla="*/ 0 h 855"/>
                  <a:gd name="T53" fmla="*/ 2421 w 2421"/>
                  <a:gd name="T54" fmla="*/ 855 h 8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21" h="855">
                    <a:moveTo>
                      <a:pt x="2118" y="855"/>
                    </a:moveTo>
                    <a:cubicBezTo>
                      <a:pt x="2285" y="855"/>
                      <a:pt x="2421" y="719"/>
                      <a:pt x="2421" y="552"/>
                    </a:cubicBezTo>
                    <a:lnTo>
                      <a:pt x="2416" y="544"/>
                    </a:lnTo>
                    <a:lnTo>
                      <a:pt x="2416" y="304"/>
                    </a:lnTo>
                    <a:lnTo>
                      <a:pt x="2421" y="310"/>
                    </a:lnTo>
                    <a:cubicBezTo>
                      <a:pt x="2421" y="143"/>
                      <a:pt x="2285" y="8"/>
                      <a:pt x="2118" y="8"/>
                    </a:cubicBezTo>
                    <a:lnTo>
                      <a:pt x="2112" y="0"/>
                    </a:lnTo>
                    <a:lnTo>
                      <a:pt x="304" y="0"/>
                    </a:lnTo>
                    <a:lnTo>
                      <a:pt x="304" y="8"/>
                    </a:lnTo>
                    <a:cubicBezTo>
                      <a:pt x="137" y="8"/>
                      <a:pt x="2" y="143"/>
                      <a:pt x="2" y="310"/>
                    </a:cubicBezTo>
                    <a:lnTo>
                      <a:pt x="0" y="304"/>
                    </a:lnTo>
                    <a:lnTo>
                      <a:pt x="0" y="544"/>
                    </a:lnTo>
                    <a:lnTo>
                      <a:pt x="2" y="552"/>
                    </a:lnTo>
                    <a:cubicBezTo>
                      <a:pt x="2" y="719"/>
                      <a:pt x="137" y="855"/>
                      <a:pt x="304" y="855"/>
                    </a:cubicBezTo>
                    <a:lnTo>
                      <a:pt x="304" y="848"/>
                    </a:lnTo>
                    <a:lnTo>
                      <a:pt x="2112" y="848"/>
                    </a:lnTo>
                    <a:lnTo>
                      <a:pt x="2118" y="855"/>
                    </a:lnTo>
                    <a:close/>
                  </a:path>
                </a:pathLst>
              </a:custGeom>
              <a:solidFill>
                <a:srgbClr val="FFFFFF"/>
              </a:solidFill>
              <a:ln w="0">
                <a:solidFill>
                  <a:srgbClr val="000000"/>
                </a:solidFill>
                <a:round/>
                <a:headEnd/>
                <a:tailEnd/>
              </a:ln>
            </p:spPr>
            <p:txBody>
              <a:bodyPr/>
              <a:lstStyle/>
              <a:p>
                <a:endParaRPr lang="zh-CN" altLang="en-US"/>
              </a:p>
            </p:txBody>
          </p:sp>
          <p:sp>
            <p:nvSpPr>
              <p:cNvPr id="396" name="Rectangle 139">
                <a:extLst>
                  <a:ext uri="{FF2B5EF4-FFF2-40B4-BE49-F238E27FC236}">
                    <a16:creationId xmlns:a16="http://schemas.microsoft.com/office/drawing/2014/main" id="{513B4984-2923-48C7-BC9E-B0689A927651}"/>
                  </a:ext>
                </a:extLst>
              </p:cNvPr>
              <p:cNvSpPr>
                <a:spLocks noChangeArrowheads="1"/>
              </p:cNvSpPr>
              <p:nvPr/>
            </p:nvSpPr>
            <p:spPr bwMode="auto">
              <a:xfrm>
                <a:off x="555" y="3497"/>
                <a:ext cx="866" cy="311"/>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97" name="Rectangle 140">
                <a:extLst>
                  <a:ext uri="{FF2B5EF4-FFF2-40B4-BE49-F238E27FC236}">
                    <a16:creationId xmlns:a16="http://schemas.microsoft.com/office/drawing/2014/main" id="{4674A25E-291A-471A-92BC-04FF9BB17356}"/>
                  </a:ext>
                </a:extLst>
              </p:cNvPr>
              <p:cNvSpPr>
                <a:spLocks noChangeArrowheads="1"/>
              </p:cNvSpPr>
              <p:nvPr/>
            </p:nvSpPr>
            <p:spPr bwMode="auto">
              <a:xfrm>
                <a:off x="549" y="3491"/>
                <a:ext cx="872" cy="317"/>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98" name="Freeform 141">
                <a:extLst>
                  <a:ext uri="{FF2B5EF4-FFF2-40B4-BE49-F238E27FC236}">
                    <a16:creationId xmlns:a16="http://schemas.microsoft.com/office/drawing/2014/main" id="{AD06A362-3481-4EC6-A9BF-D3588BC3A90A}"/>
                  </a:ext>
                </a:extLst>
              </p:cNvPr>
              <p:cNvSpPr>
                <a:spLocks/>
              </p:cNvSpPr>
              <p:nvPr/>
            </p:nvSpPr>
            <p:spPr bwMode="auto">
              <a:xfrm>
                <a:off x="552" y="3494"/>
                <a:ext cx="862" cy="309"/>
              </a:xfrm>
              <a:custGeom>
                <a:avLst/>
                <a:gdLst>
                  <a:gd name="T0" fmla="*/ 0 w 2438"/>
                  <a:gd name="T1" fmla="*/ 0 h 872"/>
                  <a:gd name="T2" fmla="*/ 0 w 2438"/>
                  <a:gd name="T3" fmla="*/ 0 h 872"/>
                  <a:gd name="T4" fmla="*/ 0 w 2438"/>
                  <a:gd name="T5" fmla="*/ 0 h 872"/>
                  <a:gd name="T6" fmla="*/ 0 w 2438"/>
                  <a:gd name="T7" fmla="*/ 0 h 872"/>
                  <a:gd name="T8" fmla="*/ 0 w 2438"/>
                  <a:gd name="T9" fmla="*/ 0 h 872"/>
                  <a:gd name="T10" fmla="*/ 0 w 2438"/>
                  <a:gd name="T11" fmla="*/ 0 h 872"/>
                  <a:gd name="T12" fmla="*/ 0 w 2438"/>
                  <a:gd name="T13" fmla="*/ 0 h 872"/>
                  <a:gd name="T14" fmla="*/ 0 w 2438"/>
                  <a:gd name="T15" fmla="*/ 0 h 872"/>
                  <a:gd name="T16" fmla="*/ 0 w 2438"/>
                  <a:gd name="T17" fmla="*/ 0 h 872"/>
                  <a:gd name="T18" fmla="*/ 0 w 2438"/>
                  <a:gd name="T19" fmla="*/ 0 h 872"/>
                  <a:gd name="T20" fmla="*/ 0 w 2438"/>
                  <a:gd name="T21" fmla="*/ 0 h 872"/>
                  <a:gd name="T22" fmla="*/ 0 w 2438"/>
                  <a:gd name="T23" fmla="*/ 0 h 872"/>
                  <a:gd name="T24" fmla="*/ 0 w 2438"/>
                  <a:gd name="T25" fmla="*/ 0 h 872"/>
                  <a:gd name="T26" fmla="*/ 0 w 2438"/>
                  <a:gd name="T27" fmla="*/ 0 h 872"/>
                  <a:gd name="T28" fmla="*/ 0 w 2438"/>
                  <a:gd name="T29" fmla="*/ 0 h 872"/>
                  <a:gd name="T30" fmla="*/ 0 w 2438"/>
                  <a:gd name="T31" fmla="*/ 0 h 872"/>
                  <a:gd name="T32" fmla="*/ 0 w 2438"/>
                  <a:gd name="T33" fmla="*/ 0 h 872"/>
                  <a:gd name="T34" fmla="*/ 0 w 2438"/>
                  <a:gd name="T35" fmla="*/ 0 h 872"/>
                  <a:gd name="T36" fmla="*/ 0 w 2438"/>
                  <a:gd name="T37" fmla="*/ 0 h 872"/>
                  <a:gd name="T38" fmla="*/ 0 w 2438"/>
                  <a:gd name="T39" fmla="*/ 0 h 872"/>
                  <a:gd name="T40" fmla="*/ 0 w 2438"/>
                  <a:gd name="T41" fmla="*/ 0 h 872"/>
                  <a:gd name="T42" fmla="*/ 0 w 2438"/>
                  <a:gd name="T43" fmla="*/ 0 h 872"/>
                  <a:gd name="T44" fmla="*/ 0 w 2438"/>
                  <a:gd name="T45" fmla="*/ 0 h 872"/>
                  <a:gd name="T46" fmla="*/ 0 w 2438"/>
                  <a:gd name="T47" fmla="*/ 0 h 872"/>
                  <a:gd name="T48" fmla="*/ 0 w 2438"/>
                  <a:gd name="T49" fmla="*/ 0 h 872"/>
                  <a:gd name="T50" fmla="*/ 0 w 2438"/>
                  <a:gd name="T51" fmla="*/ 0 h 872"/>
                  <a:gd name="T52" fmla="*/ 0 w 2438"/>
                  <a:gd name="T53" fmla="*/ 0 h 872"/>
                  <a:gd name="T54" fmla="*/ 0 w 2438"/>
                  <a:gd name="T55" fmla="*/ 0 h 872"/>
                  <a:gd name="T56" fmla="*/ 0 w 2438"/>
                  <a:gd name="T57" fmla="*/ 0 h 872"/>
                  <a:gd name="T58" fmla="*/ 0 w 2438"/>
                  <a:gd name="T59" fmla="*/ 0 h 872"/>
                  <a:gd name="T60" fmla="*/ 0 w 2438"/>
                  <a:gd name="T61" fmla="*/ 0 h 872"/>
                  <a:gd name="T62" fmla="*/ 0 w 2438"/>
                  <a:gd name="T63" fmla="*/ 0 h 872"/>
                  <a:gd name="T64" fmla="*/ 0 w 2438"/>
                  <a:gd name="T65" fmla="*/ 0 h 872"/>
                  <a:gd name="T66" fmla="*/ 0 w 2438"/>
                  <a:gd name="T67" fmla="*/ 0 h 872"/>
                  <a:gd name="T68" fmla="*/ 0 w 2438"/>
                  <a:gd name="T69" fmla="*/ 0 h 872"/>
                  <a:gd name="T70" fmla="*/ 0 w 2438"/>
                  <a:gd name="T71" fmla="*/ 0 h 872"/>
                  <a:gd name="T72" fmla="*/ 0 w 2438"/>
                  <a:gd name="T73" fmla="*/ 0 h 872"/>
                  <a:gd name="T74" fmla="*/ 0 w 2438"/>
                  <a:gd name="T75" fmla="*/ 0 h 872"/>
                  <a:gd name="T76" fmla="*/ 0 w 2438"/>
                  <a:gd name="T77" fmla="*/ 0 h 872"/>
                  <a:gd name="T78" fmla="*/ 0 w 2438"/>
                  <a:gd name="T79" fmla="*/ 0 h 872"/>
                  <a:gd name="T80" fmla="*/ 0 w 2438"/>
                  <a:gd name="T81" fmla="*/ 0 h 872"/>
                  <a:gd name="T82" fmla="*/ 0 w 2438"/>
                  <a:gd name="T83" fmla="*/ 0 h 872"/>
                  <a:gd name="T84" fmla="*/ 0 w 2438"/>
                  <a:gd name="T85" fmla="*/ 0 h 872"/>
                  <a:gd name="T86" fmla="*/ 0 w 2438"/>
                  <a:gd name="T87" fmla="*/ 0 h 872"/>
                  <a:gd name="T88" fmla="*/ 0 w 2438"/>
                  <a:gd name="T89" fmla="*/ 0 h 872"/>
                  <a:gd name="T90" fmla="*/ 0 w 2438"/>
                  <a:gd name="T91" fmla="*/ 0 h 872"/>
                  <a:gd name="T92" fmla="*/ 0 w 2438"/>
                  <a:gd name="T93" fmla="*/ 0 h 872"/>
                  <a:gd name="T94" fmla="*/ 0 w 2438"/>
                  <a:gd name="T95" fmla="*/ 0 h 872"/>
                  <a:gd name="T96" fmla="*/ 0 w 2438"/>
                  <a:gd name="T97" fmla="*/ 0 h 872"/>
                  <a:gd name="T98" fmla="*/ 0 w 2438"/>
                  <a:gd name="T99" fmla="*/ 0 h 872"/>
                  <a:gd name="T100" fmla="*/ 0 w 2438"/>
                  <a:gd name="T101" fmla="*/ 0 h 872"/>
                  <a:gd name="T102" fmla="*/ 0 w 2438"/>
                  <a:gd name="T103" fmla="*/ 0 h 872"/>
                  <a:gd name="T104" fmla="*/ 0 w 2438"/>
                  <a:gd name="T105" fmla="*/ 0 h 872"/>
                  <a:gd name="T106" fmla="*/ 0 w 2438"/>
                  <a:gd name="T107" fmla="*/ 0 h 872"/>
                  <a:gd name="T108" fmla="*/ 0 w 2438"/>
                  <a:gd name="T109" fmla="*/ 0 h 872"/>
                  <a:gd name="T110" fmla="*/ 0 w 2438"/>
                  <a:gd name="T111" fmla="*/ 0 h 872"/>
                  <a:gd name="T112" fmla="*/ 0 w 2438"/>
                  <a:gd name="T113" fmla="*/ 0 h 872"/>
                  <a:gd name="T114" fmla="*/ 0 w 2438"/>
                  <a:gd name="T115" fmla="*/ 0 h 872"/>
                  <a:gd name="T116" fmla="*/ 0 w 2438"/>
                  <a:gd name="T117" fmla="*/ 0 h 872"/>
                  <a:gd name="T118" fmla="*/ 0 w 2438"/>
                  <a:gd name="T119" fmla="*/ 0 h 8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438"/>
                  <a:gd name="T181" fmla="*/ 0 h 872"/>
                  <a:gd name="T182" fmla="*/ 2438 w 2438"/>
                  <a:gd name="T183" fmla="*/ 872 h 8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438" h="872">
                    <a:moveTo>
                      <a:pt x="2126" y="856"/>
                    </a:moveTo>
                    <a:lnTo>
                      <a:pt x="2187" y="850"/>
                    </a:lnTo>
                    <a:lnTo>
                      <a:pt x="2185" y="850"/>
                    </a:lnTo>
                    <a:lnTo>
                      <a:pt x="2242" y="832"/>
                    </a:lnTo>
                    <a:lnTo>
                      <a:pt x="2241" y="832"/>
                    </a:lnTo>
                    <a:lnTo>
                      <a:pt x="2292" y="804"/>
                    </a:lnTo>
                    <a:lnTo>
                      <a:pt x="2290" y="805"/>
                    </a:lnTo>
                    <a:lnTo>
                      <a:pt x="2335" y="768"/>
                    </a:lnTo>
                    <a:lnTo>
                      <a:pt x="2334" y="769"/>
                    </a:lnTo>
                    <a:lnTo>
                      <a:pt x="2371" y="724"/>
                    </a:lnTo>
                    <a:lnTo>
                      <a:pt x="2370" y="726"/>
                    </a:lnTo>
                    <a:lnTo>
                      <a:pt x="2398" y="675"/>
                    </a:lnTo>
                    <a:lnTo>
                      <a:pt x="2398" y="676"/>
                    </a:lnTo>
                    <a:lnTo>
                      <a:pt x="2416" y="619"/>
                    </a:lnTo>
                    <a:lnTo>
                      <a:pt x="2416" y="621"/>
                    </a:lnTo>
                    <a:lnTo>
                      <a:pt x="2422" y="560"/>
                    </a:lnTo>
                    <a:lnTo>
                      <a:pt x="2423" y="565"/>
                    </a:lnTo>
                    <a:lnTo>
                      <a:pt x="2418" y="557"/>
                    </a:lnTo>
                    <a:cubicBezTo>
                      <a:pt x="2417" y="555"/>
                      <a:pt x="2416" y="554"/>
                      <a:pt x="2416" y="552"/>
                    </a:cubicBezTo>
                    <a:lnTo>
                      <a:pt x="2416" y="312"/>
                    </a:lnTo>
                    <a:cubicBezTo>
                      <a:pt x="2416" y="309"/>
                      <a:pt x="2419" y="306"/>
                      <a:pt x="2422" y="305"/>
                    </a:cubicBezTo>
                    <a:cubicBezTo>
                      <a:pt x="2425" y="304"/>
                      <a:pt x="2428" y="305"/>
                      <a:pt x="2431" y="307"/>
                    </a:cubicBezTo>
                    <a:lnTo>
                      <a:pt x="2436" y="313"/>
                    </a:lnTo>
                    <a:lnTo>
                      <a:pt x="2422" y="319"/>
                    </a:lnTo>
                    <a:lnTo>
                      <a:pt x="2416" y="258"/>
                    </a:lnTo>
                    <a:lnTo>
                      <a:pt x="2416" y="260"/>
                    </a:lnTo>
                    <a:lnTo>
                      <a:pt x="2398" y="203"/>
                    </a:lnTo>
                    <a:lnTo>
                      <a:pt x="2398" y="204"/>
                    </a:lnTo>
                    <a:lnTo>
                      <a:pt x="2370" y="153"/>
                    </a:lnTo>
                    <a:lnTo>
                      <a:pt x="2371" y="155"/>
                    </a:lnTo>
                    <a:lnTo>
                      <a:pt x="2334" y="110"/>
                    </a:lnTo>
                    <a:lnTo>
                      <a:pt x="2335" y="111"/>
                    </a:lnTo>
                    <a:lnTo>
                      <a:pt x="2290" y="75"/>
                    </a:lnTo>
                    <a:lnTo>
                      <a:pt x="2292" y="75"/>
                    </a:lnTo>
                    <a:lnTo>
                      <a:pt x="2241" y="47"/>
                    </a:lnTo>
                    <a:lnTo>
                      <a:pt x="2242" y="48"/>
                    </a:lnTo>
                    <a:lnTo>
                      <a:pt x="2185" y="30"/>
                    </a:lnTo>
                    <a:lnTo>
                      <a:pt x="2187" y="30"/>
                    </a:lnTo>
                    <a:lnTo>
                      <a:pt x="2126" y="24"/>
                    </a:lnTo>
                    <a:cubicBezTo>
                      <a:pt x="2123" y="24"/>
                      <a:pt x="2121" y="23"/>
                      <a:pt x="2120" y="21"/>
                    </a:cubicBezTo>
                    <a:lnTo>
                      <a:pt x="2114" y="13"/>
                    </a:lnTo>
                    <a:lnTo>
                      <a:pt x="2120" y="16"/>
                    </a:lnTo>
                    <a:lnTo>
                      <a:pt x="312" y="16"/>
                    </a:lnTo>
                    <a:lnTo>
                      <a:pt x="320" y="8"/>
                    </a:lnTo>
                    <a:lnTo>
                      <a:pt x="320" y="16"/>
                    </a:lnTo>
                    <a:cubicBezTo>
                      <a:pt x="320" y="21"/>
                      <a:pt x="317" y="24"/>
                      <a:pt x="313" y="24"/>
                    </a:cubicBezTo>
                    <a:lnTo>
                      <a:pt x="252" y="30"/>
                    </a:lnTo>
                    <a:lnTo>
                      <a:pt x="254" y="30"/>
                    </a:lnTo>
                    <a:lnTo>
                      <a:pt x="197" y="48"/>
                    </a:lnTo>
                    <a:lnTo>
                      <a:pt x="198" y="47"/>
                    </a:lnTo>
                    <a:lnTo>
                      <a:pt x="147" y="75"/>
                    </a:lnTo>
                    <a:lnTo>
                      <a:pt x="148" y="75"/>
                    </a:lnTo>
                    <a:lnTo>
                      <a:pt x="103" y="111"/>
                    </a:lnTo>
                    <a:lnTo>
                      <a:pt x="105" y="109"/>
                    </a:lnTo>
                    <a:lnTo>
                      <a:pt x="69" y="154"/>
                    </a:lnTo>
                    <a:lnTo>
                      <a:pt x="69" y="153"/>
                    </a:lnTo>
                    <a:lnTo>
                      <a:pt x="41" y="204"/>
                    </a:lnTo>
                    <a:lnTo>
                      <a:pt x="42" y="203"/>
                    </a:lnTo>
                    <a:lnTo>
                      <a:pt x="24" y="260"/>
                    </a:lnTo>
                    <a:lnTo>
                      <a:pt x="24" y="258"/>
                    </a:lnTo>
                    <a:lnTo>
                      <a:pt x="18" y="319"/>
                    </a:lnTo>
                    <a:cubicBezTo>
                      <a:pt x="18" y="323"/>
                      <a:pt x="15" y="326"/>
                      <a:pt x="11" y="326"/>
                    </a:cubicBezTo>
                    <a:cubicBezTo>
                      <a:pt x="8" y="327"/>
                      <a:pt x="4" y="325"/>
                      <a:pt x="3" y="321"/>
                    </a:cubicBezTo>
                    <a:lnTo>
                      <a:pt x="1" y="315"/>
                    </a:lnTo>
                    <a:lnTo>
                      <a:pt x="16" y="312"/>
                    </a:lnTo>
                    <a:lnTo>
                      <a:pt x="16" y="552"/>
                    </a:lnTo>
                    <a:lnTo>
                      <a:pt x="16" y="551"/>
                    </a:lnTo>
                    <a:lnTo>
                      <a:pt x="18" y="559"/>
                    </a:lnTo>
                    <a:cubicBezTo>
                      <a:pt x="18" y="559"/>
                      <a:pt x="18" y="559"/>
                      <a:pt x="18" y="560"/>
                    </a:cubicBezTo>
                    <a:lnTo>
                      <a:pt x="24" y="621"/>
                    </a:lnTo>
                    <a:lnTo>
                      <a:pt x="24" y="619"/>
                    </a:lnTo>
                    <a:lnTo>
                      <a:pt x="42" y="676"/>
                    </a:lnTo>
                    <a:lnTo>
                      <a:pt x="41" y="675"/>
                    </a:lnTo>
                    <a:lnTo>
                      <a:pt x="69" y="726"/>
                    </a:lnTo>
                    <a:lnTo>
                      <a:pt x="69" y="724"/>
                    </a:lnTo>
                    <a:lnTo>
                      <a:pt x="105" y="769"/>
                    </a:lnTo>
                    <a:lnTo>
                      <a:pt x="104" y="768"/>
                    </a:lnTo>
                    <a:lnTo>
                      <a:pt x="149" y="805"/>
                    </a:lnTo>
                    <a:lnTo>
                      <a:pt x="147" y="804"/>
                    </a:lnTo>
                    <a:lnTo>
                      <a:pt x="198" y="832"/>
                    </a:lnTo>
                    <a:lnTo>
                      <a:pt x="197" y="832"/>
                    </a:lnTo>
                    <a:lnTo>
                      <a:pt x="254" y="850"/>
                    </a:lnTo>
                    <a:lnTo>
                      <a:pt x="252" y="850"/>
                    </a:lnTo>
                    <a:lnTo>
                      <a:pt x="313" y="856"/>
                    </a:lnTo>
                    <a:lnTo>
                      <a:pt x="304" y="863"/>
                    </a:lnTo>
                    <a:lnTo>
                      <a:pt x="304" y="856"/>
                    </a:lnTo>
                    <a:cubicBezTo>
                      <a:pt x="304" y="852"/>
                      <a:pt x="308" y="848"/>
                      <a:pt x="312" y="848"/>
                    </a:cubicBezTo>
                    <a:lnTo>
                      <a:pt x="2120" y="848"/>
                    </a:lnTo>
                    <a:cubicBezTo>
                      <a:pt x="2125" y="848"/>
                      <a:pt x="2128" y="852"/>
                      <a:pt x="2128" y="856"/>
                    </a:cubicBezTo>
                    <a:cubicBezTo>
                      <a:pt x="2128" y="861"/>
                      <a:pt x="2125" y="864"/>
                      <a:pt x="2120" y="864"/>
                    </a:cubicBezTo>
                    <a:lnTo>
                      <a:pt x="312" y="864"/>
                    </a:lnTo>
                    <a:lnTo>
                      <a:pt x="320" y="856"/>
                    </a:lnTo>
                    <a:lnTo>
                      <a:pt x="320" y="863"/>
                    </a:lnTo>
                    <a:cubicBezTo>
                      <a:pt x="320" y="866"/>
                      <a:pt x="320" y="868"/>
                      <a:pt x="318" y="869"/>
                    </a:cubicBezTo>
                    <a:cubicBezTo>
                      <a:pt x="316" y="871"/>
                      <a:pt x="314" y="872"/>
                      <a:pt x="312" y="871"/>
                    </a:cubicBezTo>
                    <a:lnTo>
                      <a:pt x="251" y="865"/>
                    </a:lnTo>
                    <a:cubicBezTo>
                      <a:pt x="250" y="865"/>
                      <a:pt x="250" y="865"/>
                      <a:pt x="249" y="865"/>
                    </a:cubicBezTo>
                    <a:lnTo>
                      <a:pt x="192" y="847"/>
                    </a:lnTo>
                    <a:cubicBezTo>
                      <a:pt x="192" y="847"/>
                      <a:pt x="191" y="847"/>
                      <a:pt x="191" y="846"/>
                    </a:cubicBezTo>
                    <a:lnTo>
                      <a:pt x="140" y="818"/>
                    </a:lnTo>
                    <a:cubicBezTo>
                      <a:pt x="139" y="818"/>
                      <a:pt x="139" y="818"/>
                      <a:pt x="138" y="818"/>
                    </a:cubicBezTo>
                    <a:lnTo>
                      <a:pt x="93" y="781"/>
                    </a:lnTo>
                    <a:cubicBezTo>
                      <a:pt x="93" y="780"/>
                      <a:pt x="93" y="780"/>
                      <a:pt x="92" y="779"/>
                    </a:cubicBezTo>
                    <a:lnTo>
                      <a:pt x="56" y="734"/>
                    </a:lnTo>
                    <a:cubicBezTo>
                      <a:pt x="56" y="734"/>
                      <a:pt x="56" y="734"/>
                      <a:pt x="55" y="733"/>
                    </a:cubicBezTo>
                    <a:lnTo>
                      <a:pt x="27" y="682"/>
                    </a:lnTo>
                    <a:cubicBezTo>
                      <a:pt x="27" y="682"/>
                      <a:pt x="27" y="681"/>
                      <a:pt x="27" y="681"/>
                    </a:cubicBezTo>
                    <a:lnTo>
                      <a:pt x="9" y="624"/>
                    </a:lnTo>
                    <a:cubicBezTo>
                      <a:pt x="9" y="623"/>
                      <a:pt x="9" y="623"/>
                      <a:pt x="9" y="622"/>
                    </a:cubicBezTo>
                    <a:lnTo>
                      <a:pt x="3" y="561"/>
                    </a:lnTo>
                    <a:lnTo>
                      <a:pt x="3" y="562"/>
                    </a:lnTo>
                    <a:lnTo>
                      <a:pt x="1" y="554"/>
                    </a:lnTo>
                    <a:cubicBezTo>
                      <a:pt x="1" y="554"/>
                      <a:pt x="0" y="553"/>
                      <a:pt x="0" y="552"/>
                    </a:cubicBezTo>
                    <a:lnTo>
                      <a:pt x="0" y="312"/>
                    </a:lnTo>
                    <a:cubicBezTo>
                      <a:pt x="0" y="309"/>
                      <a:pt x="3" y="305"/>
                      <a:pt x="7" y="305"/>
                    </a:cubicBezTo>
                    <a:cubicBezTo>
                      <a:pt x="11" y="304"/>
                      <a:pt x="15" y="306"/>
                      <a:pt x="16" y="310"/>
                    </a:cubicBezTo>
                    <a:lnTo>
                      <a:pt x="18" y="316"/>
                    </a:lnTo>
                    <a:lnTo>
                      <a:pt x="3" y="318"/>
                    </a:lnTo>
                    <a:lnTo>
                      <a:pt x="9" y="257"/>
                    </a:lnTo>
                    <a:cubicBezTo>
                      <a:pt x="9" y="256"/>
                      <a:pt x="9" y="256"/>
                      <a:pt x="9" y="255"/>
                    </a:cubicBezTo>
                    <a:lnTo>
                      <a:pt x="27" y="198"/>
                    </a:lnTo>
                    <a:cubicBezTo>
                      <a:pt x="27" y="198"/>
                      <a:pt x="27" y="197"/>
                      <a:pt x="27" y="197"/>
                    </a:cubicBezTo>
                    <a:lnTo>
                      <a:pt x="55" y="146"/>
                    </a:lnTo>
                    <a:cubicBezTo>
                      <a:pt x="56" y="145"/>
                      <a:pt x="56" y="145"/>
                      <a:pt x="56" y="144"/>
                    </a:cubicBezTo>
                    <a:lnTo>
                      <a:pt x="92" y="99"/>
                    </a:lnTo>
                    <a:cubicBezTo>
                      <a:pt x="93" y="99"/>
                      <a:pt x="93" y="99"/>
                      <a:pt x="93" y="98"/>
                    </a:cubicBezTo>
                    <a:lnTo>
                      <a:pt x="138" y="62"/>
                    </a:lnTo>
                    <a:cubicBezTo>
                      <a:pt x="139" y="62"/>
                      <a:pt x="139" y="62"/>
                      <a:pt x="140" y="61"/>
                    </a:cubicBezTo>
                    <a:lnTo>
                      <a:pt x="191" y="33"/>
                    </a:lnTo>
                    <a:cubicBezTo>
                      <a:pt x="191" y="33"/>
                      <a:pt x="192" y="33"/>
                      <a:pt x="192" y="33"/>
                    </a:cubicBezTo>
                    <a:lnTo>
                      <a:pt x="249" y="15"/>
                    </a:lnTo>
                    <a:cubicBezTo>
                      <a:pt x="250" y="15"/>
                      <a:pt x="250" y="15"/>
                      <a:pt x="251" y="15"/>
                    </a:cubicBezTo>
                    <a:lnTo>
                      <a:pt x="312" y="9"/>
                    </a:lnTo>
                    <a:lnTo>
                      <a:pt x="304" y="16"/>
                    </a:lnTo>
                    <a:lnTo>
                      <a:pt x="304" y="8"/>
                    </a:lnTo>
                    <a:cubicBezTo>
                      <a:pt x="304" y="4"/>
                      <a:pt x="308" y="0"/>
                      <a:pt x="312" y="0"/>
                    </a:cubicBezTo>
                    <a:lnTo>
                      <a:pt x="2120" y="0"/>
                    </a:lnTo>
                    <a:cubicBezTo>
                      <a:pt x="2123" y="0"/>
                      <a:pt x="2125" y="2"/>
                      <a:pt x="2127" y="4"/>
                    </a:cubicBezTo>
                    <a:lnTo>
                      <a:pt x="2133" y="12"/>
                    </a:lnTo>
                    <a:lnTo>
                      <a:pt x="2127" y="9"/>
                    </a:lnTo>
                    <a:lnTo>
                      <a:pt x="2188" y="15"/>
                    </a:lnTo>
                    <a:cubicBezTo>
                      <a:pt x="2189" y="15"/>
                      <a:pt x="2189" y="15"/>
                      <a:pt x="2190" y="15"/>
                    </a:cubicBezTo>
                    <a:lnTo>
                      <a:pt x="2247" y="33"/>
                    </a:lnTo>
                    <a:cubicBezTo>
                      <a:pt x="2247" y="33"/>
                      <a:pt x="2248" y="33"/>
                      <a:pt x="2248" y="33"/>
                    </a:cubicBezTo>
                    <a:lnTo>
                      <a:pt x="2299" y="61"/>
                    </a:lnTo>
                    <a:cubicBezTo>
                      <a:pt x="2300" y="62"/>
                      <a:pt x="2300" y="62"/>
                      <a:pt x="2300" y="62"/>
                    </a:cubicBezTo>
                    <a:lnTo>
                      <a:pt x="2345" y="98"/>
                    </a:lnTo>
                    <a:cubicBezTo>
                      <a:pt x="2346" y="99"/>
                      <a:pt x="2346" y="99"/>
                      <a:pt x="2347" y="99"/>
                    </a:cubicBezTo>
                    <a:lnTo>
                      <a:pt x="2384" y="144"/>
                    </a:lnTo>
                    <a:cubicBezTo>
                      <a:pt x="2384" y="145"/>
                      <a:pt x="2384" y="145"/>
                      <a:pt x="2384" y="146"/>
                    </a:cubicBezTo>
                    <a:lnTo>
                      <a:pt x="2412" y="197"/>
                    </a:lnTo>
                    <a:cubicBezTo>
                      <a:pt x="2413" y="197"/>
                      <a:pt x="2413" y="198"/>
                      <a:pt x="2413" y="198"/>
                    </a:cubicBezTo>
                    <a:lnTo>
                      <a:pt x="2431" y="255"/>
                    </a:lnTo>
                    <a:cubicBezTo>
                      <a:pt x="2431" y="256"/>
                      <a:pt x="2431" y="256"/>
                      <a:pt x="2431" y="257"/>
                    </a:cubicBezTo>
                    <a:lnTo>
                      <a:pt x="2437" y="318"/>
                    </a:lnTo>
                    <a:cubicBezTo>
                      <a:pt x="2438" y="321"/>
                      <a:pt x="2436" y="324"/>
                      <a:pt x="2433" y="326"/>
                    </a:cubicBezTo>
                    <a:cubicBezTo>
                      <a:pt x="2429" y="327"/>
                      <a:pt x="2426" y="326"/>
                      <a:pt x="2423" y="324"/>
                    </a:cubicBezTo>
                    <a:lnTo>
                      <a:pt x="2418" y="318"/>
                    </a:lnTo>
                    <a:lnTo>
                      <a:pt x="2432" y="312"/>
                    </a:lnTo>
                    <a:lnTo>
                      <a:pt x="2432" y="552"/>
                    </a:lnTo>
                    <a:lnTo>
                      <a:pt x="2431" y="548"/>
                    </a:lnTo>
                    <a:lnTo>
                      <a:pt x="2436" y="556"/>
                    </a:lnTo>
                    <a:cubicBezTo>
                      <a:pt x="2437" y="558"/>
                      <a:pt x="2438" y="559"/>
                      <a:pt x="2437" y="561"/>
                    </a:cubicBezTo>
                    <a:lnTo>
                      <a:pt x="2431" y="622"/>
                    </a:lnTo>
                    <a:cubicBezTo>
                      <a:pt x="2431" y="623"/>
                      <a:pt x="2431" y="623"/>
                      <a:pt x="2431" y="624"/>
                    </a:cubicBezTo>
                    <a:lnTo>
                      <a:pt x="2413" y="681"/>
                    </a:lnTo>
                    <a:cubicBezTo>
                      <a:pt x="2413" y="681"/>
                      <a:pt x="2413" y="682"/>
                      <a:pt x="2412" y="682"/>
                    </a:cubicBezTo>
                    <a:lnTo>
                      <a:pt x="2384" y="733"/>
                    </a:lnTo>
                    <a:cubicBezTo>
                      <a:pt x="2384" y="734"/>
                      <a:pt x="2384" y="734"/>
                      <a:pt x="2384" y="735"/>
                    </a:cubicBezTo>
                    <a:lnTo>
                      <a:pt x="2347" y="780"/>
                    </a:lnTo>
                    <a:cubicBezTo>
                      <a:pt x="2346" y="780"/>
                      <a:pt x="2346" y="780"/>
                      <a:pt x="2346" y="781"/>
                    </a:cubicBezTo>
                    <a:lnTo>
                      <a:pt x="2301" y="818"/>
                    </a:lnTo>
                    <a:cubicBezTo>
                      <a:pt x="2300" y="818"/>
                      <a:pt x="2300" y="818"/>
                      <a:pt x="2299" y="818"/>
                    </a:cubicBezTo>
                    <a:lnTo>
                      <a:pt x="2248" y="846"/>
                    </a:lnTo>
                    <a:cubicBezTo>
                      <a:pt x="2248" y="847"/>
                      <a:pt x="2247" y="847"/>
                      <a:pt x="2247" y="847"/>
                    </a:cubicBezTo>
                    <a:lnTo>
                      <a:pt x="2190" y="865"/>
                    </a:lnTo>
                    <a:cubicBezTo>
                      <a:pt x="2189" y="865"/>
                      <a:pt x="2189" y="865"/>
                      <a:pt x="2188" y="865"/>
                    </a:cubicBezTo>
                    <a:lnTo>
                      <a:pt x="2127" y="871"/>
                    </a:lnTo>
                    <a:cubicBezTo>
                      <a:pt x="2123" y="872"/>
                      <a:pt x="2119" y="869"/>
                      <a:pt x="2119" y="864"/>
                    </a:cubicBezTo>
                    <a:cubicBezTo>
                      <a:pt x="2118" y="860"/>
                      <a:pt x="2121" y="856"/>
                      <a:pt x="2126" y="856"/>
                    </a:cubicBezTo>
                    <a:close/>
                  </a:path>
                </a:pathLst>
              </a:custGeom>
              <a:solidFill>
                <a:srgbClr val="FFFFFF"/>
              </a:solidFill>
              <a:ln w="0">
                <a:solidFill>
                  <a:srgbClr val="000000"/>
                </a:solidFill>
                <a:round/>
                <a:headEnd/>
                <a:tailEnd/>
              </a:ln>
            </p:spPr>
            <p:txBody>
              <a:bodyPr/>
              <a:lstStyle/>
              <a:p>
                <a:endParaRPr lang="zh-CN" altLang="en-US"/>
              </a:p>
            </p:txBody>
          </p:sp>
          <p:sp>
            <p:nvSpPr>
              <p:cNvPr id="399" name="Rectangle 142">
                <a:extLst>
                  <a:ext uri="{FF2B5EF4-FFF2-40B4-BE49-F238E27FC236}">
                    <a16:creationId xmlns:a16="http://schemas.microsoft.com/office/drawing/2014/main" id="{E1CA55EE-5154-4FC1-AAD6-812B8C1C7F81}"/>
                  </a:ext>
                </a:extLst>
              </p:cNvPr>
              <p:cNvSpPr>
                <a:spLocks noChangeArrowheads="1"/>
              </p:cNvSpPr>
              <p:nvPr/>
            </p:nvSpPr>
            <p:spPr bwMode="auto">
              <a:xfrm>
                <a:off x="549" y="3491"/>
                <a:ext cx="872" cy="317"/>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00" name="Rectangle 143">
                <a:extLst>
                  <a:ext uri="{FF2B5EF4-FFF2-40B4-BE49-F238E27FC236}">
                    <a16:creationId xmlns:a16="http://schemas.microsoft.com/office/drawing/2014/main" id="{D969921F-0974-4D40-944B-95179AA2628F}"/>
                  </a:ext>
                </a:extLst>
              </p:cNvPr>
              <p:cNvSpPr>
                <a:spLocks noChangeArrowheads="1"/>
              </p:cNvSpPr>
              <p:nvPr/>
            </p:nvSpPr>
            <p:spPr bwMode="auto">
              <a:xfrm>
                <a:off x="538" y="3480"/>
                <a:ext cx="871" cy="5"/>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01" name="Rectangle 144">
                <a:extLst>
                  <a:ext uri="{FF2B5EF4-FFF2-40B4-BE49-F238E27FC236}">
                    <a16:creationId xmlns:a16="http://schemas.microsoft.com/office/drawing/2014/main" id="{D3762940-142B-4926-A188-03427B513ED4}"/>
                  </a:ext>
                </a:extLst>
              </p:cNvPr>
              <p:cNvSpPr>
                <a:spLocks noChangeArrowheads="1"/>
              </p:cNvSpPr>
              <p:nvPr/>
            </p:nvSpPr>
            <p:spPr bwMode="auto">
              <a:xfrm>
                <a:off x="538" y="3485"/>
                <a:ext cx="871"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02" name="Rectangle 145">
                <a:extLst>
                  <a:ext uri="{FF2B5EF4-FFF2-40B4-BE49-F238E27FC236}">
                    <a16:creationId xmlns:a16="http://schemas.microsoft.com/office/drawing/2014/main" id="{EE43A0D5-B770-4941-BB93-6BCF583C0500}"/>
                  </a:ext>
                </a:extLst>
              </p:cNvPr>
              <p:cNvSpPr>
                <a:spLocks noChangeArrowheads="1"/>
              </p:cNvSpPr>
              <p:nvPr/>
            </p:nvSpPr>
            <p:spPr bwMode="auto">
              <a:xfrm>
                <a:off x="538" y="3497"/>
                <a:ext cx="871" cy="1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03" name="Rectangle 146">
                <a:extLst>
                  <a:ext uri="{FF2B5EF4-FFF2-40B4-BE49-F238E27FC236}">
                    <a16:creationId xmlns:a16="http://schemas.microsoft.com/office/drawing/2014/main" id="{86AC3633-C3FA-4F18-B0F4-77427956BE54}"/>
                  </a:ext>
                </a:extLst>
              </p:cNvPr>
              <p:cNvSpPr>
                <a:spLocks noChangeArrowheads="1"/>
              </p:cNvSpPr>
              <p:nvPr/>
            </p:nvSpPr>
            <p:spPr bwMode="auto">
              <a:xfrm>
                <a:off x="538" y="3514"/>
                <a:ext cx="871" cy="22"/>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04" name="Rectangle 147">
                <a:extLst>
                  <a:ext uri="{FF2B5EF4-FFF2-40B4-BE49-F238E27FC236}">
                    <a16:creationId xmlns:a16="http://schemas.microsoft.com/office/drawing/2014/main" id="{C564A8DC-226F-4C48-B240-6873EC6599FC}"/>
                  </a:ext>
                </a:extLst>
              </p:cNvPr>
              <p:cNvSpPr>
                <a:spLocks noChangeArrowheads="1"/>
              </p:cNvSpPr>
              <p:nvPr/>
            </p:nvSpPr>
            <p:spPr bwMode="auto">
              <a:xfrm>
                <a:off x="538" y="3536"/>
                <a:ext cx="871" cy="17"/>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05" name="Rectangle 148">
                <a:extLst>
                  <a:ext uri="{FF2B5EF4-FFF2-40B4-BE49-F238E27FC236}">
                    <a16:creationId xmlns:a16="http://schemas.microsoft.com/office/drawing/2014/main" id="{55021A99-9DF3-4433-89F7-11954168C678}"/>
                  </a:ext>
                </a:extLst>
              </p:cNvPr>
              <p:cNvSpPr>
                <a:spLocks noChangeArrowheads="1"/>
              </p:cNvSpPr>
              <p:nvPr/>
            </p:nvSpPr>
            <p:spPr bwMode="auto">
              <a:xfrm>
                <a:off x="538" y="3553"/>
                <a:ext cx="871" cy="17"/>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06" name="Rectangle 149">
                <a:extLst>
                  <a:ext uri="{FF2B5EF4-FFF2-40B4-BE49-F238E27FC236}">
                    <a16:creationId xmlns:a16="http://schemas.microsoft.com/office/drawing/2014/main" id="{4013FC63-60E5-400E-8AEC-65E61EA77E47}"/>
                  </a:ext>
                </a:extLst>
              </p:cNvPr>
              <p:cNvSpPr>
                <a:spLocks noChangeArrowheads="1"/>
              </p:cNvSpPr>
              <p:nvPr/>
            </p:nvSpPr>
            <p:spPr bwMode="auto">
              <a:xfrm>
                <a:off x="538" y="3570"/>
                <a:ext cx="871" cy="23"/>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07" name="Rectangle 150">
                <a:extLst>
                  <a:ext uri="{FF2B5EF4-FFF2-40B4-BE49-F238E27FC236}">
                    <a16:creationId xmlns:a16="http://schemas.microsoft.com/office/drawing/2014/main" id="{E944FD93-4E5B-4BFE-9DDB-2E555EA714B9}"/>
                  </a:ext>
                </a:extLst>
              </p:cNvPr>
              <p:cNvSpPr>
                <a:spLocks noChangeArrowheads="1"/>
              </p:cNvSpPr>
              <p:nvPr/>
            </p:nvSpPr>
            <p:spPr bwMode="auto">
              <a:xfrm>
                <a:off x="538" y="3593"/>
                <a:ext cx="871" cy="17"/>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08" name="Rectangle 151">
                <a:extLst>
                  <a:ext uri="{FF2B5EF4-FFF2-40B4-BE49-F238E27FC236}">
                    <a16:creationId xmlns:a16="http://schemas.microsoft.com/office/drawing/2014/main" id="{3AA10D1E-AE3C-4C25-B30E-DD376ACA2B86}"/>
                  </a:ext>
                </a:extLst>
              </p:cNvPr>
              <p:cNvSpPr>
                <a:spLocks noChangeArrowheads="1"/>
              </p:cNvSpPr>
              <p:nvPr/>
            </p:nvSpPr>
            <p:spPr bwMode="auto">
              <a:xfrm>
                <a:off x="538" y="3610"/>
                <a:ext cx="871" cy="40"/>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09" name="Rectangle 152">
                <a:extLst>
                  <a:ext uri="{FF2B5EF4-FFF2-40B4-BE49-F238E27FC236}">
                    <a16:creationId xmlns:a16="http://schemas.microsoft.com/office/drawing/2014/main" id="{8639DE6C-DCB0-4C3F-AC2F-1939EBB4FF6F}"/>
                  </a:ext>
                </a:extLst>
              </p:cNvPr>
              <p:cNvSpPr>
                <a:spLocks noChangeArrowheads="1"/>
              </p:cNvSpPr>
              <p:nvPr/>
            </p:nvSpPr>
            <p:spPr bwMode="auto">
              <a:xfrm>
                <a:off x="538" y="3650"/>
                <a:ext cx="871" cy="22"/>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10" name="Rectangle 153">
                <a:extLst>
                  <a:ext uri="{FF2B5EF4-FFF2-40B4-BE49-F238E27FC236}">
                    <a16:creationId xmlns:a16="http://schemas.microsoft.com/office/drawing/2014/main" id="{3E50D0BA-1141-4E6E-A7AE-7050594472E1}"/>
                  </a:ext>
                </a:extLst>
              </p:cNvPr>
              <p:cNvSpPr>
                <a:spLocks noChangeArrowheads="1"/>
              </p:cNvSpPr>
              <p:nvPr/>
            </p:nvSpPr>
            <p:spPr bwMode="auto">
              <a:xfrm>
                <a:off x="538" y="3672"/>
                <a:ext cx="871" cy="17"/>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11" name="Rectangle 154">
                <a:extLst>
                  <a:ext uri="{FF2B5EF4-FFF2-40B4-BE49-F238E27FC236}">
                    <a16:creationId xmlns:a16="http://schemas.microsoft.com/office/drawing/2014/main" id="{AC3BA254-3573-4221-8FC9-72456ED05F58}"/>
                  </a:ext>
                </a:extLst>
              </p:cNvPr>
              <p:cNvSpPr>
                <a:spLocks noChangeArrowheads="1"/>
              </p:cNvSpPr>
              <p:nvPr/>
            </p:nvSpPr>
            <p:spPr bwMode="auto">
              <a:xfrm>
                <a:off x="538" y="3689"/>
                <a:ext cx="871" cy="23"/>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12" name="Rectangle 155">
                <a:extLst>
                  <a:ext uri="{FF2B5EF4-FFF2-40B4-BE49-F238E27FC236}">
                    <a16:creationId xmlns:a16="http://schemas.microsoft.com/office/drawing/2014/main" id="{629F3690-5F3E-4317-8C69-31934F6DBE6E}"/>
                  </a:ext>
                </a:extLst>
              </p:cNvPr>
              <p:cNvSpPr>
                <a:spLocks noChangeArrowheads="1"/>
              </p:cNvSpPr>
              <p:nvPr/>
            </p:nvSpPr>
            <p:spPr bwMode="auto">
              <a:xfrm>
                <a:off x="538" y="3712"/>
                <a:ext cx="871" cy="17"/>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13" name="Rectangle 156">
                <a:extLst>
                  <a:ext uri="{FF2B5EF4-FFF2-40B4-BE49-F238E27FC236}">
                    <a16:creationId xmlns:a16="http://schemas.microsoft.com/office/drawing/2014/main" id="{B03AEB54-2C90-4EBA-9CC2-6CA563861F0F}"/>
                  </a:ext>
                </a:extLst>
              </p:cNvPr>
              <p:cNvSpPr>
                <a:spLocks noChangeArrowheads="1"/>
              </p:cNvSpPr>
              <p:nvPr/>
            </p:nvSpPr>
            <p:spPr bwMode="auto">
              <a:xfrm>
                <a:off x="538" y="3729"/>
                <a:ext cx="871" cy="1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14" name="Rectangle 157">
                <a:extLst>
                  <a:ext uri="{FF2B5EF4-FFF2-40B4-BE49-F238E27FC236}">
                    <a16:creationId xmlns:a16="http://schemas.microsoft.com/office/drawing/2014/main" id="{B6BC50AE-2C31-4E87-BCC0-E0B6B00110EC}"/>
                  </a:ext>
                </a:extLst>
              </p:cNvPr>
              <p:cNvSpPr>
                <a:spLocks noChangeArrowheads="1"/>
              </p:cNvSpPr>
              <p:nvPr/>
            </p:nvSpPr>
            <p:spPr bwMode="auto">
              <a:xfrm>
                <a:off x="538" y="3746"/>
                <a:ext cx="871" cy="23"/>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15" name="Rectangle 158">
                <a:extLst>
                  <a:ext uri="{FF2B5EF4-FFF2-40B4-BE49-F238E27FC236}">
                    <a16:creationId xmlns:a16="http://schemas.microsoft.com/office/drawing/2014/main" id="{E00579E3-7258-40EA-8FAC-0438109EADBA}"/>
                  </a:ext>
                </a:extLst>
              </p:cNvPr>
              <p:cNvSpPr>
                <a:spLocks noChangeArrowheads="1"/>
              </p:cNvSpPr>
              <p:nvPr/>
            </p:nvSpPr>
            <p:spPr bwMode="auto">
              <a:xfrm>
                <a:off x="538" y="3769"/>
                <a:ext cx="871" cy="17"/>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16" name="Rectangle 159">
                <a:extLst>
                  <a:ext uri="{FF2B5EF4-FFF2-40B4-BE49-F238E27FC236}">
                    <a16:creationId xmlns:a16="http://schemas.microsoft.com/office/drawing/2014/main" id="{6CA20888-FDE3-4FB6-9EA5-7779A42C0BE5}"/>
                  </a:ext>
                </a:extLst>
              </p:cNvPr>
              <p:cNvSpPr>
                <a:spLocks noChangeArrowheads="1"/>
              </p:cNvSpPr>
              <p:nvPr/>
            </p:nvSpPr>
            <p:spPr bwMode="auto">
              <a:xfrm>
                <a:off x="538" y="3786"/>
                <a:ext cx="871" cy="5"/>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17" name="Freeform 160">
                <a:extLst>
                  <a:ext uri="{FF2B5EF4-FFF2-40B4-BE49-F238E27FC236}">
                    <a16:creationId xmlns:a16="http://schemas.microsoft.com/office/drawing/2014/main" id="{02859DFE-0CAE-47E4-B048-030A818F3541}"/>
                  </a:ext>
                </a:extLst>
              </p:cNvPr>
              <p:cNvSpPr>
                <a:spLocks/>
              </p:cNvSpPr>
              <p:nvPr/>
            </p:nvSpPr>
            <p:spPr bwMode="auto">
              <a:xfrm>
                <a:off x="543" y="3488"/>
                <a:ext cx="857" cy="300"/>
              </a:xfrm>
              <a:custGeom>
                <a:avLst/>
                <a:gdLst>
                  <a:gd name="T0" fmla="*/ 0 w 2422"/>
                  <a:gd name="T1" fmla="*/ 0 h 847"/>
                  <a:gd name="T2" fmla="*/ 0 w 2422"/>
                  <a:gd name="T3" fmla="*/ 0 h 847"/>
                  <a:gd name="T4" fmla="*/ 0 w 2422"/>
                  <a:gd name="T5" fmla="*/ 0 h 847"/>
                  <a:gd name="T6" fmla="*/ 0 w 2422"/>
                  <a:gd name="T7" fmla="*/ 0 h 847"/>
                  <a:gd name="T8" fmla="*/ 0 w 2422"/>
                  <a:gd name="T9" fmla="*/ 0 h 847"/>
                  <a:gd name="T10" fmla="*/ 0 w 2422"/>
                  <a:gd name="T11" fmla="*/ 0 h 847"/>
                  <a:gd name="T12" fmla="*/ 0 w 2422"/>
                  <a:gd name="T13" fmla="*/ 0 h 847"/>
                  <a:gd name="T14" fmla="*/ 0 w 2422"/>
                  <a:gd name="T15" fmla="*/ 0 h 847"/>
                  <a:gd name="T16" fmla="*/ 0 w 2422"/>
                  <a:gd name="T17" fmla="*/ 0 h 847"/>
                  <a:gd name="T18" fmla="*/ 0 w 2422"/>
                  <a:gd name="T19" fmla="*/ 0 h 847"/>
                  <a:gd name="T20" fmla="*/ 0 w 2422"/>
                  <a:gd name="T21" fmla="*/ 0 h 847"/>
                  <a:gd name="T22" fmla="*/ 0 w 2422"/>
                  <a:gd name="T23" fmla="*/ 0 h 847"/>
                  <a:gd name="T24" fmla="*/ 0 w 2422"/>
                  <a:gd name="T25" fmla="*/ 0 h 847"/>
                  <a:gd name="T26" fmla="*/ 0 w 2422"/>
                  <a:gd name="T27" fmla="*/ 0 h 847"/>
                  <a:gd name="T28" fmla="*/ 0 w 2422"/>
                  <a:gd name="T29" fmla="*/ 0 h 847"/>
                  <a:gd name="T30" fmla="*/ 0 w 2422"/>
                  <a:gd name="T31" fmla="*/ 0 h 847"/>
                  <a:gd name="T32" fmla="*/ 0 w 2422"/>
                  <a:gd name="T33" fmla="*/ 0 h 8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22"/>
                  <a:gd name="T52" fmla="*/ 0 h 847"/>
                  <a:gd name="T53" fmla="*/ 2422 w 2422"/>
                  <a:gd name="T54" fmla="*/ 847 h 84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22" h="847">
                    <a:moveTo>
                      <a:pt x="2119" y="847"/>
                    </a:moveTo>
                    <a:cubicBezTo>
                      <a:pt x="2286" y="847"/>
                      <a:pt x="2422" y="711"/>
                      <a:pt x="2422" y="544"/>
                    </a:cubicBezTo>
                    <a:lnTo>
                      <a:pt x="2416" y="551"/>
                    </a:lnTo>
                    <a:lnTo>
                      <a:pt x="2416" y="295"/>
                    </a:lnTo>
                    <a:lnTo>
                      <a:pt x="2422" y="303"/>
                    </a:lnTo>
                    <a:cubicBezTo>
                      <a:pt x="2422" y="136"/>
                      <a:pt x="2286" y="0"/>
                      <a:pt x="2119" y="0"/>
                    </a:cubicBezTo>
                    <a:lnTo>
                      <a:pt x="2112" y="7"/>
                    </a:lnTo>
                    <a:lnTo>
                      <a:pt x="304" y="7"/>
                    </a:lnTo>
                    <a:lnTo>
                      <a:pt x="305" y="0"/>
                    </a:lnTo>
                    <a:cubicBezTo>
                      <a:pt x="138" y="0"/>
                      <a:pt x="3" y="136"/>
                      <a:pt x="3" y="303"/>
                    </a:cubicBezTo>
                    <a:lnTo>
                      <a:pt x="0" y="295"/>
                    </a:lnTo>
                    <a:lnTo>
                      <a:pt x="0" y="551"/>
                    </a:lnTo>
                    <a:lnTo>
                      <a:pt x="3" y="544"/>
                    </a:lnTo>
                    <a:cubicBezTo>
                      <a:pt x="3" y="711"/>
                      <a:pt x="138" y="847"/>
                      <a:pt x="305" y="847"/>
                    </a:cubicBezTo>
                    <a:lnTo>
                      <a:pt x="304" y="839"/>
                    </a:lnTo>
                    <a:lnTo>
                      <a:pt x="2112" y="839"/>
                    </a:lnTo>
                    <a:lnTo>
                      <a:pt x="2119" y="847"/>
                    </a:lnTo>
                    <a:close/>
                  </a:path>
                </a:pathLst>
              </a:custGeom>
              <a:noFill/>
              <a:ln w="2" cap="rnd">
                <a:solidFill>
                  <a:srgbClr val="40404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418" name="Rectangle 161">
                <a:extLst>
                  <a:ext uri="{FF2B5EF4-FFF2-40B4-BE49-F238E27FC236}">
                    <a16:creationId xmlns:a16="http://schemas.microsoft.com/office/drawing/2014/main" id="{7C6F8F14-D290-4EE1-825D-B54EA5CCFD8A}"/>
                  </a:ext>
                </a:extLst>
              </p:cNvPr>
              <p:cNvSpPr>
                <a:spLocks noChangeArrowheads="1"/>
              </p:cNvSpPr>
              <p:nvPr/>
            </p:nvSpPr>
            <p:spPr bwMode="auto">
              <a:xfrm>
                <a:off x="611" y="3502"/>
                <a:ext cx="453" cy="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2300" b="1">
                    <a:solidFill>
                      <a:srgbClr val="000000"/>
                    </a:solidFill>
                    <a:latin typeface="微软雅黑" panose="020B0503020204020204" pitchFamily="34" charset="-122"/>
                    <a:ea typeface="宋体" panose="02010600030101010101" pitchFamily="2" charset="-122"/>
                  </a:rPr>
                  <a:t>销售信息</a:t>
                </a:r>
                <a:endParaRPr lang="zh-CN" altLang="zh-CN">
                  <a:ea typeface="宋体" panose="02010600030101010101" pitchFamily="2" charset="-122"/>
                </a:endParaRPr>
              </a:p>
            </p:txBody>
          </p:sp>
          <p:sp>
            <p:nvSpPr>
              <p:cNvPr id="419" name="Rectangle 162">
                <a:extLst>
                  <a:ext uri="{FF2B5EF4-FFF2-40B4-BE49-F238E27FC236}">
                    <a16:creationId xmlns:a16="http://schemas.microsoft.com/office/drawing/2014/main" id="{6A6FD863-628B-48DC-88D7-BC9272CB76AC}"/>
                  </a:ext>
                </a:extLst>
              </p:cNvPr>
              <p:cNvSpPr>
                <a:spLocks noChangeArrowheads="1"/>
              </p:cNvSpPr>
              <p:nvPr/>
            </p:nvSpPr>
            <p:spPr bwMode="auto">
              <a:xfrm>
                <a:off x="4188" y="1933"/>
                <a:ext cx="866" cy="436"/>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20" name="Freeform 163">
                <a:extLst>
                  <a:ext uri="{FF2B5EF4-FFF2-40B4-BE49-F238E27FC236}">
                    <a16:creationId xmlns:a16="http://schemas.microsoft.com/office/drawing/2014/main" id="{8701C249-F5BA-428B-93C3-21DDDB6228EA}"/>
                  </a:ext>
                </a:extLst>
              </p:cNvPr>
              <p:cNvSpPr>
                <a:spLocks/>
              </p:cNvSpPr>
              <p:nvPr/>
            </p:nvSpPr>
            <p:spPr bwMode="auto">
              <a:xfrm>
                <a:off x="4192" y="1936"/>
                <a:ext cx="857" cy="429"/>
              </a:xfrm>
              <a:custGeom>
                <a:avLst/>
                <a:gdLst>
                  <a:gd name="T0" fmla="*/ 0 w 2422"/>
                  <a:gd name="T1" fmla="*/ 0 h 1210"/>
                  <a:gd name="T2" fmla="*/ 0 w 2422"/>
                  <a:gd name="T3" fmla="*/ 0 h 1210"/>
                  <a:gd name="T4" fmla="*/ 0 w 2422"/>
                  <a:gd name="T5" fmla="*/ 0 h 1210"/>
                  <a:gd name="T6" fmla="*/ 0 w 2422"/>
                  <a:gd name="T7" fmla="*/ 0 h 1210"/>
                  <a:gd name="T8" fmla="*/ 0 w 2422"/>
                  <a:gd name="T9" fmla="*/ 0 h 1210"/>
                  <a:gd name="T10" fmla="*/ 0 w 2422"/>
                  <a:gd name="T11" fmla="*/ 0 h 1210"/>
                  <a:gd name="T12" fmla="*/ 0 w 2422"/>
                  <a:gd name="T13" fmla="*/ 0 h 1210"/>
                  <a:gd name="T14" fmla="*/ 0 w 2422"/>
                  <a:gd name="T15" fmla="*/ 0 h 1210"/>
                  <a:gd name="T16" fmla="*/ 0 w 2422"/>
                  <a:gd name="T17" fmla="*/ 0 h 1210"/>
                  <a:gd name="T18" fmla="*/ 0 w 2422"/>
                  <a:gd name="T19" fmla="*/ 0 h 1210"/>
                  <a:gd name="T20" fmla="*/ 0 w 2422"/>
                  <a:gd name="T21" fmla="*/ 0 h 1210"/>
                  <a:gd name="T22" fmla="*/ 0 w 2422"/>
                  <a:gd name="T23" fmla="*/ 0 h 1210"/>
                  <a:gd name="T24" fmla="*/ 0 w 2422"/>
                  <a:gd name="T25" fmla="*/ 0 h 1210"/>
                  <a:gd name="T26" fmla="*/ 0 w 2422"/>
                  <a:gd name="T27" fmla="*/ 0 h 1210"/>
                  <a:gd name="T28" fmla="*/ 0 w 2422"/>
                  <a:gd name="T29" fmla="*/ 0 h 1210"/>
                  <a:gd name="T30" fmla="*/ 0 w 2422"/>
                  <a:gd name="T31" fmla="*/ 0 h 1210"/>
                  <a:gd name="T32" fmla="*/ 0 w 2422"/>
                  <a:gd name="T33" fmla="*/ 0 h 12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22"/>
                  <a:gd name="T52" fmla="*/ 0 h 1210"/>
                  <a:gd name="T53" fmla="*/ 2422 w 2422"/>
                  <a:gd name="T54" fmla="*/ 1210 h 12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22" h="1210">
                    <a:moveTo>
                      <a:pt x="2117" y="1210"/>
                    </a:moveTo>
                    <a:cubicBezTo>
                      <a:pt x="2284" y="1210"/>
                      <a:pt x="2419" y="1075"/>
                      <a:pt x="2419" y="908"/>
                    </a:cubicBezTo>
                    <a:lnTo>
                      <a:pt x="2422" y="903"/>
                    </a:lnTo>
                    <a:lnTo>
                      <a:pt x="2422" y="295"/>
                    </a:lnTo>
                    <a:lnTo>
                      <a:pt x="2419" y="303"/>
                    </a:lnTo>
                    <a:cubicBezTo>
                      <a:pt x="2419" y="136"/>
                      <a:pt x="2284" y="0"/>
                      <a:pt x="2117" y="0"/>
                    </a:cubicBezTo>
                    <a:lnTo>
                      <a:pt x="2118" y="7"/>
                    </a:lnTo>
                    <a:lnTo>
                      <a:pt x="294" y="7"/>
                    </a:lnTo>
                    <a:lnTo>
                      <a:pt x="302" y="0"/>
                    </a:lnTo>
                    <a:cubicBezTo>
                      <a:pt x="135" y="0"/>
                      <a:pt x="0" y="136"/>
                      <a:pt x="0" y="303"/>
                    </a:cubicBezTo>
                    <a:lnTo>
                      <a:pt x="6" y="295"/>
                    </a:lnTo>
                    <a:lnTo>
                      <a:pt x="6" y="903"/>
                    </a:lnTo>
                    <a:lnTo>
                      <a:pt x="0" y="908"/>
                    </a:lnTo>
                    <a:cubicBezTo>
                      <a:pt x="0" y="1075"/>
                      <a:pt x="135" y="1210"/>
                      <a:pt x="302" y="1210"/>
                    </a:cubicBezTo>
                    <a:lnTo>
                      <a:pt x="294" y="1207"/>
                    </a:lnTo>
                    <a:lnTo>
                      <a:pt x="2118" y="1207"/>
                    </a:lnTo>
                    <a:lnTo>
                      <a:pt x="2117" y="1210"/>
                    </a:lnTo>
                    <a:close/>
                  </a:path>
                </a:pathLst>
              </a:custGeom>
              <a:solidFill>
                <a:srgbClr val="FFFFFF"/>
              </a:solidFill>
              <a:ln w="0">
                <a:solidFill>
                  <a:srgbClr val="000000"/>
                </a:solidFill>
                <a:round/>
                <a:headEnd/>
                <a:tailEnd/>
              </a:ln>
            </p:spPr>
            <p:txBody>
              <a:bodyPr/>
              <a:lstStyle/>
              <a:p>
                <a:endParaRPr lang="zh-CN" altLang="en-US"/>
              </a:p>
            </p:txBody>
          </p:sp>
          <p:sp>
            <p:nvSpPr>
              <p:cNvPr id="421" name="Rectangle 164">
                <a:extLst>
                  <a:ext uri="{FF2B5EF4-FFF2-40B4-BE49-F238E27FC236}">
                    <a16:creationId xmlns:a16="http://schemas.microsoft.com/office/drawing/2014/main" id="{A3D232EA-A057-4724-8A23-4B84B4F5C8D0}"/>
                  </a:ext>
                </a:extLst>
              </p:cNvPr>
              <p:cNvSpPr>
                <a:spLocks noChangeArrowheads="1"/>
              </p:cNvSpPr>
              <p:nvPr/>
            </p:nvSpPr>
            <p:spPr bwMode="auto">
              <a:xfrm>
                <a:off x="4188" y="1933"/>
                <a:ext cx="866" cy="436"/>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22" name="Rectangle 165">
                <a:extLst>
                  <a:ext uri="{FF2B5EF4-FFF2-40B4-BE49-F238E27FC236}">
                    <a16:creationId xmlns:a16="http://schemas.microsoft.com/office/drawing/2014/main" id="{D3C2B43A-9BC3-4B2B-B3FC-A1D21FD2BB4C}"/>
                  </a:ext>
                </a:extLst>
              </p:cNvPr>
              <p:cNvSpPr>
                <a:spLocks noChangeArrowheads="1"/>
              </p:cNvSpPr>
              <p:nvPr/>
            </p:nvSpPr>
            <p:spPr bwMode="auto">
              <a:xfrm>
                <a:off x="4188" y="1933"/>
                <a:ext cx="872" cy="442"/>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23" name="Freeform 166">
                <a:extLst>
                  <a:ext uri="{FF2B5EF4-FFF2-40B4-BE49-F238E27FC236}">
                    <a16:creationId xmlns:a16="http://schemas.microsoft.com/office/drawing/2014/main" id="{16EA9144-707D-48A1-B5C8-39ED53161E97}"/>
                  </a:ext>
                </a:extLst>
              </p:cNvPr>
              <p:cNvSpPr>
                <a:spLocks/>
              </p:cNvSpPr>
              <p:nvPr/>
            </p:nvSpPr>
            <p:spPr bwMode="auto">
              <a:xfrm>
                <a:off x="4189" y="1933"/>
                <a:ext cx="863" cy="435"/>
              </a:xfrm>
              <a:custGeom>
                <a:avLst/>
                <a:gdLst>
                  <a:gd name="T0" fmla="*/ 0 w 2438"/>
                  <a:gd name="T1" fmla="*/ 0 h 1227"/>
                  <a:gd name="T2" fmla="*/ 0 w 2438"/>
                  <a:gd name="T3" fmla="*/ 0 h 1227"/>
                  <a:gd name="T4" fmla="*/ 0 w 2438"/>
                  <a:gd name="T5" fmla="*/ 0 h 1227"/>
                  <a:gd name="T6" fmla="*/ 0 w 2438"/>
                  <a:gd name="T7" fmla="*/ 0 h 1227"/>
                  <a:gd name="T8" fmla="*/ 0 w 2438"/>
                  <a:gd name="T9" fmla="*/ 0 h 1227"/>
                  <a:gd name="T10" fmla="*/ 0 w 2438"/>
                  <a:gd name="T11" fmla="*/ 0 h 1227"/>
                  <a:gd name="T12" fmla="*/ 0 w 2438"/>
                  <a:gd name="T13" fmla="*/ 0 h 1227"/>
                  <a:gd name="T14" fmla="*/ 0 w 2438"/>
                  <a:gd name="T15" fmla="*/ 0 h 1227"/>
                  <a:gd name="T16" fmla="*/ 0 w 2438"/>
                  <a:gd name="T17" fmla="*/ 0 h 1227"/>
                  <a:gd name="T18" fmla="*/ 0 w 2438"/>
                  <a:gd name="T19" fmla="*/ 0 h 1227"/>
                  <a:gd name="T20" fmla="*/ 0 w 2438"/>
                  <a:gd name="T21" fmla="*/ 0 h 1227"/>
                  <a:gd name="T22" fmla="*/ 0 w 2438"/>
                  <a:gd name="T23" fmla="*/ 0 h 1227"/>
                  <a:gd name="T24" fmla="*/ 0 w 2438"/>
                  <a:gd name="T25" fmla="*/ 0 h 1227"/>
                  <a:gd name="T26" fmla="*/ 0 w 2438"/>
                  <a:gd name="T27" fmla="*/ 0 h 1227"/>
                  <a:gd name="T28" fmla="*/ 0 w 2438"/>
                  <a:gd name="T29" fmla="*/ 0 h 1227"/>
                  <a:gd name="T30" fmla="*/ 0 w 2438"/>
                  <a:gd name="T31" fmla="*/ 0 h 1227"/>
                  <a:gd name="T32" fmla="*/ 0 w 2438"/>
                  <a:gd name="T33" fmla="*/ 0 h 1227"/>
                  <a:gd name="T34" fmla="*/ 0 w 2438"/>
                  <a:gd name="T35" fmla="*/ 0 h 1227"/>
                  <a:gd name="T36" fmla="*/ 0 w 2438"/>
                  <a:gd name="T37" fmla="*/ 0 h 1227"/>
                  <a:gd name="T38" fmla="*/ 0 w 2438"/>
                  <a:gd name="T39" fmla="*/ 0 h 1227"/>
                  <a:gd name="T40" fmla="*/ 0 w 2438"/>
                  <a:gd name="T41" fmla="*/ 0 h 1227"/>
                  <a:gd name="T42" fmla="*/ 0 w 2438"/>
                  <a:gd name="T43" fmla="*/ 0 h 1227"/>
                  <a:gd name="T44" fmla="*/ 0 w 2438"/>
                  <a:gd name="T45" fmla="*/ 0 h 1227"/>
                  <a:gd name="T46" fmla="*/ 0 w 2438"/>
                  <a:gd name="T47" fmla="*/ 0 h 1227"/>
                  <a:gd name="T48" fmla="*/ 0 w 2438"/>
                  <a:gd name="T49" fmla="*/ 0 h 1227"/>
                  <a:gd name="T50" fmla="*/ 0 w 2438"/>
                  <a:gd name="T51" fmla="*/ 0 h 1227"/>
                  <a:gd name="T52" fmla="*/ 0 w 2438"/>
                  <a:gd name="T53" fmla="*/ 0 h 1227"/>
                  <a:gd name="T54" fmla="*/ 0 w 2438"/>
                  <a:gd name="T55" fmla="*/ 0 h 1227"/>
                  <a:gd name="T56" fmla="*/ 0 w 2438"/>
                  <a:gd name="T57" fmla="*/ 0 h 1227"/>
                  <a:gd name="T58" fmla="*/ 0 w 2438"/>
                  <a:gd name="T59" fmla="*/ 0 h 1227"/>
                  <a:gd name="T60" fmla="*/ 0 w 2438"/>
                  <a:gd name="T61" fmla="*/ 0 h 1227"/>
                  <a:gd name="T62" fmla="*/ 0 w 2438"/>
                  <a:gd name="T63" fmla="*/ 0 h 1227"/>
                  <a:gd name="T64" fmla="*/ 0 w 2438"/>
                  <a:gd name="T65" fmla="*/ 0 h 1227"/>
                  <a:gd name="T66" fmla="*/ 0 w 2438"/>
                  <a:gd name="T67" fmla="*/ 0 h 1227"/>
                  <a:gd name="T68" fmla="*/ 0 w 2438"/>
                  <a:gd name="T69" fmla="*/ 0 h 1227"/>
                  <a:gd name="T70" fmla="*/ 0 w 2438"/>
                  <a:gd name="T71" fmla="*/ 0 h 1227"/>
                  <a:gd name="T72" fmla="*/ 0 w 2438"/>
                  <a:gd name="T73" fmla="*/ 0 h 1227"/>
                  <a:gd name="T74" fmla="*/ 0 w 2438"/>
                  <a:gd name="T75" fmla="*/ 0 h 1227"/>
                  <a:gd name="T76" fmla="*/ 0 w 2438"/>
                  <a:gd name="T77" fmla="*/ 0 h 1227"/>
                  <a:gd name="T78" fmla="*/ 0 w 2438"/>
                  <a:gd name="T79" fmla="*/ 0 h 1227"/>
                  <a:gd name="T80" fmla="*/ 0 w 2438"/>
                  <a:gd name="T81" fmla="*/ 0 h 1227"/>
                  <a:gd name="T82" fmla="*/ 0 w 2438"/>
                  <a:gd name="T83" fmla="*/ 0 h 1227"/>
                  <a:gd name="T84" fmla="*/ 0 w 2438"/>
                  <a:gd name="T85" fmla="*/ 0 h 1227"/>
                  <a:gd name="T86" fmla="*/ 0 w 2438"/>
                  <a:gd name="T87" fmla="*/ 0 h 1227"/>
                  <a:gd name="T88" fmla="*/ 0 w 2438"/>
                  <a:gd name="T89" fmla="*/ 0 h 1227"/>
                  <a:gd name="T90" fmla="*/ 0 w 2438"/>
                  <a:gd name="T91" fmla="*/ 0 h 1227"/>
                  <a:gd name="T92" fmla="*/ 0 w 2438"/>
                  <a:gd name="T93" fmla="*/ 0 h 1227"/>
                  <a:gd name="T94" fmla="*/ 0 w 2438"/>
                  <a:gd name="T95" fmla="*/ 0 h 1227"/>
                  <a:gd name="T96" fmla="*/ 0 w 2438"/>
                  <a:gd name="T97" fmla="*/ 0 h 1227"/>
                  <a:gd name="T98" fmla="*/ 0 w 2438"/>
                  <a:gd name="T99" fmla="*/ 0 h 1227"/>
                  <a:gd name="T100" fmla="*/ 0 w 2438"/>
                  <a:gd name="T101" fmla="*/ 0 h 1227"/>
                  <a:gd name="T102" fmla="*/ 0 w 2438"/>
                  <a:gd name="T103" fmla="*/ 0 h 1227"/>
                  <a:gd name="T104" fmla="*/ 0 w 2438"/>
                  <a:gd name="T105" fmla="*/ 0 h 1227"/>
                  <a:gd name="T106" fmla="*/ 0 w 2438"/>
                  <a:gd name="T107" fmla="*/ 0 h 1227"/>
                  <a:gd name="T108" fmla="*/ 0 w 2438"/>
                  <a:gd name="T109" fmla="*/ 0 h 1227"/>
                  <a:gd name="T110" fmla="*/ 0 w 2438"/>
                  <a:gd name="T111" fmla="*/ 0 h 1227"/>
                  <a:gd name="T112" fmla="*/ 0 w 2438"/>
                  <a:gd name="T113" fmla="*/ 0 h 1227"/>
                  <a:gd name="T114" fmla="*/ 0 w 2438"/>
                  <a:gd name="T115" fmla="*/ 0 h 1227"/>
                  <a:gd name="T116" fmla="*/ 0 w 2438"/>
                  <a:gd name="T117" fmla="*/ 0 h 1227"/>
                  <a:gd name="T118" fmla="*/ 0 w 2438"/>
                  <a:gd name="T119" fmla="*/ 0 h 1227"/>
                  <a:gd name="T120" fmla="*/ 0 w 2438"/>
                  <a:gd name="T121" fmla="*/ 0 h 12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38"/>
                  <a:gd name="T184" fmla="*/ 0 h 1227"/>
                  <a:gd name="T185" fmla="*/ 2438 w 2438"/>
                  <a:gd name="T186" fmla="*/ 1227 h 12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38" h="1227">
                    <a:moveTo>
                      <a:pt x="2125" y="1211"/>
                    </a:moveTo>
                    <a:lnTo>
                      <a:pt x="2186" y="1205"/>
                    </a:lnTo>
                    <a:lnTo>
                      <a:pt x="2184" y="1205"/>
                    </a:lnTo>
                    <a:lnTo>
                      <a:pt x="2241" y="1187"/>
                    </a:lnTo>
                    <a:lnTo>
                      <a:pt x="2240" y="1187"/>
                    </a:lnTo>
                    <a:lnTo>
                      <a:pt x="2291" y="1159"/>
                    </a:lnTo>
                    <a:lnTo>
                      <a:pt x="2289" y="1160"/>
                    </a:lnTo>
                    <a:lnTo>
                      <a:pt x="2334" y="1124"/>
                    </a:lnTo>
                    <a:lnTo>
                      <a:pt x="2333" y="1125"/>
                    </a:lnTo>
                    <a:lnTo>
                      <a:pt x="2369" y="1080"/>
                    </a:lnTo>
                    <a:lnTo>
                      <a:pt x="2368" y="1082"/>
                    </a:lnTo>
                    <a:lnTo>
                      <a:pt x="2396" y="1031"/>
                    </a:lnTo>
                    <a:lnTo>
                      <a:pt x="2396" y="1032"/>
                    </a:lnTo>
                    <a:lnTo>
                      <a:pt x="2414" y="975"/>
                    </a:lnTo>
                    <a:lnTo>
                      <a:pt x="2414" y="977"/>
                    </a:lnTo>
                    <a:lnTo>
                      <a:pt x="2420" y="916"/>
                    </a:lnTo>
                    <a:cubicBezTo>
                      <a:pt x="2420" y="915"/>
                      <a:pt x="2420" y="913"/>
                      <a:pt x="2421" y="912"/>
                    </a:cubicBezTo>
                    <a:lnTo>
                      <a:pt x="2424" y="907"/>
                    </a:lnTo>
                    <a:lnTo>
                      <a:pt x="2422" y="911"/>
                    </a:lnTo>
                    <a:lnTo>
                      <a:pt x="2422" y="303"/>
                    </a:lnTo>
                    <a:lnTo>
                      <a:pt x="2438" y="306"/>
                    </a:lnTo>
                    <a:lnTo>
                      <a:pt x="2435" y="314"/>
                    </a:lnTo>
                    <a:cubicBezTo>
                      <a:pt x="2434" y="318"/>
                      <a:pt x="2430" y="320"/>
                      <a:pt x="2426" y="319"/>
                    </a:cubicBezTo>
                    <a:cubicBezTo>
                      <a:pt x="2423" y="319"/>
                      <a:pt x="2420" y="316"/>
                      <a:pt x="2420" y="312"/>
                    </a:cubicBezTo>
                    <a:lnTo>
                      <a:pt x="2414" y="251"/>
                    </a:lnTo>
                    <a:lnTo>
                      <a:pt x="2414" y="253"/>
                    </a:lnTo>
                    <a:lnTo>
                      <a:pt x="2396" y="196"/>
                    </a:lnTo>
                    <a:lnTo>
                      <a:pt x="2396" y="197"/>
                    </a:lnTo>
                    <a:lnTo>
                      <a:pt x="2368" y="146"/>
                    </a:lnTo>
                    <a:lnTo>
                      <a:pt x="2369" y="147"/>
                    </a:lnTo>
                    <a:lnTo>
                      <a:pt x="2333" y="102"/>
                    </a:lnTo>
                    <a:lnTo>
                      <a:pt x="2334" y="104"/>
                    </a:lnTo>
                    <a:lnTo>
                      <a:pt x="2289" y="67"/>
                    </a:lnTo>
                    <a:lnTo>
                      <a:pt x="2291" y="67"/>
                    </a:lnTo>
                    <a:lnTo>
                      <a:pt x="2240" y="39"/>
                    </a:lnTo>
                    <a:lnTo>
                      <a:pt x="2241" y="40"/>
                    </a:lnTo>
                    <a:lnTo>
                      <a:pt x="2184" y="22"/>
                    </a:lnTo>
                    <a:lnTo>
                      <a:pt x="2186" y="22"/>
                    </a:lnTo>
                    <a:lnTo>
                      <a:pt x="2125" y="16"/>
                    </a:lnTo>
                    <a:lnTo>
                      <a:pt x="2133" y="7"/>
                    </a:lnTo>
                    <a:lnTo>
                      <a:pt x="2134" y="14"/>
                    </a:lnTo>
                    <a:cubicBezTo>
                      <a:pt x="2135" y="17"/>
                      <a:pt x="2134" y="19"/>
                      <a:pt x="2133" y="21"/>
                    </a:cubicBezTo>
                    <a:cubicBezTo>
                      <a:pt x="2131" y="22"/>
                      <a:pt x="2129" y="23"/>
                      <a:pt x="2126" y="23"/>
                    </a:cubicBezTo>
                    <a:lnTo>
                      <a:pt x="302" y="23"/>
                    </a:lnTo>
                    <a:cubicBezTo>
                      <a:pt x="299" y="23"/>
                      <a:pt x="296" y="21"/>
                      <a:pt x="295" y="18"/>
                    </a:cubicBezTo>
                    <a:cubicBezTo>
                      <a:pt x="294" y="15"/>
                      <a:pt x="295" y="12"/>
                      <a:pt x="297" y="9"/>
                    </a:cubicBezTo>
                    <a:lnTo>
                      <a:pt x="305" y="2"/>
                    </a:lnTo>
                    <a:lnTo>
                      <a:pt x="311" y="16"/>
                    </a:lnTo>
                    <a:lnTo>
                      <a:pt x="250" y="22"/>
                    </a:lnTo>
                    <a:lnTo>
                      <a:pt x="252" y="22"/>
                    </a:lnTo>
                    <a:lnTo>
                      <a:pt x="195" y="40"/>
                    </a:lnTo>
                    <a:lnTo>
                      <a:pt x="196" y="39"/>
                    </a:lnTo>
                    <a:lnTo>
                      <a:pt x="145" y="67"/>
                    </a:lnTo>
                    <a:lnTo>
                      <a:pt x="147" y="67"/>
                    </a:lnTo>
                    <a:lnTo>
                      <a:pt x="102" y="104"/>
                    </a:lnTo>
                    <a:lnTo>
                      <a:pt x="103" y="102"/>
                    </a:lnTo>
                    <a:lnTo>
                      <a:pt x="67" y="147"/>
                    </a:lnTo>
                    <a:lnTo>
                      <a:pt x="67" y="146"/>
                    </a:lnTo>
                    <a:lnTo>
                      <a:pt x="39" y="197"/>
                    </a:lnTo>
                    <a:lnTo>
                      <a:pt x="40" y="196"/>
                    </a:lnTo>
                    <a:lnTo>
                      <a:pt x="22" y="253"/>
                    </a:lnTo>
                    <a:lnTo>
                      <a:pt x="22" y="251"/>
                    </a:lnTo>
                    <a:lnTo>
                      <a:pt x="16" y="312"/>
                    </a:lnTo>
                    <a:lnTo>
                      <a:pt x="2" y="307"/>
                    </a:lnTo>
                    <a:lnTo>
                      <a:pt x="8" y="299"/>
                    </a:lnTo>
                    <a:cubicBezTo>
                      <a:pt x="10" y="296"/>
                      <a:pt x="14" y="295"/>
                      <a:pt x="17" y="296"/>
                    </a:cubicBezTo>
                    <a:cubicBezTo>
                      <a:pt x="20" y="297"/>
                      <a:pt x="22" y="300"/>
                      <a:pt x="22" y="303"/>
                    </a:cubicBezTo>
                    <a:lnTo>
                      <a:pt x="22" y="911"/>
                    </a:lnTo>
                    <a:cubicBezTo>
                      <a:pt x="22" y="914"/>
                      <a:pt x="21" y="916"/>
                      <a:pt x="20" y="918"/>
                    </a:cubicBezTo>
                    <a:lnTo>
                      <a:pt x="14" y="923"/>
                    </a:lnTo>
                    <a:lnTo>
                      <a:pt x="16" y="916"/>
                    </a:lnTo>
                    <a:lnTo>
                      <a:pt x="22" y="977"/>
                    </a:lnTo>
                    <a:lnTo>
                      <a:pt x="22" y="975"/>
                    </a:lnTo>
                    <a:lnTo>
                      <a:pt x="40" y="1032"/>
                    </a:lnTo>
                    <a:lnTo>
                      <a:pt x="39" y="1031"/>
                    </a:lnTo>
                    <a:lnTo>
                      <a:pt x="67" y="1082"/>
                    </a:lnTo>
                    <a:lnTo>
                      <a:pt x="67" y="1080"/>
                    </a:lnTo>
                    <a:lnTo>
                      <a:pt x="103" y="1125"/>
                    </a:lnTo>
                    <a:lnTo>
                      <a:pt x="101" y="1124"/>
                    </a:lnTo>
                    <a:lnTo>
                      <a:pt x="146" y="1160"/>
                    </a:lnTo>
                    <a:lnTo>
                      <a:pt x="145" y="1159"/>
                    </a:lnTo>
                    <a:lnTo>
                      <a:pt x="196" y="1187"/>
                    </a:lnTo>
                    <a:lnTo>
                      <a:pt x="195" y="1187"/>
                    </a:lnTo>
                    <a:lnTo>
                      <a:pt x="252" y="1205"/>
                    </a:lnTo>
                    <a:lnTo>
                      <a:pt x="250" y="1205"/>
                    </a:lnTo>
                    <a:lnTo>
                      <a:pt x="311" y="1211"/>
                    </a:lnTo>
                    <a:lnTo>
                      <a:pt x="308" y="1226"/>
                    </a:lnTo>
                    <a:lnTo>
                      <a:pt x="300" y="1223"/>
                    </a:lnTo>
                    <a:cubicBezTo>
                      <a:pt x="296" y="1222"/>
                      <a:pt x="294" y="1218"/>
                      <a:pt x="295" y="1214"/>
                    </a:cubicBezTo>
                    <a:cubicBezTo>
                      <a:pt x="295" y="1210"/>
                      <a:pt x="299" y="1207"/>
                      <a:pt x="302" y="1207"/>
                    </a:cubicBezTo>
                    <a:lnTo>
                      <a:pt x="2126" y="1207"/>
                    </a:lnTo>
                    <a:cubicBezTo>
                      <a:pt x="2131" y="1207"/>
                      <a:pt x="2134" y="1211"/>
                      <a:pt x="2134" y="1215"/>
                    </a:cubicBezTo>
                    <a:cubicBezTo>
                      <a:pt x="2134" y="1220"/>
                      <a:pt x="2131" y="1223"/>
                      <a:pt x="2126" y="1223"/>
                    </a:cubicBezTo>
                    <a:lnTo>
                      <a:pt x="302" y="1223"/>
                    </a:lnTo>
                    <a:lnTo>
                      <a:pt x="305" y="1208"/>
                    </a:lnTo>
                    <a:lnTo>
                      <a:pt x="313" y="1211"/>
                    </a:lnTo>
                    <a:cubicBezTo>
                      <a:pt x="317" y="1212"/>
                      <a:pt x="319" y="1216"/>
                      <a:pt x="318" y="1220"/>
                    </a:cubicBezTo>
                    <a:cubicBezTo>
                      <a:pt x="317" y="1224"/>
                      <a:pt x="314" y="1227"/>
                      <a:pt x="310" y="1226"/>
                    </a:cubicBezTo>
                    <a:lnTo>
                      <a:pt x="249" y="1220"/>
                    </a:lnTo>
                    <a:cubicBezTo>
                      <a:pt x="248" y="1220"/>
                      <a:pt x="248" y="1220"/>
                      <a:pt x="247" y="1220"/>
                    </a:cubicBezTo>
                    <a:lnTo>
                      <a:pt x="190" y="1202"/>
                    </a:lnTo>
                    <a:cubicBezTo>
                      <a:pt x="190" y="1202"/>
                      <a:pt x="189" y="1202"/>
                      <a:pt x="189" y="1201"/>
                    </a:cubicBezTo>
                    <a:lnTo>
                      <a:pt x="138" y="1173"/>
                    </a:lnTo>
                    <a:cubicBezTo>
                      <a:pt x="137" y="1173"/>
                      <a:pt x="137" y="1173"/>
                      <a:pt x="136" y="1173"/>
                    </a:cubicBezTo>
                    <a:lnTo>
                      <a:pt x="91" y="1137"/>
                    </a:lnTo>
                    <a:cubicBezTo>
                      <a:pt x="91" y="1136"/>
                      <a:pt x="91" y="1136"/>
                      <a:pt x="90" y="1135"/>
                    </a:cubicBezTo>
                    <a:lnTo>
                      <a:pt x="54" y="1090"/>
                    </a:lnTo>
                    <a:cubicBezTo>
                      <a:pt x="54" y="1090"/>
                      <a:pt x="54" y="1090"/>
                      <a:pt x="53" y="1089"/>
                    </a:cubicBezTo>
                    <a:lnTo>
                      <a:pt x="25" y="1038"/>
                    </a:lnTo>
                    <a:cubicBezTo>
                      <a:pt x="25" y="1038"/>
                      <a:pt x="25" y="1037"/>
                      <a:pt x="25" y="1037"/>
                    </a:cubicBezTo>
                    <a:lnTo>
                      <a:pt x="7" y="980"/>
                    </a:lnTo>
                    <a:cubicBezTo>
                      <a:pt x="7" y="979"/>
                      <a:pt x="7" y="979"/>
                      <a:pt x="7" y="978"/>
                    </a:cubicBezTo>
                    <a:lnTo>
                      <a:pt x="1" y="917"/>
                    </a:lnTo>
                    <a:cubicBezTo>
                      <a:pt x="0" y="915"/>
                      <a:pt x="1" y="912"/>
                      <a:pt x="3" y="910"/>
                    </a:cubicBezTo>
                    <a:lnTo>
                      <a:pt x="9" y="905"/>
                    </a:lnTo>
                    <a:lnTo>
                      <a:pt x="6" y="911"/>
                    </a:lnTo>
                    <a:lnTo>
                      <a:pt x="6" y="303"/>
                    </a:lnTo>
                    <a:lnTo>
                      <a:pt x="21" y="308"/>
                    </a:lnTo>
                    <a:lnTo>
                      <a:pt x="15" y="316"/>
                    </a:lnTo>
                    <a:cubicBezTo>
                      <a:pt x="13" y="319"/>
                      <a:pt x="9" y="320"/>
                      <a:pt x="6" y="319"/>
                    </a:cubicBezTo>
                    <a:cubicBezTo>
                      <a:pt x="2" y="318"/>
                      <a:pt x="0" y="314"/>
                      <a:pt x="1" y="311"/>
                    </a:cubicBezTo>
                    <a:lnTo>
                      <a:pt x="7" y="250"/>
                    </a:lnTo>
                    <a:cubicBezTo>
                      <a:pt x="7" y="249"/>
                      <a:pt x="7" y="249"/>
                      <a:pt x="7" y="248"/>
                    </a:cubicBezTo>
                    <a:lnTo>
                      <a:pt x="25" y="191"/>
                    </a:lnTo>
                    <a:cubicBezTo>
                      <a:pt x="25" y="191"/>
                      <a:pt x="25" y="190"/>
                      <a:pt x="25" y="190"/>
                    </a:cubicBezTo>
                    <a:lnTo>
                      <a:pt x="53" y="139"/>
                    </a:lnTo>
                    <a:cubicBezTo>
                      <a:pt x="54" y="138"/>
                      <a:pt x="54" y="138"/>
                      <a:pt x="54" y="137"/>
                    </a:cubicBezTo>
                    <a:lnTo>
                      <a:pt x="90" y="92"/>
                    </a:lnTo>
                    <a:cubicBezTo>
                      <a:pt x="91" y="92"/>
                      <a:pt x="91" y="92"/>
                      <a:pt x="91" y="91"/>
                    </a:cubicBezTo>
                    <a:lnTo>
                      <a:pt x="136" y="54"/>
                    </a:lnTo>
                    <a:cubicBezTo>
                      <a:pt x="137" y="54"/>
                      <a:pt x="137" y="54"/>
                      <a:pt x="138" y="53"/>
                    </a:cubicBezTo>
                    <a:lnTo>
                      <a:pt x="189" y="25"/>
                    </a:lnTo>
                    <a:cubicBezTo>
                      <a:pt x="189" y="25"/>
                      <a:pt x="190" y="25"/>
                      <a:pt x="190" y="25"/>
                    </a:cubicBezTo>
                    <a:lnTo>
                      <a:pt x="247" y="7"/>
                    </a:lnTo>
                    <a:cubicBezTo>
                      <a:pt x="248" y="7"/>
                      <a:pt x="248" y="7"/>
                      <a:pt x="249" y="7"/>
                    </a:cubicBezTo>
                    <a:lnTo>
                      <a:pt x="310" y="1"/>
                    </a:lnTo>
                    <a:cubicBezTo>
                      <a:pt x="313" y="0"/>
                      <a:pt x="316" y="2"/>
                      <a:pt x="318" y="5"/>
                    </a:cubicBezTo>
                    <a:cubicBezTo>
                      <a:pt x="319" y="8"/>
                      <a:pt x="318" y="12"/>
                      <a:pt x="316" y="14"/>
                    </a:cubicBezTo>
                    <a:lnTo>
                      <a:pt x="308" y="21"/>
                    </a:lnTo>
                    <a:lnTo>
                      <a:pt x="302" y="7"/>
                    </a:lnTo>
                    <a:lnTo>
                      <a:pt x="2126" y="7"/>
                    </a:lnTo>
                    <a:lnTo>
                      <a:pt x="2119" y="17"/>
                    </a:lnTo>
                    <a:lnTo>
                      <a:pt x="2118" y="10"/>
                    </a:lnTo>
                    <a:cubicBezTo>
                      <a:pt x="2117" y="7"/>
                      <a:pt x="2118" y="5"/>
                      <a:pt x="2120" y="3"/>
                    </a:cubicBezTo>
                    <a:cubicBezTo>
                      <a:pt x="2121" y="1"/>
                      <a:pt x="2124" y="0"/>
                      <a:pt x="2126" y="1"/>
                    </a:cubicBezTo>
                    <a:lnTo>
                      <a:pt x="2187" y="7"/>
                    </a:lnTo>
                    <a:cubicBezTo>
                      <a:pt x="2188" y="7"/>
                      <a:pt x="2188" y="7"/>
                      <a:pt x="2189" y="7"/>
                    </a:cubicBezTo>
                    <a:lnTo>
                      <a:pt x="2246" y="25"/>
                    </a:lnTo>
                    <a:cubicBezTo>
                      <a:pt x="2246" y="25"/>
                      <a:pt x="2247" y="25"/>
                      <a:pt x="2247" y="25"/>
                    </a:cubicBezTo>
                    <a:lnTo>
                      <a:pt x="2298" y="53"/>
                    </a:lnTo>
                    <a:cubicBezTo>
                      <a:pt x="2299" y="54"/>
                      <a:pt x="2299" y="54"/>
                      <a:pt x="2300" y="54"/>
                    </a:cubicBezTo>
                    <a:lnTo>
                      <a:pt x="2345" y="91"/>
                    </a:lnTo>
                    <a:cubicBezTo>
                      <a:pt x="2345" y="92"/>
                      <a:pt x="2345" y="92"/>
                      <a:pt x="2346" y="92"/>
                    </a:cubicBezTo>
                    <a:lnTo>
                      <a:pt x="2382" y="137"/>
                    </a:lnTo>
                    <a:cubicBezTo>
                      <a:pt x="2382" y="138"/>
                      <a:pt x="2382" y="138"/>
                      <a:pt x="2382" y="139"/>
                    </a:cubicBezTo>
                    <a:lnTo>
                      <a:pt x="2410" y="190"/>
                    </a:lnTo>
                    <a:cubicBezTo>
                      <a:pt x="2411" y="190"/>
                      <a:pt x="2411" y="191"/>
                      <a:pt x="2411" y="191"/>
                    </a:cubicBezTo>
                    <a:lnTo>
                      <a:pt x="2429" y="248"/>
                    </a:lnTo>
                    <a:cubicBezTo>
                      <a:pt x="2429" y="249"/>
                      <a:pt x="2429" y="249"/>
                      <a:pt x="2429" y="250"/>
                    </a:cubicBezTo>
                    <a:lnTo>
                      <a:pt x="2435" y="311"/>
                    </a:lnTo>
                    <a:lnTo>
                      <a:pt x="2420" y="309"/>
                    </a:lnTo>
                    <a:lnTo>
                      <a:pt x="2423" y="301"/>
                    </a:lnTo>
                    <a:cubicBezTo>
                      <a:pt x="2424" y="297"/>
                      <a:pt x="2428" y="295"/>
                      <a:pt x="2432" y="296"/>
                    </a:cubicBezTo>
                    <a:cubicBezTo>
                      <a:pt x="2436" y="296"/>
                      <a:pt x="2438" y="300"/>
                      <a:pt x="2438" y="303"/>
                    </a:cubicBezTo>
                    <a:lnTo>
                      <a:pt x="2438" y="911"/>
                    </a:lnTo>
                    <a:cubicBezTo>
                      <a:pt x="2438" y="913"/>
                      <a:pt x="2438" y="914"/>
                      <a:pt x="2437" y="916"/>
                    </a:cubicBezTo>
                    <a:lnTo>
                      <a:pt x="2434" y="921"/>
                    </a:lnTo>
                    <a:lnTo>
                      <a:pt x="2435" y="917"/>
                    </a:lnTo>
                    <a:lnTo>
                      <a:pt x="2429" y="978"/>
                    </a:lnTo>
                    <a:cubicBezTo>
                      <a:pt x="2429" y="979"/>
                      <a:pt x="2429" y="979"/>
                      <a:pt x="2429" y="980"/>
                    </a:cubicBezTo>
                    <a:lnTo>
                      <a:pt x="2411" y="1037"/>
                    </a:lnTo>
                    <a:cubicBezTo>
                      <a:pt x="2411" y="1037"/>
                      <a:pt x="2411" y="1038"/>
                      <a:pt x="2410" y="1038"/>
                    </a:cubicBezTo>
                    <a:lnTo>
                      <a:pt x="2382" y="1089"/>
                    </a:lnTo>
                    <a:cubicBezTo>
                      <a:pt x="2382" y="1090"/>
                      <a:pt x="2382" y="1090"/>
                      <a:pt x="2382" y="1090"/>
                    </a:cubicBezTo>
                    <a:lnTo>
                      <a:pt x="2346" y="1135"/>
                    </a:lnTo>
                    <a:cubicBezTo>
                      <a:pt x="2345" y="1136"/>
                      <a:pt x="2345" y="1136"/>
                      <a:pt x="2344" y="1137"/>
                    </a:cubicBezTo>
                    <a:lnTo>
                      <a:pt x="2299" y="1173"/>
                    </a:lnTo>
                    <a:cubicBezTo>
                      <a:pt x="2299" y="1173"/>
                      <a:pt x="2299" y="1173"/>
                      <a:pt x="2298" y="1173"/>
                    </a:cubicBezTo>
                    <a:lnTo>
                      <a:pt x="2247" y="1201"/>
                    </a:lnTo>
                    <a:cubicBezTo>
                      <a:pt x="2247" y="1202"/>
                      <a:pt x="2246" y="1202"/>
                      <a:pt x="2246" y="1202"/>
                    </a:cubicBezTo>
                    <a:lnTo>
                      <a:pt x="2189" y="1220"/>
                    </a:lnTo>
                    <a:cubicBezTo>
                      <a:pt x="2188" y="1220"/>
                      <a:pt x="2188" y="1220"/>
                      <a:pt x="2187" y="1220"/>
                    </a:cubicBezTo>
                    <a:lnTo>
                      <a:pt x="2126" y="1226"/>
                    </a:lnTo>
                    <a:cubicBezTo>
                      <a:pt x="2122" y="1227"/>
                      <a:pt x="2118" y="1224"/>
                      <a:pt x="2118" y="1219"/>
                    </a:cubicBezTo>
                    <a:cubicBezTo>
                      <a:pt x="2117" y="1215"/>
                      <a:pt x="2120" y="1211"/>
                      <a:pt x="2125" y="1211"/>
                    </a:cubicBezTo>
                    <a:close/>
                  </a:path>
                </a:pathLst>
              </a:custGeom>
              <a:solidFill>
                <a:srgbClr val="FFFFFF"/>
              </a:solidFill>
              <a:ln w="0">
                <a:solidFill>
                  <a:srgbClr val="000000"/>
                </a:solidFill>
                <a:round/>
                <a:headEnd/>
                <a:tailEnd/>
              </a:ln>
            </p:spPr>
            <p:txBody>
              <a:bodyPr/>
              <a:lstStyle/>
              <a:p>
                <a:endParaRPr lang="zh-CN" altLang="en-US"/>
              </a:p>
            </p:txBody>
          </p:sp>
          <p:sp>
            <p:nvSpPr>
              <p:cNvPr id="424" name="Rectangle 167">
                <a:extLst>
                  <a:ext uri="{FF2B5EF4-FFF2-40B4-BE49-F238E27FC236}">
                    <a16:creationId xmlns:a16="http://schemas.microsoft.com/office/drawing/2014/main" id="{2A12EB62-B691-4AA3-B3A4-74062F5B2E87}"/>
                  </a:ext>
                </a:extLst>
              </p:cNvPr>
              <p:cNvSpPr>
                <a:spLocks noChangeArrowheads="1"/>
              </p:cNvSpPr>
              <p:nvPr/>
            </p:nvSpPr>
            <p:spPr bwMode="auto">
              <a:xfrm>
                <a:off x="4188" y="1933"/>
                <a:ext cx="872" cy="442"/>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25" name="Rectangle 168">
                <a:extLst>
                  <a:ext uri="{FF2B5EF4-FFF2-40B4-BE49-F238E27FC236}">
                    <a16:creationId xmlns:a16="http://schemas.microsoft.com/office/drawing/2014/main" id="{30038A3C-07ED-4AD9-A3DD-0C94B03515AF}"/>
                  </a:ext>
                </a:extLst>
              </p:cNvPr>
              <p:cNvSpPr>
                <a:spLocks noChangeArrowheads="1"/>
              </p:cNvSpPr>
              <p:nvPr/>
            </p:nvSpPr>
            <p:spPr bwMode="auto">
              <a:xfrm>
                <a:off x="4171" y="1916"/>
                <a:ext cx="872" cy="5"/>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26" name="Rectangle 169">
                <a:extLst>
                  <a:ext uri="{FF2B5EF4-FFF2-40B4-BE49-F238E27FC236}">
                    <a16:creationId xmlns:a16="http://schemas.microsoft.com/office/drawing/2014/main" id="{55253D4B-4327-4E60-8884-69A703E5226E}"/>
                  </a:ext>
                </a:extLst>
              </p:cNvPr>
              <p:cNvSpPr>
                <a:spLocks noChangeArrowheads="1"/>
              </p:cNvSpPr>
              <p:nvPr/>
            </p:nvSpPr>
            <p:spPr bwMode="auto">
              <a:xfrm>
                <a:off x="4171" y="1921"/>
                <a:ext cx="872"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27" name="Rectangle 170">
                <a:extLst>
                  <a:ext uri="{FF2B5EF4-FFF2-40B4-BE49-F238E27FC236}">
                    <a16:creationId xmlns:a16="http://schemas.microsoft.com/office/drawing/2014/main" id="{AFA927E8-0E64-4F8C-AEC9-29540DB3978A}"/>
                  </a:ext>
                </a:extLst>
              </p:cNvPr>
              <p:cNvSpPr>
                <a:spLocks noChangeArrowheads="1"/>
              </p:cNvSpPr>
              <p:nvPr/>
            </p:nvSpPr>
            <p:spPr bwMode="auto">
              <a:xfrm>
                <a:off x="4171" y="1938"/>
                <a:ext cx="872" cy="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28" name="Rectangle 171">
                <a:extLst>
                  <a:ext uri="{FF2B5EF4-FFF2-40B4-BE49-F238E27FC236}">
                    <a16:creationId xmlns:a16="http://schemas.microsoft.com/office/drawing/2014/main" id="{62FAEBC1-1ED2-4B99-94BC-156F9C2E1D5E}"/>
                  </a:ext>
                </a:extLst>
              </p:cNvPr>
              <p:cNvSpPr>
                <a:spLocks noChangeArrowheads="1"/>
              </p:cNvSpPr>
              <p:nvPr/>
            </p:nvSpPr>
            <p:spPr bwMode="auto">
              <a:xfrm>
                <a:off x="4171" y="1961"/>
                <a:ext cx="872" cy="28"/>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29" name="Rectangle 172">
                <a:extLst>
                  <a:ext uri="{FF2B5EF4-FFF2-40B4-BE49-F238E27FC236}">
                    <a16:creationId xmlns:a16="http://schemas.microsoft.com/office/drawing/2014/main" id="{98454374-4A59-4C8F-9260-5C5D75D0E9F3}"/>
                  </a:ext>
                </a:extLst>
              </p:cNvPr>
              <p:cNvSpPr>
                <a:spLocks noChangeArrowheads="1"/>
              </p:cNvSpPr>
              <p:nvPr/>
            </p:nvSpPr>
            <p:spPr bwMode="auto">
              <a:xfrm>
                <a:off x="4171" y="1989"/>
                <a:ext cx="872" cy="29"/>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30" name="Rectangle 173">
                <a:extLst>
                  <a:ext uri="{FF2B5EF4-FFF2-40B4-BE49-F238E27FC236}">
                    <a16:creationId xmlns:a16="http://schemas.microsoft.com/office/drawing/2014/main" id="{47A4E5EF-D168-44D9-A8DC-C2BB2829E1A1}"/>
                  </a:ext>
                </a:extLst>
              </p:cNvPr>
              <p:cNvSpPr>
                <a:spLocks noChangeArrowheads="1"/>
              </p:cNvSpPr>
              <p:nvPr/>
            </p:nvSpPr>
            <p:spPr bwMode="auto">
              <a:xfrm>
                <a:off x="4171" y="2018"/>
                <a:ext cx="872" cy="28"/>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31" name="Rectangle 174">
                <a:extLst>
                  <a:ext uri="{FF2B5EF4-FFF2-40B4-BE49-F238E27FC236}">
                    <a16:creationId xmlns:a16="http://schemas.microsoft.com/office/drawing/2014/main" id="{6B7F1CA2-8518-4806-880F-E1F768147F6E}"/>
                  </a:ext>
                </a:extLst>
              </p:cNvPr>
              <p:cNvSpPr>
                <a:spLocks noChangeArrowheads="1"/>
              </p:cNvSpPr>
              <p:nvPr/>
            </p:nvSpPr>
            <p:spPr bwMode="auto">
              <a:xfrm>
                <a:off x="4171" y="2046"/>
                <a:ext cx="872" cy="28"/>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32" name="Rectangle 175">
                <a:extLst>
                  <a:ext uri="{FF2B5EF4-FFF2-40B4-BE49-F238E27FC236}">
                    <a16:creationId xmlns:a16="http://schemas.microsoft.com/office/drawing/2014/main" id="{D5D8F2B2-7061-458B-9AE9-DA639CEEDC76}"/>
                  </a:ext>
                </a:extLst>
              </p:cNvPr>
              <p:cNvSpPr>
                <a:spLocks noChangeArrowheads="1"/>
              </p:cNvSpPr>
              <p:nvPr/>
            </p:nvSpPr>
            <p:spPr bwMode="auto">
              <a:xfrm>
                <a:off x="4171" y="2074"/>
                <a:ext cx="872" cy="29"/>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33" name="Rectangle 176">
                <a:extLst>
                  <a:ext uri="{FF2B5EF4-FFF2-40B4-BE49-F238E27FC236}">
                    <a16:creationId xmlns:a16="http://schemas.microsoft.com/office/drawing/2014/main" id="{54C0002F-3D54-4F46-A0F8-5A1D3DCD511B}"/>
                  </a:ext>
                </a:extLst>
              </p:cNvPr>
              <p:cNvSpPr>
                <a:spLocks noChangeArrowheads="1"/>
              </p:cNvSpPr>
              <p:nvPr/>
            </p:nvSpPr>
            <p:spPr bwMode="auto">
              <a:xfrm>
                <a:off x="4171" y="2103"/>
                <a:ext cx="872" cy="51"/>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34" name="Rectangle 177">
                <a:extLst>
                  <a:ext uri="{FF2B5EF4-FFF2-40B4-BE49-F238E27FC236}">
                    <a16:creationId xmlns:a16="http://schemas.microsoft.com/office/drawing/2014/main" id="{A49C6D78-6DD3-4B44-BDCA-C5797680A28F}"/>
                  </a:ext>
                </a:extLst>
              </p:cNvPr>
              <p:cNvSpPr>
                <a:spLocks noChangeArrowheads="1"/>
              </p:cNvSpPr>
              <p:nvPr/>
            </p:nvSpPr>
            <p:spPr bwMode="auto">
              <a:xfrm>
                <a:off x="4171" y="2154"/>
                <a:ext cx="872" cy="28"/>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35" name="Rectangle 178">
                <a:extLst>
                  <a:ext uri="{FF2B5EF4-FFF2-40B4-BE49-F238E27FC236}">
                    <a16:creationId xmlns:a16="http://schemas.microsoft.com/office/drawing/2014/main" id="{03B35D23-CFCF-4253-ABF4-DE33476D3959}"/>
                  </a:ext>
                </a:extLst>
              </p:cNvPr>
              <p:cNvSpPr>
                <a:spLocks noChangeArrowheads="1"/>
              </p:cNvSpPr>
              <p:nvPr/>
            </p:nvSpPr>
            <p:spPr bwMode="auto">
              <a:xfrm>
                <a:off x="4171" y="2182"/>
                <a:ext cx="872" cy="28"/>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36" name="Rectangle 179">
                <a:extLst>
                  <a:ext uri="{FF2B5EF4-FFF2-40B4-BE49-F238E27FC236}">
                    <a16:creationId xmlns:a16="http://schemas.microsoft.com/office/drawing/2014/main" id="{919BC6DA-8D56-4D6E-910B-3B5E8965C3B0}"/>
                  </a:ext>
                </a:extLst>
              </p:cNvPr>
              <p:cNvSpPr>
                <a:spLocks noChangeArrowheads="1"/>
              </p:cNvSpPr>
              <p:nvPr/>
            </p:nvSpPr>
            <p:spPr bwMode="auto">
              <a:xfrm>
                <a:off x="4171" y="2210"/>
                <a:ext cx="872" cy="29"/>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37" name="Rectangle 180">
                <a:extLst>
                  <a:ext uri="{FF2B5EF4-FFF2-40B4-BE49-F238E27FC236}">
                    <a16:creationId xmlns:a16="http://schemas.microsoft.com/office/drawing/2014/main" id="{F5E5CEB5-F944-4BA0-9B29-A4D5A158DBD2}"/>
                  </a:ext>
                </a:extLst>
              </p:cNvPr>
              <p:cNvSpPr>
                <a:spLocks noChangeArrowheads="1"/>
              </p:cNvSpPr>
              <p:nvPr/>
            </p:nvSpPr>
            <p:spPr bwMode="auto">
              <a:xfrm>
                <a:off x="4171" y="2239"/>
                <a:ext cx="872" cy="28"/>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38" name="Rectangle 181">
                <a:extLst>
                  <a:ext uri="{FF2B5EF4-FFF2-40B4-BE49-F238E27FC236}">
                    <a16:creationId xmlns:a16="http://schemas.microsoft.com/office/drawing/2014/main" id="{1B0EF20B-8A3D-4B1F-866A-4E20A9BB678D}"/>
                  </a:ext>
                </a:extLst>
              </p:cNvPr>
              <p:cNvSpPr>
                <a:spLocks noChangeArrowheads="1"/>
              </p:cNvSpPr>
              <p:nvPr/>
            </p:nvSpPr>
            <p:spPr bwMode="auto">
              <a:xfrm>
                <a:off x="4171" y="2267"/>
                <a:ext cx="872" cy="2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39" name="Rectangle 182">
                <a:extLst>
                  <a:ext uri="{FF2B5EF4-FFF2-40B4-BE49-F238E27FC236}">
                    <a16:creationId xmlns:a16="http://schemas.microsoft.com/office/drawing/2014/main" id="{8668D90E-6703-42B7-8F87-515A48546768}"/>
                  </a:ext>
                </a:extLst>
              </p:cNvPr>
              <p:cNvSpPr>
                <a:spLocks noChangeArrowheads="1"/>
              </p:cNvSpPr>
              <p:nvPr/>
            </p:nvSpPr>
            <p:spPr bwMode="auto">
              <a:xfrm>
                <a:off x="4171" y="2295"/>
                <a:ext cx="872" cy="23"/>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40" name="Rectangle 183">
                <a:extLst>
                  <a:ext uri="{FF2B5EF4-FFF2-40B4-BE49-F238E27FC236}">
                    <a16:creationId xmlns:a16="http://schemas.microsoft.com/office/drawing/2014/main" id="{E2353FD0-EA40-4650-98BE-058A33897972}"/>
                  </a:ext>
                </a:extLst>
              </p:cNvPr>
              <p:cNvSpPr>
                <a:spLocks noChangeArrowheads="1"/>
              </p:cNvSpPr>
              <p:nvPr/>
            </p:nvSpPr>
            <p:spPr bwMode="auto">
              <a:xfrm>
                <a:off x="4171" y="2318"/>
                <a:ext cx="872" cy="28"/>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41" name="Rectangle 184">
                <a:extLst>
                  <a:ext uri="{FF2B5EF4-FFF2-40B4-BE49-F238E27FC236}">
                    <a16:creationId xmlns:a16="http://schemas.microsoft.com/office/drawing/2014/main" id="{A18F0440-E7A1-487A-91D3-B42255DC86E8}"/>
                  </a:ext>
                </a:extLst>
              </p:cNvPr>
              <p:cNvSpPr>
                <a:spLocks noChangeArrowheads="1"/>
              </p:cNvSpPr>
              <p:nvPr/>
            </p:nvSpPr>
            <p:spPr bwMode="auto">
              <a:xfrm>
                <a:off x="4171" y="2346"/>
                <a:ext cx="872" cy="12"/>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42" name="Freeform 185">
                <a:extLst>
                  <a:ext uri="{FF2B5EF4-FFF2-40B4-BE49-F238E27FC236}">
                    <a16:creationId xmlns:a16="http://schemas.microsoft.com/office/drawing/2014/main" id="{FA835AF3-2095-40D7-8D09-0A52F2D67818}"/>
                  </a:ext>
                </a:extLst>
              </p:cNvPr>
              <p:cNvSpPr>
                <a:spLocks/>
              </p:cNvSpPr>
              <p:nvPr/>
            </p:nvSpPr>
            <p:spPr bwMode="auto">
              <a:xfrm>
                <a:off x="4181" y="1925"/>
                <a:ext cx="856" cy="429"/>
              </a:xfrm>
              <a:custGeom>
                <a:avLst/>
                <a:gdLst>
                  <a:gd name="T0" fmla="*/ 0 w 2421"/>
                  <a:gd name="T1" fmla="*/ 0 h 1209"/>
                  <a:gd name="T2" fmla="*/ 0 w 2421"/>
                  <a:gd name="T3" fmla="*/ 0 h 1209"/>
                  <a:gd name="T4" fmla="*/ 0 w 2421"/>
                  <a:gd name="T5" fmla="*/ 0 h 1209"/>
                  <a:gd name="T6" fmla="*/ 0 w 2421"/>
                  <a:gd name="T7" fmla="*/ 0 h 1209"/>
                  <a:gd name="T8" fmla="*/ 0 w 2421"/>
                  <a:gd name="T9" fmla="*/ 0 h 1209"/>
                  <a:gd name="T10" fmla="*/ 0 w 2421"/>
                  <a:gd name="T11" fmla="*/ 0 h 1209"/>
                  <a:gd name="T12" fmla="*/ 0 w 2421"/>
                  <a:gd name="T13" fmla="*/ 0 h 1209"/>
                  <a:gd name="T14" fmla="*/ 0 w 2421"/>
                  <a:gd name="T15" fmla="*/ 0 h 1209"/>
                  <a:gd name="T16" fmla="*/ 0 w 2421"/>
                  <a:gd name="T17" fmla="*/ 0 h 1209"/>
                  <a:gd name="T18" fmla="*/ 0 w 2421"/>
                  <a:gd name="T19" fmla="*/ 0 h 1209"/>
                  <a:gd name="T20" fmla="*/ 0 w 2421"/>
                  <a:gd name="T21" fmla="*/ 0 h 1209"/>
                  <a:gd name="T22" fmla="*/ 0 w 2421"/>
                  <a:gd name="T23" fmla="*/ 0 h 1209"/>
                  <a:gd name="T24" fmla="*/ 0 w 2421"/>
                  <a:gd name="T25" fmla="*/ 0 h 1209"/>
                  <a:gd name="T26" fmla="*/ 0 w 2421"/>
                  <a:gd name="T27" fmla="*/ 0 h 1209"/>
                  <a:gd name="T28" fmla="*/ 0 w 2421"/>
                  <a:gd name="T29" fmla="*/ 0 h 1209"/>
                  <a:gd name="T30" fmla="*/ 0 w 2421"/>
                  <a:gd name="T31" fmla="*/ 0 h 1209"/>
                  <a:gd name="T32" fmla="*/ 0 w 2421"/>
                  <a:gd name="T33" fmla="*/ 0 h 120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21"/>
                  <a:gd name="T52" fmla="*/ 0 h 1209"/>
                  <a:gd name="T53" fmla="*/ 2421 w 2421"/>
                  <a:gd name="T54" fmla="*/ 1209 h 120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21" h="1209">
                    <a:moveTo>
                      <a:pt x="2117" y="1209"/>
                    </a:moveTo>
                    <a:cubicBezTo>
                      <a:pt x="2284" y="1209"/>
                      <a:pt x="2419" y="1074"/>
                      <a:pt x="2419" y="907"/>
                    </a:cubicBezTo>
                    <a:lnTo>
                      <a:pt x="2421" y="901"/>
                    </a:lnTo>
                    <a:lnTo>
                      <a:pt x="2421" y="309"/>
                    </a:lnTo>
                    <a:lnTo>
                      <a:pt x="2419" y="302"/>
                    </a:lnTo>
                    <a:cubicBezTo>
                      <a:pt x="2419" y="135"/>
                      <a:pt x="2284" y="0"/>
                      <a:pt x="2117" y="0"/>
                    </a:cubicBezTo>
                    <a:lnTo>
                      <a:pt x="2117" y="5"/>
                    </a:lnTo>
                    <a:lnTo>
                      <a:pt x="309" y="5"/>
                    </a:lnTo>
                    <a:lnTo>
                      <a:pt x="303" y="0"/>
                    </a:lnTo>
                    <a:cubicBezTo>
                      <a:pt x="136" y="0"/>
                      <a:pt x="0" y="135"/>
                      <a:pt x="0" y="302"/>
                    </a:cubicBezTo>
                    <a:lnTo>
                      <a:pt x="5" y="309"/>
                    </a:lnTo>
                    <a:lnTo>
                      <a:pt x="5" y="901"/>
                    </a:lnTo>
                    <a:lnTo>
                      <a:pt x="0" y="907"/>
                    </a:lnTo>
                    <a:cubicBezTo>
                      <a:pt x="0" y="1074"/>
                      <a:pt x="136" y="1209"/>
                      <a:pt x="303" y="1209"/>
                    </a:cubicBezTo>
                    <a:lnTo>
                      <a:pt x="309" y="1205"/>
                    </a:lnTo>
                    <a:lnTo>
                      <a:pt x="2117" y="1205"/>
                    </a:lnTo>
                    <a:lnTo>
                      <a:pt x="2117" y="1209"/>
                    </a:lnTo>
                    <a:close/>
                  </a:path>
                </a:pathLst>
              </a:custGeom>
              <a:noFill/>
              <a:ln w="2" cap="rnd">
                <a:solidFill>
                  <a:srgbClr val="40404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443" name="Rectangle 186">
                <a:extLst>
                  <a:ext uri="{FF2B5EF4-FFF2-40B4-BE49-F238E27FC236}">
                    <a16:creationId xmlns:a16="http://schemas.microsoft.com/office/drawing/2014/main" id="{45D8E0A6-E2DA-40AB-804C-3062B59CFBE1}"/>
                  </a:ext>
                </a:extLst>
              </p:cNvPr>
              <p:cNvSpPr>
                <a:spLocks noChangeArrowheads="1"/>
              </p:cNvSpPr>
              <p:nvPr/>
            </p:nvSpPr>
            <p:spPr bwMode="auto">
              <a:xfrm>
                <a:off x="4295" y="1950"/>
                <a:ext cx="650"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en-US" altLang="zh-CN" sz="2000" b="1">
                    <a:solidFill>
                      <a:srgbClr val="000000"/>
                    </a:solidFill>
                    <a:latin typeface="微软雅黑" panose="020B0503020204020204" pitchFamily="34" charset="-122"/>
                    <a:ea typeface="宋体" panose="02010600030101010101" pitchFamily="2" charset="-122"/>
                  </a:rPr>
                  <a:t>QA/QC</a:t>
                </a:r>
              </a:p>
              <a:p>
                <a:r>
                  <a:rPr lang="zh-CN" altLang="en-US" sz="2000" b="1">
                    <a:solidFill>
                      <a:srgbClr val="000000"/>
                    </a:solidFill>
                    <a:latin typeface="微软雅黑" panose="020B0503020204020204" pitchFamily="34" charset="-122"/>
                    <a:ea typeface="宋体" panose="02010600030101010101" pitchFamily="2" charset="-122"/>
                  </a:rPr>
                  <a:t>集中管理</a:t>
                </a:r>
                <a:endParaRPr lang="zh-CN" altLang="zh-CN" sz="2000">
                  <a:ea typeface="宋体" panose="02010600030101010101" pitchFamily="2" charset="-122"/>
                </a:endParaRPr>
              </a:p>
            </p:txBody>
          </p:sp>
          <p:sp>
            <p:nvSpPr>
              <p:cNvPr id="444" name="Rectangle 187">
                <a:extLst>
                  <a:ext uri="{FF2B5EF4-FFF2-40B4-BE49-F238E27FC236}">
                    <a16:creationId xmlns:a16="http://schemas.microsoft.com/office/drawing/2014/main" id="{7CEDEEC3-301B-4210-AAA4-42C89969AC7D}"/>
                  </a:ext>
                </a:extLst>
              </p:cNvPr>
              <p:cNvSpPr>
                <a:spLocks noChangeArrowheads="1"/>
              </p:cNvSpPr>
              <p:nvPr/>
            </p:nvSpPr>
            <p:spPr bwMode="auto">
              <a:xfrm>
                <a:off x="4245" y="2108"/>
                <a:ext cx="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zh-CN">
                  <a:ea typeface="宋体" panose="02010600030101010101" pitchFamily="2" charset="-122"/>
                </a:endParaRPr>
              </a:p>
            </p:txBody>
          </p:sp>
          <p:sp>
            <p:nvSpPr>
              <p:cNvPr id="445" name="Rectangle 188">
                <a:extLst>
                  <a:ext uri="{FF2B5EF4-FFF2-40B4-BE49-F238E27FC236}">
                    <a16:creationId xmlns:a16="http://schemas.microsoft.com/office/drawing/2014/main" id="{1615EB72-6198-4BAA-8552-8503DF269168}"/>
                  </a:ext>
                </a:extLst>
              </p:cNvPr>
              <p:cNvSpPr>
                <a:spLocks noChangeArrowheads="1"/>
              </p:cNvSpPr>
              <p:nvPr/>
            </p:nvSpPr>
            <p:spPr bwMode="auto">
              <a:xfrm>
                <a:off x="4188" y="2471"/>
                <a:ext cx="866" cy="436"/>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46" name="Freeform 189">
                <a:extLst>
                  <a:ext uri="{FF2B5EF4-FFF2-40B4-BE49-F238E27FC236}">
                    <a16:creationId xmlns:a16="http://schemas.microsoft.com/office/drawing/2014/main" id="{8BC1E62E-C213-4D2B-9731-33241D163953}"/>
                  </a:ext>
                </a:extLst>
              </p:cNvPr>
              <p:cNvSpPr>
                <a:spLocks/>
              </p:cNvSpPr>
              <p:nvPr/>
            </p:nvSpPr>
            <p:spPr bwMode="auto">
              <a:xfrm>
                <a:off x="4192" y="2471"/>
                <a:ext cx="857" cy="431"/>
              </a:xfrm>
              <a:custGeom>
                <a:avLst/>
                <a:gdLst>
                  <a:gd name="T0" fmla="*/ 0 w 2422"/>
                  <a:gd name="T1" fmla="*/ 0 h 1216"/>
                  <a:gd name="T2" fmla="*/ 0 w 2422"/>
                  <a:gd name="T3" fmla="*/ 0 h 1216"/>
                  <a:gd name="T4" fmla="*/ 0 w 2422"/>
                  <a:gd name="T5" fmla="*/ 0 h 1216"/>
                  <a:gd name="T6" fmla="*/ 0 w 2422"/>
                  <a:gd name="T7" fmla="*/ 0 h 1216"/>
                  <a:gd name="T8" fmla="*/ 0 w 2422"/>
                  <a:gd name="T9" fmla="*/ 0 h 1216"/>
                  <a:gd name="T10" fmla="*/ 0 w 2422"/>
                  <a:gd name="T11" fmla="*/ 0 h 1216"/>
                  <a:gd name="T12" fmla="*/ 0 w 2422"/>
                  <a:gd name="T13" fmla="*/ 0 h 1216"/>
                  <a:gd name="T14" fmla="*/ 0 w 2422"/>
                  <a:gd name="T15" fmla="*/ 0 h 1216"/>
                  <a:gd name="T16" fmla="*/ 0 w 2422"/>
                  <a:gd name="T17" fmla="*/ 0 h 1216"/>
                  <a:gd name="T18" fmla="*/ 0 w 2422"/>
                  <a:gd name="T19" fmla="*/ 0 h 1216"/>
                  <a:gd name="T20" fmla="*/ 0 w 2422"/>
                  <a:gd name="T21" fmla="*/ 0 h 1216"/>
                  <a:gd name="T22" fmla="*/ 0 w 2422"/>
                  <a:gd name="T23" fmla="*/ 0 h 1216"/>
                  <a:gd name="T24" fmla="*/ 0 w 2422"/>
                  <a:gd name="T25" fmla="*/ 0 h 1216"/>
                  <a:gd name="T26" fmla="*/ 0 w 2422"/>
                  <a:gd name="T27" fmla="*/ 0 h 1216"/>
                  <a:gd name="T28" fmla="*/ 0 w 2422"/>
                  <a:gd name="T29" fmla="*/ 0 h 1216"/>
                  <a:gd name="T30" fmla="*/ 0 w 2422"/>
                  <a:gd name="T31" fmla="*/ 0 h 1216"/>
                  <a:gd name="T32" fmla="*/ 0 w 2422"/>
                  <a:gd name="T33" fmla="*/ 0 h 12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22"/>
                  <a:gd name="T52" fmla="*/ 0 h 1216"/>
                  <a:gd name="T53" fmla="*/ 2422 w 2422"/>
                  <a:gd name="T54" fmla="*/ 1216 h 12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22" h="1216">
                    <a:moveTo>
                      <a:pt x="2117" y="1211"/>
                    </a:moveTo>
                    <a:cubicBezTo>
                      <a:pt x="2284" y="1211"/>
                      <a:pt x="2419" y="1075"/>
                      <a:pt x="2419" y="908"/>
                    </a:cubicBezTo>
                    <a:lnTo>
                      <a:pt x="2422" y="912"/>
                    </a:lnTo>
                    <a:lnTo>
                      <a:pt x="2422" y="304"/>
                    </a:lnTo>
                    <a:lnTo>
                      <a:pt x="2419" y="304"/>
                    </a:lnTo>
                    <a:cubicBezTo>
                      <a:pt x="2419" y="137"/>
                      <a:pt x="2284" y="1"/>
                      <a:pt x="2117" y="1"/>
                    </a:cubicBezTo>
                    <a:lnTo>
                      <a:pt x="2118" y="0"/>
                    </a:lnTo>
                    <a:lnTo>
                      <a:pt x="294" y="0"/>
                    </a:lnTo>
                    <a:lnTo>
                      <a:pt x="302" y="1"/>
                    </a:lnTo>
                    <a:cubicBezTo>
                      <a:pt x="135" y="1"/>
                      <a:pt x="0" y="137"/>
                      <a:pt x="0" y="304"/>
                    </a:cubicBezTo>
                    <a:lnTo>
                      <a:pt x="6" y="304"/>
                    </a:lnTo>
                    <a:lnTo>
                      <a:pt x="6" y="912"/>
                    </a:lnTo>
                    <a:lnTo>
                      <a:pt x="0" y="908"/>
                    </a:lnTo>
                    <a:cubicBezTo>
                      <a:pt x="0" y="1075"/>
                      <a:pt x="135" y="1211"/>
                      <a:pt x="302" y="1211"/>
                    </a:cubicBezTo>
                    <a:lnTo>
                      <a:pt x="294" y="1216"/>
                    </a:lnTo>
                    <a:lnTo>
                      <a:pt x="2118" y="1216"/>
                    </a:lnTo>
                    <a:lnTo>
                      <a:pt x="2117" y="1211"/>
                    </a:lnTo>
                    <a:close/>
                  </a:path>
                </a:pathLst>
              </a:custGeom>
              <a:solidFill>
                <a:srgbClr val="FFFFFF"/>
              </a:solidFill>
              <a:ln w="0">
                <a:solidFill>
                  <a:srgbClr val="000000"/>
                </a:solidFill>
                <a:round/>
                <a:headEnd/>
                <a:tailEnd/>
              </a:ln>
            </p:spPr>
            <p:txBody>
              <a:bodyPr/>
              <a:lstStyle/>
              <a:p>
                <a:endParaRPr lang="zh-CN" altLang="en-US"/>
              </a:p>
            </p:txBody>
          </p:sp>
          <p:sp>
            <p:nvSpPr>
              <p:cNvPr id="447" name="Rectangle 190">
                <a:extLst>
                  <a:ext uri="{FF2B5EF4-FFF2-40B4-BE49-F238E27FC236}">
                    <a16:creationId xmlns:a16="http://schemas.microsoft.com/office/drawing/2014/main" id="{4DD29726-B173-4E82-87BA-C6B141B1E6E1}"/>
                  </a:ext>
                </a:extLst>
              </p:cNvPr>
              <p:cNvSpPr>
                <a:spLocks noChangeArrowheads="1"/>
              </p:cNvSpPr>
              <p:nvPr/>
            </p:nvSpPr>
            <p:spPr bwMode="auto">
              <a:xfrm>
                <a:off x="4188" y="2471"/>
                <a:ext cx="866" cy="436"/>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48" name="Rectangle 191">
                <a:extLst>
                  <a:ext uri="{FF2B5EF4-FFF2-40B4-BE49-F238E27FC236}">
                    <a16:creationId xmlns:a16="http://schemas.microsoft.com/office/drawing/2014/main" id="{9AA521CE-C47C-4D18-B432-51497C15D9B9}"/>
                  </a:ext>
                </a:extLst>
              </p:cNvPr>
              <p:cNvSpPr>
                <a:spLocks noChangeArrowheads="1"/>
              </p:cNvSpPr>
              <p:nvPr/>
            </p:nvSpPr>
            <p:spPr bwMode="auto">
              <a:xfrm>
                <a:off x="4188" y="2465"/>
                <a:ext cx="872" cy="442"/>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49" name="Freeform 192">
                <a:extLst>
                  <a:ext uri="{FF2B5EF4-FFF2-40B4-BE49-F238E27FC236}">
                    <a16:creationId xmlns:a16="http://schemas.microsoft.com/office/drawing/2014/main" id="{5A84779A-1E12-473D-B4A3-8B7EDEB53A87}"/>
                  </a:ext>
                </a:extLst>
              </p:cNvPr>
              <p:cNvSpPr>
                <a:spLocks/>
              </p:cNvSpPr>
              <p:nvPr/>
            </p:nvSpPr>
            <p:spPr bwMode="auto">
              <a:xfrm>
                <a:off x="4189" y="2468"/>
                <a:ext cx="863" cy="437"/>
              </a:xfrm>
              <a:custGeom>
                <a:avLst/>
                <a:gdLst>
                  <a:gd name="T0" fmla="*/ 0 w 2438"/>
                  <a:gd name="T1" fmla="*/ 0 h 1232"/>
                  <a:gd name="T2" fmla="*/ 0 w 2438"/>
                  <a:gd name="T3" fmla="*/ 0 h 1232"/>
                  <a:gd name="T4" fmla="*/ 0 w 2438"/>
                  <a:gd name="T5" fmla="*/ 0 h 1232"/>
                  <a:gd name="T6" fmla="*/ 0 w 2438"/>
                  <a:gd name="T7" fmla="*/ 0 h 1232"/>
                  <a:gd name="T8" fmla="*/ 0 w 2438"/>
                  <a:gd name="T9" fmla="*/ 0 h 1232"/>
                  <a:gd name="T10" fmla="*/ 0 w 2438"/>
                  <a:gd name="T11" fmla="*/ 0 h 1232"/>
                  <a:gd name="T12" fmla="*/ 0 w 2438"/>
                  <a:gd name="T13" fmla="*/ 0 h 1232"/>
                  <a:gd name="T14" fmla="*/ 0 w 2438"/>
                  <a:gd name="T15" fmla="*/ 0 h 1232"/>
                  <a:gd name="T16" fmla="*/ 0 w 2438"/>
                  <a:gd name="T17" fmla="*/ 0 h 1232"/>
                  <a:gd name="T18" fmla="*/ 0 w 2438"/>
                  <a:gd name="T19" fmla="*/ 0 h 1232"/>
                  <a:gd name="T20" fmla="*/ 0 w 2438"/>
                  <a:gd name="T21" fmla="*/ 0 h 1232"/>
                  <a:gd name="T22" fmla="*/ 0 w 2438"/>
                  <a:gd name="T23" fmla="*/ 0 h 1232"/>
                  <a:gd name="T24" fmla="*/ 0 w 2438"/>
                  <a:gd name="T25" fmla="*/ 0 h 1232"/>
                  <a:gd name="T26" fmla="*/ 0 w 2438"/>
                  <a:gd name="T27" fmla="*/ 0 h 1232"/>
                  <a:gd name="T28" fmla="*/ 0 w 2438"/>
                  <a:gd name="T29" fmla="*/ 0 h 1232"/>
                  <a:gd name="T30" fmla="*/ 0 w 2438"/>
                  <a:gd name="T31" fmla="*/ 0 h 1232"/>
                  <a:gd name="T32" fmla="*/ 0 w 2438"/>
                  <a:gd name="T33" fmla="*/ 0 h 1232"/>
                  <a:gd name="T34" fmla="*/ 0 w 2438"/>
                  <a:gd name="T35" fmla="*/ 0 h 1232"/>
                  <a:gd name="T36" fmla="*/ 0 w 2438"/>
                  <a:gd name="T37" fmla="*/ 0 h 1232"/>
                  <a:gd name="T38" fmla="*/ 0 w 2438"/>
                  <a:gd name="T39" fmla="*/ 0 h 1232"/>
                  <a:gd name="T40" fmla="*/ 0 w 2438"/>
                  <a:gd name="T41" fmla="*/ 0 h 1232"/>
                  <a:gd name="T42" fmla="*/ 0 w 2438"/>
                  <a:gd name="T43" fmla="*/ 0 h 1232"/>
                  <a:gd name="T44" fmla="*/ 0 w 2438"/>
                  <a:gd name="T45" fmla="*/ 0 h 1232"/>
                  <a:gd name="T46" fmla="*/ 0 w 2438"/>
                  <a:gd name="T47" fmla="*/ 0 h 1232"/>
                  <a:gd name="T48" fmla="*/ 0 w 2438"/>
                  <a:gd name="T49" fmla="*/ 0 h 1232"/>
                  <a:gd name="T50" fmla="*/ 0 w 2438"/>
                  <a:gd name="T51" fmla="*/ 0 h 1232"/>
                  <a:gd name="T52" fmla="*/ 0 w 2438"/>
                  <a:gd name="T53" fmla="*/ 0 h 1232"/>
                  <a:gd name="T54" fmla="*/ 0 w 2438"/>
                  <a:gd name="T55" fmla="*/ 0 h 1232"/>
                  <a:gd name="T56" fmla="*/ 0 w 2438"/>
                  <a:gd name="T57" fmla="*/ 0 h 1232"/>
                  <a:gd name="T58" fmla="*/ 0 w 2438"/>
                  <a:gd name="T59" fmla="*/ 0 h 1232"/>
                  <a:gd name="T60" fmla="*/ 0 w 2438"/>
                  <a:gd name="T61" fmla="*/ 0 h 1232"/>
                  <a:gd name="T62" fmla="*/ 0 w 2438"/>
                  <a:gd name="T63" fmla="*/ 0 h 1232"/>
                  <a:gd name="T64" fmla="*/ 0 w 2438"/>
                  <a:gd name="T65" fmla="*/ 0 h 1232"/>
                  <a:gd name="T66" fmla="*/ 0 w 2438"/>
                  <a:gd name="T67" fmla="*/ 0 h 1232"/>
                  <a:gd name="T68" fmla="*/ 0 w 2438"/>
                  <a:gd name="T69" fmla="*/ 0 h 1232"/>
                  <a:gd name="T70" fmla="*/ 0 w 2438"/>
                  <a:gd name="T71" fmla="*/ 0 h 1232"/>
                  <a:gd name="T72" fmla="*/ 0 w 2438"/>
                  <a:gd name="T73" fmla="*/ 0 h 1232"/>
                  <a:gd name="T74" fmla="*/ 0 w 2438"/>
                  <a:gd name="T75" fmla="*/ 0 h 1232"/>
                  <a:gd name="T76" fmla="*/ 0 w 2438"/>
                  <a:gd name="T77" fmla="*/ 0 h 1232"/>
                  <a:gd name="T78" fmla="*/ 0 w 2438"/>
                  <a:gd name="T79" fmla="*/ 0 h 1232"/>
                  <a:gd name="T80" fmla="*/ 0 w 2438"/>
                  <a:gd name="T81" fmla="*/ 0 h 1232"/>
                  <a:gd name="T82" fmla="*/ 0 w 2438"/>
                  <a:gd name="T83" fmla="*/ 0 h 1232"/>
                  <a:gd name="T84" fmla="*/ 0 w 2438"/>
                  <a:gd name="T85" fmla="*/ 0 h 1232"/>
                  <a:gd name="T86" fmla="*/ 0 w 2438"/>
                  <a:gd name="T87" fmla="*/ 0 h 1232"/>
                  <a:gd name="T88" fmla="*/ 0 w 2438"/>
                  <a:gd name="T89" fmla="*/ 0 h 1232"/>
                  <a:gd name="T90" fmla="*/ 0 w 2438"/>
                  <a:gd name="T91" fmla="*/ 0 h 1232"/>
                  <a:gd name="T92" fmla="*/ 0 w 2438"/>
                  <a:gd name="T93" fmla="*/ 0 h 1232"/>
                  <a:gd name="T94" fmla="*/ 0 w 2438"/>
                  <a:gd name="T95" fmla="*/ 0 h 1232"/>
                  <a:gd name="T96" fmla="*/ 0 w 2438"/>
                  <a:gd name="T97" fmla="*/ 0 h 1232"/>
                  <a:gd name="T98" fmla="*/ 0 w 2438"/>
                  <a:gd name="T99" fmla="*/ 0 h 1232"/>
                  <a:gd name="T100" fmla="*/ 0 w 2438"/>
                  <a:gd name="T101" fmla="*/ 0 h 1232"/>
                  <a:gd name="T102" fmla="*/ 0 w 2438"/>
                  <a:gd name="T103" fmla="*/ 0 h 1232"/>
                  <a:gd name="T104" fmla="*/ 0 w 2438"/>
                  <a:gd name="T105" fmla="*/ 0 h 1232"/>
                  <a:gd name="T106" fmla="*/ 0 w 2438"/>
                  <a:gd name="T107" fmla="*/ 0 h 1232"/>
                  <a:gd name="T108" fmla="*/ 0 w 2438"/>
                  <a:gd name="T109" fmla="*/ 0 h 1232"/>
                  <a:gd name="T110" fmla="*/ 0 w 2438"/>
                  <a:gd name="T111" fmla="*/ 0 h 1232"/>
                  <a:gd name="T112" fmla="*/ 0 w 2438"/>
                  <a:gd name="T113" fmla="*/ 0 h 1232"/>
                  <a:gd name="T114" fmla="*/ 0 w 2438"/>
                  <a:gd name="T115" fmla="*/ 0 h 1232"/>
                  <a:gd name="T116" fmla="*/ 0 w 2438"/>
                  <a:gd name="T117" fmla="*/ 0 h 1232"/>
                  <a:gd name="T118" fmla="*/ 0 w 2438"/>
                  <a:gd name="T119" fmla="*/ 0 h 1232"/>
                  <a:gd name="T120" fmla="*/ 0 w 2438"/>
                  <a:gd name="T121" fmla="*/ 0 h 1232"/>
                  <a:gd name="T122" fmla="*/ 0 w 2438"/>
                  <a:gd name="T123" fmla="*/ 0 h 12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38"/>
                  <a:gd name="T187" fmla="*/ 0 h 1232"/>
                  <a:gd name="T188" fmla="*/ 2438 w 2438"/>
                  <a:gd name="T189" fmla="*/ 1232 h 12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38" h="1232">
                    <a:moveTo>
                      <a:pt x="2125" y="1212"/>
                    </a:moveTo>
                    <a:lnTo>
                      <a:pt x="2186" y="1206"/>
                    </a:lnTo>
                    <a:lnTo>
                      <a:pt x="2184" y="1206"/>
                    </a:lnTo>
                    <a:lnTo>
                      <a:pt x="2241" y="1188"/>
                    </a:lnTo>
                    <a:lnTo>
                      <a:pt x="2240" y="1188"/>
                    </a:lnTo>
                    <a:lnTo>
                      <a:pt x="2291" y="1160"/>
                    </a:lnTo>
                    <a:lnTo>
                      <a:pt x="2289" y="1161"/>
                    </a:lnTo>
                    <a:lnTo>
                      <a:pt x="2334" y="1124"/>
                    </a:lnTo>
                    <a:lnTo>
                      <a:pt x="2333" y="1125"/>
                    </a:lnTo>
                    <a:lnTo>
                      <a:pt x="2369" y="1080"/>
                    </a:lnTo>
                    <a:lnTo>
                      <a:pt x="2368" y="1082"/>
                    </a:lnTo>
                    <a:lnTo>
                      <a:pt x="2396" y="1031"/>
                    </a:lnTo>
                    <a:lnTo>
                      <a:pt x="2396" y="1032"/>
                    </a:lnTo>
                    <a:lnTo>
                      <a:pt x="2414" y="975"/>
                    </a:lnTo>
                    <a:lnTo>
                      <a:pt x="2414" y="977"/>
                    </a:lnTo>
                    <a:lnTo>
                      <a:pt x="2420" y="916"/>
                    </a:lnTo>
                    <a:cubicBezTo>
                      <a:pt x="2420" y="912"/>
                      <a:pt x="2422" y="910"/>
                      <a:pt x="2425" y="909"/>
                    </a:cubicBezTo>
                    <a:cubicBezTo>
                      <a:pt x="2428" y="908"/>
                      <a:pt x="2432" y="909"/>
                      <a:pt x="2434" y="912"/>
                    </a:cubicBezTo>
                    <a:lnTo>
                      <a:pt x="2437" y="916"/>
                    </a:lnTo>
                    <a:lnTo>
                      <a:pt x="2422" y="920"/>
                    </a:lnTo>
                    <a:lnTo>
                      <a:pt x="2422" y="312"/>
                    </a:lnTo>
                    <a:lnTo>
                      <a:pt x="2430" y="320"/>
                    </a:lnTo>
                    <a:lnTo>
                      <a:pt x="2427" y="320"/>
                    </a:lnTo>
                    <a:cubicBezTo>
                      <a:pt x="2423" y="320"/>
                      <a:pt x="2420" y="317"/>
                      <a:pt x="2420" y="313"/>
                    </a:cubicBezTo>
                    <a:lnTo>
                      <a:pt x="2414" y="252"/>
                    </a:lnTo>
                    <a:lnTo>
                      <a:pt x="2414" y="254"/>
                    </a:lnTo>
                    <a:lnTo>
                      <a:pt x="2396" y="197"/>
                    </a:lnTo>
                    <a:lnTo>
                      <a:pt x="2396" y="198"/>
                    </a:lnTo>
                    <a:lnTo>
                      <a:pt x="2368" y="147"/>
                    </a:lnTo>
                    <a:lnTo>
                      <a:pt x="2369" y="148"/>
                    </a:lnTo>
                    <a:lnTo>
                      <a:pt x="2333" y="103"/>
                    </a:lnTo>
                    <a:lnTo>
                      <a:pt x="2334" y="105"/>
                    </a:lnTo>
                    <a:lnTo>
                      <a:pt x="2289" y="68"/>
                    </a:lnTo>
                    <a:lnTo>
                      <a:pt x="2291" y="68"/>
                    </a:lnTo>
                    <a:lnTo>
                      <a:pt x="2240" y="40"/>
                    </a:lnTo>
                    <a:lnTo>
                      <a:pt x="2241" y="41"/>
                    </a:lnTo>
                    <a:lnTo>
                      <a:pt x="2184" y="23"/>
                    </a:lnTo>
                    <a:lnTo>
                      <a:pt x="2186" y="23"/>
                    </a:lnTo>
                    <a:lnTo>
                      <a:pt x="2125" y="17"/>
                    </a:lnTo>
                    <a:cubicBezTo>
                      <a:pt x="2122" y="17"/>
                      <a:pt x="2119" y="15"/>
                      <a:pt x="2118" y="12"/>
                    </a:cubicBezTo>
                    <a:cubicBezTo>
                      <a:pt x="2117" y="9"/>
                      <a:pt x="2118" y="6"/>
                      <a:pt x="2120" y="4"/>
                    </a:cubicBezTo>
                    <a:lnTo>
                      <a:pt x="2121" y="3"/>
                    </a:lnTo>
                    <a:lnTo>
                      <a:pt x="2126" y="16"/>
                    </a:lnTo>
                    <a:lnTo>
                      <a:pt x="302" y="16"/>
                    </a:lnTo>
                    <a:lnTo>
                      <a:pt x="303" y="1"/>
                    </a:lnTo>
                    <a:lnTo>
                      <a:pt x="311" y="2"/>
                    </a:lnTo>
                    <a:cubicBezTo>
                      <a:pt x="316" y="2"/>
                      <a:pt x="319" y="5"/>
                      <a:pt x="318" y="10"/>
                    </a:cubicBezTo>
                    <a:cubicBezTo>
                      <a:pt x="318" y="14"/>
                      <a:pt x="315" y="17"/>
                      <a:pt x="311" y="17"/>
                    </a:cubicBezTo>
                    <a:lnTo>
                      <a:pt x="250" y="23"/>
                    </a:lnTo>
                    <a:lnTo>
                      <a:pt x="252" y="23"/>
                    </a:lnTo>
                    <a:lnTo>
                      <a:pt x="195" y="41"/>
                    </a:lnTo>
                    <a:lnTo>
                      <a:pt x="196" y="40"/>
                    </a:lnTo>
                    <a:lnTo>
                      <a:pt x="145" y="68"/>
                    </a:lnTo>
                    <a:lnTo>
                      <a:pt x="147" y="68"/>
                    </a:lnTo>
                    <a:lnTo>
                      <a:pt x="102" y="105"/>
                    </a:lnTo>
                    <a:lnTo>
                      <a:pt x="103" y="103"/>
                    </a:lnTo>
                    <a:lnTo>
                      <a:pt x="67" y="148"/>
                    </a:lnTo>
                    <a:lnTo>
                      <a:pt x="67" y="147"/>
                    </a:lnTo>
                    <a:lnTo>
                      <a:pt x="39" y="198"/>
                    </a:lnTo>
                    <a:lnTo>
                      <a:pt x="40" y="197"/>
                    </a:lnTo>
                    <a:lnTo>
                      <a:pt x="22" y="254"/>
                    </a:lnTo>
                    <a:lnTo>
                      <a:pt x="22" y="252"/>
                    </a:lnTo>
                    <a:lnTo>
                      <a:pt x="16" y="313"/>
                    </a:lnTo>
                    <a:lnTo>
                      <a:pt x="8" y="304"/>
                    </a:lnTo>
                    <a:lnTo>
                      <a:pt x="14" y="304"/>
                    </a:lnTo>
                    <a:cubicBezTo>
                      <a:pt x="19" y="304"/>
                      <a:pt x="22" y="308"/>
                      <a:pt x="22" y="312"/>
                    </a:cubicBezTo>
                    <a:lnTo>
                      <a:pt x="22" y="920"/>
                    </a:lnTo>
                    <a:cubicBezTo>
                      <a:pt x="22" y="923"/>
                      <a:pt x="21" y="926"/>
                      <a:pt x="18" y="928"/>
                    </a:cubicBezTo>
                    <a:cubicBezTo>
                      <a:pt x="16" y="929"/>
                      <a:pt x="12" y="929"/>
                      <a:pt x="10" y="927"/>
                    </a:cubicBezTo>
                    <a:lnTo>
                      <a:pt x="4" y="923"/>
                    </a:lnTo>
                    <a:lnTo>
                      <a:pt x="16" y="916"/>
                    </a:lnTo>
                    <a:lnTo>
                      <a:pt x="22" y="977"/>
                    </a:lnTo>
                    <a:lnTo>
                      <a:pt x="22" y="975"/>
                    </a:lnTo>
                    <a:lnTo>
                      <a:pt x="40" y="1032"/>
                    </a:lnTo>
                    <a:lnTo>
                      <a:pt x="39" y="1031"/>
                    </a:lnTo>
                    <a:lnTo>
                      <a:pt x="67" y="1082"/>
                    </a:lnTo>
                    <a:lnTo>
                      <a:pt x="67" y="1080"/>
                    </a:lnTo>
                    <a:lnTo>
                      <a:pt x="103" y="1125"/>
                    </a:lnTo>
                    <a:lnTo>
                      <a:pt x="102" y="1124"/>
                    </a:lnTo>
                    <a:lnTo>
                      <a:pt x="147" y="1161"/>
                    </a:lnTo>
                    <a:lnTo>
                      <a:pt x="145" y="1160"/>
                    </a:lnTo>
                    <a:lnTo>
                      <a:pt x="196" y="1188"/>
                    </a:lnTo>
                    <a:lnTo>
                      <a:pt x="195" y="1188"/>
                    </a:lnTo>
                    <a:lnTo>
                      <a:pt x="252" y="1206"/>
                    </a:lnTo>
                    <a:lnTo>
                      <a:pt x="250" y="1206"/>
                    </a:lnTo>
                    <a:lnTo>
                      <a:pt x="311" y="1212"/>
                    </a:lnTo>
                    <a:cubicBezTo>
                      <a:pt x="315" y="1212"/>
                      <a:pt x="317" y="1214"/>
                      <a:pt x="318" y="1218"/>
                    </a:cubicBezTo>
                    <a:cubicBezTo>
                      <a:pt x="319" y="1221"/>
                      <a:pt x="318" y="1224"/>
                      <a:pt x="315" y="1226"/>
                    </a:cubicBezTo>
                    <a:lnTo>
                      <a:pt x="307" y="1231"/>
                    </a:lnTo>
                    <a:lnTo>
                      <a:pt x="302" y="1216"/>
                    </a:lnTo>
                    <a:lnTo>
                      <a:pt x="2126" y="1216"/>
                    </a:lnTo>
                    <a:cubicBezTo>
                      <a:pt x="2131" y="1216"/>
                      <a:pt x="2134" y="1220"/>
                      <a:pt x="2134" y="1224"/>
                    </a:cubicBezTo>
                    <a:cubicBezTo>
                      <a:pt x="2134" y="1229"/>
                      <a:pt x="2131" y="1232"/>
                      <a:pt x="2126" y="1232"/>
                    </a:cubicBezTo>
                    <a:lnTo>
                      <a:pt x="302" y="1232"/>
                    </a:lnTo>
                    <a:cubicBezTo>
                      <a:pt x="299" y="1232"/>
                      <a:pt x="296" y="1230"/>
                      <a:pt x="295" y="1227"/>
                    </a:cubicBezTo>
                    <a:cubicBezTo>
                      <a:pt x="294" y="1223"/>
                      <a:pt x="295" y="1220"/>
                      <a:pt x="298" y="1218"/>
                    </a:cubicBezTo>
                    <a:lnTo>
                      <a:pt x="306" y="1213"/>
                    </a:lnTo>
                    <a:lnTo>
                      <a:pt x="310" y="1227"/>
                    </a:lnTo>
                    <a:lnTo>
                      <a:pt x="249" y="1221"/>
                    </a:lnTo>
                    <a:cubicBezTo>
                      <a:pt x="248" y="1221"/>
                      <a:pt x="248" y="1221"/>
                      <a:pt x="247" y="1221"/>
                    </a:cubicBezTo>
                    <a:lnTo>
                      <a:pt x="190" y="1203"/>
                    </a:lnTo>
                    <a:cubicBezTo>
                      <a:pt x="190" y="1203"/>
                      <a:pt x="189" y="1203"/>
                      <a:pt x="189" y="1202"/>
                    </a:cubicBezTo>
                    <a:lnTo>
                      <a:pt x="138" y="1174"/>
                    </a:lnTo>
                    <a:cubicBezTo>
                      <a:pt x="137" y="1174"/>
                      <a:pt x="137" y="1174"/>
                      <a:pt x="136" y="1174"/>
                    </a:cubicBezTo>
                    <a:lnTo>
                      <a:pt x="91" y="1137"/>
                    </a:lnTo>
                    <a:cubicBezTo>
                      <a:pt x="91" y="1136"/>
                      <a:pt x="91" y="1136"/>
                      <a:pt x="90" y="1135"/>
                    </a:cubicBezTo>
                    <a:lnTo>
                      <a:pt x="54" y="1090"/>
                    </a:lnTo>
                    <a:cubicBezTo>
                      <a:pt x="54" y="1090"/>
                      <a:pt x="54" y="1090"/>
                      <a:pt x="53" y="1089"/>
                    </a:cubicBezTo>
                    <a:lnTo>
                      <a:pt x="25" y="1038"/>
                    </a:lnTo>
                    <a:cubicBezTo>
                      <a:pt x="25" y="1038"/>
                      <a:pt x="25" y="1037"/>
                      <a:pt x="25" y="1037"/>
                    </a:cubicBezTo>
                    <a:lnTo>
                      <a:pt x="7" y="980"/>
                    </a:lnTo>
                    <a:cubicBezTo>
                      <a:pt x="7" y="979"/>
                      <a:pt x="7" y="979"/>
                      <a:pt x="7" y="978"/>
                    </a:cubicBezTo>
                    <a:lnTo>
                      <a:pt x="1" y="917"/>
                    </a:lnTo>
                    <a:cubicBezTo>
                      <a:pt x="0" y="914"/>
                      <a:pt x="2" y="911"/>
                      <a:pt x="4" y="910"/>
                    </a:cubicBezTo>
                    <a:cubicBezTo>
                      <a:pt x="7" y="908"/>
                      <a:pt x="10" y="908"/>
                      <a:pt x="13" y="910"/>
                    </a:cubicBezTo>
                    <a:lnTo>
                      <a:pt x="19" y="914"/>
                    </a:lnTo>
                    <a:lnTo>
                      <a:pt x="6" y="920"/>
                    </a:lnTo>
                    <a:lnTo>
                      <a:pt x="6" y="312"/>
                    </a:lnTo>
                    <a:lnTo>
                      <a:pt x="14" y="320"/>
                    </a:lnTo>
                    <a:lnTo>
                      <a:pt x="8" y="320"/>
                    </a:lnTo>
                    <a:cubicBezTo>
                      <a:pt x="6" y="320"/>
                      <a:pt x="4" y="320"/>
                      <a:pt x="3" y="318"/>
                    </a:cubicBezTo>
                    <a:cubicBezTo>
                      <a:pt x="1" y="316"/>
                      <a:pt x="0" y="314"/>
                      <a:pt x="1" y="312"/>
                    </a:cubicBezTo>
                    <a:lnTo>
                      <a:pt x="7" y="251"/>
                    </a:lnTo>
                    <a:cubicBezTo>
                      <a:pt x="7" y="250"/>
                      <a:pt x="7" y="250"/>
                      <a:pt x="7" y="249"/>
                    </a:cubicBezTo>
                    <a:lnTo>
                      <a:pt x="25" y="192"/>
                    </a:lnTo>
                    <a:cubicBezTo>
                      <a:pt x="25" y="192"/>
                      <a:pt x="25" y="191"/>
                      <a:pt x="25" y="191"/>
                    </a:cubicBezTo>
                    <a:lnTo>
                      <a:pt x="53" y="140"/>
                    </a:lnTo>
                    <a:cubicBezTo>
                      <a:pt x="54" y="139"/>
                      <a:pt x="54" y="139"/>
                      <a:pt x="54" y="138"/>
                    </a:cubicBezTo>
                    <a:lnTo>
                      <a:pt x="90" y="93"/>
                    </a:lnTo>
                    <a:cubicBezTo>
                      <a:pt x="91" y="93"/>
                      <a:pt x="91" y="93"/>
                      <a:pt x="91" y="92"/>
                    </a:cubicBezTo>
                    <a:lnTo>
                      <a:pt x="136" y="55"/>
                    </a:lnTo>
                    <a:cubicBezTo>
                      <a:pt x="137" y="55"/>
                      <a:pt x="137" y="55"/>
                      <a:pt x="138" y="54"/>
                    </a:cubicBezTo>
                    <a:lnTo>
                      <a:pt x="189" y="26"/>
                    </a:lnTo>
                    <a:cubicBezTo>
                      <a:pt x="189" y="26"/>
                      <a:pt x="190" y="26"/>
                      <a:pt x="190" y="26"/>
                    </a:cubicBezTo>
                    <a:lnTo>
                      <a:pt x="247" y="8"/>
                    </a:lnTo>
                    <a:cubicBezTo>
                      <a:pt x="248" y="8"/>
                      <a:pt x="248" y="8"/>
                      <a:pt x="249" y="8"/>
                    </a:cubicBezTo>
                    <a:lnTo>
                      <a:pt x="310" y="2"/>
                    </a:lnTo>
                    <a:lnTo>
                      <a:pt x="309" y="17"/>
                    </a:lnTo>
                    <a:lnTo>
                      <a:pt x="301" y="16"/>
                    </a:lnTo>
                    <a:cubicBezTo>
                      <a:pt x="297" y="16"/>
                      <a:pt x="294" y="12"/>
                      <a:pt x="294" y="8"/>
                    </a:cubicBezTo>
                    <a:cubicBezTo>
                      <a:pt x="295" y="4"/>
                      <a:pt x="298" y="0"/>
                      <a:pt x="302" y="0"/>
                    </a:cubicBezTo>
                    <a:lnTo>
                      <a:pt x="2126" y="0"/>
                    </a:lnTo>
                    <a:cubicBezTo>
                      <a:pt x="2130" y="0"/>
                      <a:pt x="2133" y="2"/>
                      <a:pt x="2134" y="5"/>
                    </a:cubicBezTo>
                    <a:cubicBezTo>
                      <a:pt x="2135" y="8"/>
                      <a:pt x="2134" y="12"/>
                      <a:pt x="2132" y="14"/>
                    </a:cubicBezTo>
                    <a:lnTo>
                      <a:pt x="2131" y="15"/>
                    </a:lnTo>
                    <a:lnTo>
                      <a:pt x="2126" y="2"/>
                    </a:lnTo>
                    <a:lnTo>
                      <a:pt x="2187" y="8"/>
                    </a:lnTo>
                    <a:cubicBezTo>
                      <a:pt x="2188" y="8"/>
                      <a:pt x="2188" y="8"/>
                      <a:pt x="2189" y="8"/>
                    </a:cubicBezTo>
                    <a:lnTo>
                      <a:pt x="2246" y="26"/>
                    </a:lnTo>
                    <a:cubicBezTo>
                      <a:pt x="2246" y="26"/>
                      <a:pt x="2247" y="26"/>
                      <a:pt x="2247" y="26"/>
                    </a:cubicBezTo>
                    <a:lnTo>
                      <a:pt x="2298" y="54"/>
                    </a:lnTo>
                    <a:cubicBezTo>
                      <a:pt x="2299" y="55"/>
                      <a:pt x="2299" y="55"/>
                      <a:pt x="2300" y="55"/>
                    </a:cubicBezTo>
                    <a:lnTo>
                      <a:pt x="2345" y="92"/>
                    </a:lnTo>
                    <a:cubicBezTo>
                      <a:pt x="2345" y="93"/>
                      <a:pt x="2345" y="93"/>
                      <a:pt x="2346" y="93"/>
                    </a:cubicBezTo>
                    <a:lnTo>
                      <a:pt x="2382" y="138"/>
                    </a:lnTo>
                    <a:cubicBezTo>
                      <a:pt x="2382" y="139"/>
                      <a:pt x="2382" y="139"/>
                      <a:pt x="2382" y="140"/>
                    </a:cubicBezTo>
                    <a:lnTo>
                      <a:pt x="2410" y="191"/>
                    </a:lnTo>
                    <a:cubicBezTo>
                      <a:pt x="2411" y="191"/>
                      <a:pt x="2411" y="192"/>
                      <a:pt x="2411" y="192"/>
                    </a:cubicBezTo>
                    <a:lnTo>
                      <a:pt x="2429" y="249"/>
                    </a:lnTo>
                    <a:cubicBezTo>
                      <a:pt x="2429" y="250"/>
                      <a:pt x="2429" y="250"/>
                      <a:pt x="2429" y="251"/>
                    </a:cubicBezTo>
                    <a:lnTo>
                      <a:pt x="2435" y="312"/>
                    </a:lnTo>
                    <a:lnTo>
                      <a:pt x="2427" y="304"/>
                    </a:lnTo>
                    <a:lnTo>
                      <a:pt x="2430" y="304"/>
                    </a:lnTo>
                    <a:cubicBezTo>
                      <a:pt x="2435" y="304"/>
                      <a:pt x="2438" y="308"/>
                      <a:pt x="2438" y="312"/>
                    </a:cubicBezTo>
                    <a:lnTo>
                      <a:pt x="2438" y="920"/>
                    </a:lnTo>
                    <a:cubicBezTo>
                      <a:pt x="2438" y="924"/>
                      <a:pt x="2436" y="927"/>
                      <a:pt x="2433" y="928"/>
                    </a:cubicBezTo>
                    <a:cubicBezTo>
                      <a:pt x="2430" y="929"/>
                      <a:pt x="2426" y="928"/>
                      <a:pt x="2424" y="925"/>
                    </a:cubicBezTo>
                    <a:lnTo>
                      <a:pt x="2421" y="921"/>
                    </a:lnTo>
                    <a:lnTo>
                      <a:pt x="2435" y="917"/>
                    </a:lnTo>
                    <a:lnTo>
                      <a:pt x="2429" y="978"/>
                    </a:lnTo>
                    <a:cubicBezTo>
                      <a:pt x="2429" y="979"/>
                      <a:pt x="2429" y="979"/>
                      <a:pt x="2429" y="980"/>
                    </a:cubicBezTo>
                    <a:lnTo>
                      <a:pt x="2411" y="1037"/>
                    </a:lnTo>
                    <a:cubicBezTo>
                      <a:pt x="2411" y="1037"/>
                      <a:pt x="2411" y="1038"/>
                      <a:pt x="2410" y="1038"/>
                    </a:cubicBezTo>
                    <a:lnTo>
                      <a:pt x="2382" y="1089"/>
                    </a:lnTo>
                    <a:cubicBezTo>
                      <a:pt x="2382" y="1090"/>
                      <a:pt x="2382" y="1090"/>
                      <a:pt x="2382" y="1090"/>
                    </a:cubicBezTo>
                    <a:lnTo>
                      <a:pt x="2346" y="1135"/>
                    </a:lnTo>
                    <a:cubicBezTo>
                      <a:pt x="2345" y="1136"/>
                      <a:pt x="2345" y="1136"/>
                      <a:pt x="2345" y="1137"/>
                    </a:cubicBezTo>
                    <a:lnTo>
                      <a:pt x="2300" y="1174"/>
                    </a:lnTo>
                    <a:cubicBezTo>
                      <a:pt x="2299" y="1174"/>
                      <a:pt x="2299" y="1174"/>
                      <a:pt x="2298" y="1174"/>
                    </a:cubicBezTo>
                    <a:lnTo>
                      <a:pt x="2247" y="1202"/>
                    </a:lnTo>
                    <a:cubicBezTo>
                      <a:pt x="2247" y="1203"/>
                      <a:pt x="2246" y="1203"/>
                      <a:pt x="2246" y="1203"/>
                    </a:cubicBezTo>
                    <a:lnTo>
                      <a:pt x="2189" y="1221"/>
                    </a:lnTo>
                    <a:cubicBezTo>
                      <a:pt x="2188" y="1221"/>
                      <a:pt x="2188" y="1221"/>
                      <a:pt x="2187" y="1221"/>
                    </a:cubicBezTo>
                    <a:lnTo>
                      <a:pt x="2126" y="1227"/>
                    </a:lnTo>
                    <a:cubicBezTo>
                      <a:pt x="2122" y="1228"/>
                      <a:pt x="2118" y="1225"/>
                      <a:pt x="2118" y="1220"/>
                    </a:cubicBezTo>
                    <a:cubicBezTo>
                      <a:pt x="2117" y="1216"/>
                      <a:pt x="2120" y="1212"/>
                      <a:pt x="2125" y="1212"/>
                    </a:cubicBezTo>
                    <a:close/>
                  </a:path>
                </a:pathLst>
              </a:custGeom>
              <a:solidFill>
                <a:srgbClr val="FFFFFF"/>
              </a:solidFill>
              <a:ln w="0">
                <a:solidFill>
                  <a:srgbClr val="000000"/>
                </a:solidFill>
                <a:round/>
                <a:headEnd/>
                <a:tailEnd/>
              </a:ln>
            </p:spPr>
            <p:txBody>
              <a:bodyPr/>
              <a:lstStyle/>
              <a:p>
                <a:endParaRPr lang="zh-CN" altLang="en-US"/>
              </a:p>
            </p:txBody>
          </p:sp>
          <p:sp>
            <p:nvSpPr>
              <p:cNvPr id="450" name="Rectangle 193">
                <a:extLst>
                  <a:ext uri="{FF2B5EF4-FFF2-40B4-BE49-F238E27FC236}">
                    <a16:creationId xmlns:a16="http://schemas.microsoft.com/office/drawing/2014/main" id="{28447C32-FCEF-4A77-807D-10141A1B782E}"/>
                  </a:ext>
                </a:extLst>
              </p:cNvPr>
              <p:cNvSpPr>
                <a:spLocks noChangeArrowheads="1"/>
              </p:cNvSpPr>
              <p:nvPr/>
            </p:nvSpPr>
            <p:spPr bwMode="auto">
              <a:xfrm>
                <a:off x="4188" y="2465"/>
                <a:ext cx="872" cy="442"/>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51" name="Rectangle 194">
                <a:extLst>
                  <a:ext uri="{FF2B5EF4-FFF2-40B4-BE49-F238E27FC236}">
                    <a16:creationId xmlns:a16="http://schemas.microsoft.com/office/drawing/2014/main" id="{D1F13069-B0C7-47E3-B909-5528DE2265F8}"/>
                  </a:ext>
                </a:extLst>
              </p:cNvPr>
              <p:cNvSpPr>
                <a:spLocks noChangeArrowheads="1"/>
              </p:cNvSpPr>
              <p:nvPr/>
            </p:nvSpPr>
            <p:spPr bwMode="auto">
              <a:xfrm>
                <a:off x="4171" y="2454"/>
                <a:ext cx="872" cy="6"/>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52" name="Rectangle 195">
                <a:extLst>
                  <a:ext uri="{FF2B5EF4-FFF2-40B4-BE49-F238E27FC236}">
                    <a16:creationId xmlns:a16="http://schemas.microsoft.com/office/drawing/2014/main" id="{1D7385E9-55BB-47E9-90F7-68CF5C49F9B3}"/>
                  </a:ext>
                </a:extLst>
              </p:cNvPr>
              <p:cNvSpPr>
                <a:spLocks noChangeArrowheads="1"/>
              </p:cNvSpPr>
              <p:nvPr/>
            </p:nvSpPr>
            <p:spPr bwMode="auto">
              <a:xfrm>
                <a:off x="4171" y="2460"/>
                <a:ext cx="872" cy="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53" name="Rectangle 196">
                <a:extLst>
                  <a:ext uri="{FF2B5EF4-FFF2-40B4-BE49-F238E27FC236}">
                    <a16:creationId xmlns:a16="http://schemas.microsoft.com/office/drawing/2014/main" id="{0F92D2D8-479F-4CF7-9871-370CAB5A6D4F}"/>
                  </a:ext>
                </a:extLst>
              </p:cNvPr>
              <p:cNvSpPr>
                <a:spLocks noChangeArrowheads="1"/>
              </p:cNvSpPr>
              <p:nvPr/>
            </p:nvSpPr>
            <p:spPr bwMode="auto">
              <a:xfrm>
                <a:off x="4171" y="2471"/>
                <a:ext cx="872" cy="2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54" name="Rectangle 197">
                <a:extLst>
                  <a:ext uri="{FF2B5EF4-FFF2-40B4-BE49-F238E27FC236}">
                    <a16:creationId xmlns:a16="http://schemas.microsoft.com/office/drawing/2014/main" id="{9907E626-CFD1-4C5C-B078-5ACDC3298907}"/>
                  </a:ext>
                </a:extLst>
              </p:cNvPr>
              <p:cNvSpPr>
                <a:spLocks noChangeArrowheads="1"/>
              </p:cNvSpPr>
              <p:nvPr/>
            </p:nvSpPr>
            <p:spPr bwMode="auto">
              <a:xfrm>
                <a:off x="4171" y="2499"/>
                <a:ext cx="872" cy="29"/>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55" name="Rectangle 198">
                <a:extLst>
                  <a:ext uri="{FF2B5EF4-FFF2-40B4-BE49-F238E27FC236}">
                    <a16:creationId xmlns:a16="http://schemas.microsoft.com/office/drawing/2014/main" id="{681A99EE-C63D-4ED3-9688-F635B135ECE0}"/>
                  </a:ext>
                </a:extLst>
              </p:cNvPr>
              <p:cNvSpPr>
                <a:spLocks noChangeArrowheads="1"/>
              </p:cNvSpPr>
              <p:nvPr/>
            </p:nvSpPr>
            <p:spPr bwMode="auto">
              <a:xfrm>
                <a:off x="4171" y="2528"/>
                <a:ext cx="872" cy="28"/>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56" name="Rectangle 199">
                <a:extLst>
                  <a:ext uri="{FF2B5EF4-FFF2-40B4-BE49-F238E27FC236}">
                    <a16:creationId xmlns:a16="http://schemas.microsoft.com/office/drawing/2014/main" id="{544581D2-5D37-4F2F-8BE0-3E1FA6C6A0A8}"/>
                  </a:ext>
                </a:extLst>
              </p:cNvPr>
              <p:cNvSpPr>
                <a:spLocks noChangeArrowheads="1"/>
              </p:cNvSpPr>
              <p:nvPr/>
            </p:nvSpPr>
            <p:spPr bwMode="auto">
              <a:xfrm>
                <a:off x="4171" y="2556"/>
                <a:ext cx="872" cy="23"/>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57" name="Rectangle 200">
                <a:extLst>
                  <a:ext uri="{FF2B5EF4-FFF2-40B4-BE49-F238E27FC236}">
                    <a16:creationId xmlns:a16="http://schemas.microsoft.com/office/drawing/2014/main" id="{F8237F04-600D-4270-B9CB-CABAF8CAF3D1}"/>
                  </a:ext>
                </a:extLst>
              </p:cNvPr>
              <p:cNvSpPr>
                <a:spLocks noChangeArrowheads="1"/>
              </p:cNvSpPr>
              <p:nvPr/>
            </p:nvSpPr>
            <p:spPr bwMode="auto">
              <a:xfrm>
                <a:off x="4171" y="2579"/>
                <a:ext cx="872" cy="28"/>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58" name="Rectangle 201">
                <a:extLst>
                  <a:ext uri="{FF2B5EF4-FFF2-40B4-BE49-F238E27FC236}">
                    <a16:creationId xmlns:a16="http://schemas.microsoft.com/office/drawing/2014/main" id="{594804F5-6A96-49D0-B125-FEC8ECB23429}"/>
                  </a:ext>
                </a:extLst>
              </p:cNvPr>
              <p:cNvSpPr>
                <a:spLocks noChangeArrowheads="1"/>
              </p:cNvSpPr>
              <p:nvPr/>
            </p:nvSpPr>
            <p:spPr bwMode="auto">
              <a:xfrm>
                <a:off x="4171" y="2607"/>
                <a:ext cx="872" cy="28"/>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59" name="Rectangle 202">
                <a:extLst>
                  <a:ext uri="{FF2B5EF4-FFF2-40B4-BE49-F238E27FC236}">
                    <a16:creationId xmlns:a16="http://schemas.microsoft.com/office/drawing/2014/main" id="{B8027A10-D1FF-4D4C-8CA8-0F7E5FD45219}"/>
                  </a:ext>
                </a:extLst>
              </p:cNvPr>
              <p:cNvSpPr>
                <a:spLocks noChangeArrowheads="1"/>
              </p:cNvSpPr>
              <p:nvPr/>
            </p:nvSpPr>
            <p:spPr bwMode="auto">
              <a:xfrm>
                <a:off x="4171" y="2635"/>
                <a:ext cx="872" cy="57"/>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60" name="Rectangle 203">
                <a:extLst>
                  <a:ext uri="{FF2B5EF4-FFF2-40B4-BE49-F238E27FC236}">
                    <a16:creationId xmlns:a16="http://schemas.microsoft.com/office/drawing/2014/main" id="{AE74E2D8-77C9-47B3-B2B1-17943B3554C2}"/>
                  </a:ext>
                </a:extLst>
              </p:cNvPr>
              <p:cNvSpPr>
                <a:spLocks noChangeArrowheads="1"/>
              </p:cNvSpPr>
              <p:nvPr/>
            </p:nvSpPr>
            <p:spPr bwMode="auto">
              <a:xfrm>
                <a:off x="4171" y="2692"/>
                <a:ext cx="872" cy="28"/>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61" name="Rectangle 204">
                <a:extLst>
                  <a:ext uri="{FF2B5EF4-FFF2-40B4-BE49-F238E27FC236}">
                    <a16:creationId xmlns:a16="http://schemas.microsoft.com/office/drawing/2014/main" id="{6C4C0BF3-57E5-442A-94AC-F5476BC12AE3}"/>
                  </a:ext>
                </a:extLst>
              </p:cNvPr>
              <p:cNvSpPr>
                <a:spLocks noChangeArrowheads="1"/>
              </p:cNvSpPr>
              <p:nvPr/>
            </p:nvSpPr>
            <p:spPr bwMode="auto">
              <a:xfrm>
                <a:off x="4171" y="2720"/>
                <a:ext cx="872" cy="29"/>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62" name="Rectangle 205">
                <a:extLst>
                  <a:ext uri="{FF2B5EF4-FFF2-40B4-BE49-F238E27FC236}">
                    <a16:creationId xmlns:a16="http://schemas.microsoft.com/office/drawing/2014/main" id="{C5C71193-D4BF-4E82-8991-67503D576345}"/>
                  </a:ext>
                </a:extLst>
              </p:cNvPr>
              <p:cNvSpPr>
                <a:spLocks noChangeArrowheads="1"/>
              </p:cNvSpPr>
              <p:nvPr/>
            </p:nvSpPr>
            <p:spPr bwMode="auto">
              <a:xfrm>
                <a:off x="4171" y="2749"/>
                <a:ext cx="872" cy="2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63" name="Rectangle 206">
                <a:extLst>
                  <a:ext uri="{FF2B5EF4-FFF2-40B4-BE49-F238E27FC236}">
                    <a16:creationId xmlns:a16="http://schemas.microsoft.com/office/drawing/2014/main" id="{8D0C8700-B292-4E7F-B16D-49DDE0F71A22}"/>
                  </a:ext>
                </a:extLst>
              </p:cNvPr>
              <p:cNvSpPr>
                <a:spLocks noChangeArrowheads="1"/>
              </p:cNvSpPr>
              <p:nvPr/>
            </p:nvSpPr>
            <p:spPr bwMode="auto">
              <a:xfrm>
                <a:off x="4171" y="2771"/>
                <a:ext cx="872" cy="29"/>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64" name="Rectangle 207">
                <a:extLst>
                  <a:ext uri="{FF2B5EF4-FFF2-40B4-BE49-F238E27FC236}">
                    <a16:creationId xmlns:a16="http://schemas.microsoft.com/office/drawing/2014/main" id="{4D134031-8980-48BD-A2EF-E56AB425C2A2}"/>
                  </a:ext>
                </a:extLst>
              </p:cNvPr>
              <p:cNvSpPr>
                <a:spLocks noChangeArrowheads="1"/>
              </p:cNvSpPr>
              <p:nvPr/>
            </p:nvSpPr>
            <p:spPr bwMode="auto">
              <a:xfrm>
                <a:off x="4171" y="2800"/>
                <a:ext cx="872" cy="2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65" name="Rectangle 208">
                <a:extLst>
                  <a:ext uri="{FF2B5EF4-FFF2-40B4-BE49-F238E27FC236}">
                    <a16:creationId xmlns:a16="http://schemas.microsoft.com/office/drawing/2014/main" id="{FCE1C8FA-C6A1-44F6-8CAC-0DC162D14CF0}"/>
                  </a:ext>
                </a:extLst>
              </p:cNvPr>
              <p:cNvSpPr>
                <a:spLocks noChangeArrowheads="1"/>
              </p:cNvSpPr>
              <p:nvPr/>
            </p:nvSpPr>
            <p:spPr bwMode="auto">
              <a:xfrm>
                <a:off x="4171" y="2828"/>
                <a:ext cx="872" cy="28"/>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66" name="Rectangle 209">
                <a:extLst>
                  <a:ext uri="{FF2B5EF4-FFF2-40B4-BE49-F238E27FC236}">
                    <a16:creationId xmlns:a16="http://schemas.microsoft.com/office/drawing/2014/main" id="{69B2DFDA-287B-4D4E-8510-C9EAD368C6FF}"/>
                  </a:ext>
                </a:extLst>
              </p:cNvPr>
              <p:cNvSpPr>
                <a:spLocks noChangeArrowheads="1"/>
              </p:cNvSpPr>
              <p:nvPr/>
            </p:nvSpPr>
            <p:spPr bwMode="auto">
              <a:xfrm>
                <a:off x="4171" y="2856"/>
                <a:ext cx="872" cy="29"/>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67" name="Rectangle 210">
                <a:extLst>
                  <a:ext uri="{FF2B5EF4-FFF2-40B4-BE49-F238E27FC236}">
                    <a16:creationId xmlns:a16="http://schemas.microsoft.com/office/drawing/2014/main" id="{AB811A1C-2AB8-4BF1-8C50-D50A4D85E250}"/>
                  </a:ext>
                </a:extLst>
              </p:cNvPr>
              <p:cNvSpPr>
                <a:spLocks noChangeArrowheads="1"/>
              </p:cNvSpPr>
              <p:nvPr/>
            </p:nvSpPr>
            <p:spPr bwMode="auto">
              <a:xfrm>
                <a:off x="4171" y="2885"/>
                <a:ext cx="872" cy="11"/>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68" name="Freeform 211">
                <a:extLst>
                  <a:ext uri="{FF2B5EF4-FFF2-40B4-BE49-F238E27FC236}">
                    <a16:creationId xmlns:a16="http://schemas.microsoft.com/office/drawing/2014/main" id="{8B930C53-2CEA-4040-B098-1EA2131DC4A5}"/>
                  </a:ext>
                </a:extLst>
              </p:cNvPr>
              <p:cNvSpPr>
                <a:spLocks/>
              </p:cNvSpPr>
              <p:nvPr/>
            </p:nvSpPr>
            <p:spPr bwMode="auto">
              <a:xfrm>
                <a:off x="4181" y="2460"/>
                <a:ext cx="856" cy="430"/>
              </a:xfrm>
              <a:custGeom>
                <a:avLst/>
                <a:gdLst>
                  <a:gd name="T0" fmla="*/ 0 w 2421"/>
                  <a:gd name="T1" fmla="*/ 0 h 1216"/>
                  <a:gd name="T2" fmla="*/ 0 w 2421"/>
                  <a:gd name="T3" fmla="*/ 0 h 1216"/>
                  <a:gd name="T4" fmla="*/ 0 w 2421"/>
                  <a:gd name="T5" fmla="*/ 0 h 1216"/>
                  <a:gd name="T6" fmla="*/ 0 w 2421"/>
                  <a:gd name="T7" fmla="*/ 0 h 1216"/>
                  <a:gd name="T8" fmla="*/ 0 w 2421"/>
                  <a:gd name="T9" fmla="*/ 0 h 1216"/>
                  <a:gd name="T10" fmla="*/ 0 w 2421"/>
                  <a:gd name="T11" fmla="*/ 0 h 1216"/>
                  <a:gd name="T12" fmla="*/ 0 w 2421"/>
                  <a:gd name="T13" fmla="*/ 0 h 1216"/>
                  <a:gd name="T14" fmla="*/ 0 w 2421"/>
                  <a:gd name="T15" fmla="*/ 0 h 1216"/>
                  <a:gd name="T16" fmla="*/ 0 w 2421"/>
                  <a:gd name="T17" fmla="*/ 0 h 1216"/>
                  <a:gd name="T18" fmla="*/ 0 w 2421"/>
                  <a:gd name="T19" fmla="*/ 0 h 1216"/>
                  <a:gd name="T20" fmla="*/ 0 w 2421"/>
                  <a:gd name="T21" fmla="*/ 0 h 1216"/>
                  <a:gd name="T22" fmla="*/ 0 w 2421"/>
                  <a:gd name="T23" fmla="*/ 0 h 1216"/>
                  <a:gd name="T24" fmla="*/ 0 w 2421"/>
                  <a:gd name="T25" fmla="*/ 0 h 1216"/>
                  <a:gd name="T26" fmla="*/ 0 w 2421"/>
                  <a:gd name="T27" fmla="*/ 0 h 1216"/>
                  <a:gd name="T28" fmla="*/ 0 w 2421"/>
                  <a:gd name="T29" fmla="*/ 0 h 1216"/>
                  <a:gd name="T30" fmla="*/ 0 w 2421"/>
                  <a:gd name="T31" fmla="*/ 0 h 1216"/>
                  <a:gd name="T32" fmla="*/ 0 w 2421"/>
                  <a:gd name="T33" fmla="*/ 0 h 12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21"/>
                  <a:gd name="T52" fmla="*/ 0 h 1216"/>
                  <a:gd name="T53" fmla="*/ 2421 w 2421"/>
                  <a:gd name="T54" fmla="*/ 1216 h 12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21" h="1216">
                    <a:moveTo>
                      <a:pt x="2117" y="1212"/>
                    </a:moveTo>
                    <a:cubicBezTo>
                      <a:pt x="2284" y="1212"/>
                      <a:pt x="2419" y="1077"/>
                      <a:pt x="2419" y="910"/>
                    </a:cubicBezTo>
                    <a:lnTo>
                      <a:pt x="2421" y="912"/>
                    </a:lnTo>
                    <a:lnTo>
                      <a:pt x="2421" y="304"/>
                    </a:lnTo>
                    <a:lnTo>
                      <a:pt x="2419" y="305"/>
                    </a:lnTo>
                    <a:cubicBezTo>
                      <a:pt x="2419" y="138"/>
                      <a:pt x="2284" y="3"/>
                      <a:pt x="2117" y="3"/>
                    </a:cubicBezTo>
                    <a:lnTo>
                      <a:pt x="2117" y="0"/>
                    </a:lnTo>
                    <a:lnTo>
                      <a:pt x="309" y="0"/>
                    </a:lnTo>
                    <a:lnTo>
                      <a:pt x="303" y="3"/>
                    </a:lnTo>
                    <a:cubicBezTo>
                      <a:pt x="136" y="3"/>
                      <a:pt x="0" y="138"/>
                      <a:pt x="0" y="305"/>
                    </a:cubicBezTo>
                    <a:lnTo>
                      <a:pt x="5" y="304"/>
                    </a:lnTo>
                    <a:lnTo>
                      <a:pt x="5" y="912"/>
                    </a:lnTo>
                    <a:lnTo>
                      <a:pt x="0" y="910"/>
                    </a:lnTo>
                    <a:cubicBezTo>
                      <a:pt x="0" y="1077"/>
                      <a:pt x="136" y="1212"/>
                      <a:pt x="303" y="1212"/>
                    </a:cubicBezTo>
                    <a:lnTo>
                      <a:pt x="309" y="1216"/>
                    </a:lnTo>
                    <a:lnTo>
                      <a:pt x="2117" y="1216"/>
                    </a:lnTo>
                    <a:lnTo>
                      <a:pt x="2117" y="1212"/>
                    </a:lnTo>
                    <a:close/>
                  </a:path>
                </a:pathLst>
              </a:custGeom>
              <a:noFill/>
              <a:ln w="2" cap="rnd">
                <a:solidFill>
                  <a:srgbClr val="40404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469" name="Rectangle 212">
                <a:extLst>
                  <a:ext uri="{FF2B5EF4-FFF2-40B4-BE49-F238E27FC236}">
                    <a16:creationId xmlns:a16="http://schemas.microsoft.com/office/drawing/2014/main" id="{73BD4796-1DDF-43C8-9D8D-B1365109B674}"/>
                  </a:ext>
                </a:extLst>
              </p:cNvPr>
              <p:cNvSpPr>
                <a:spLocks noChangeArrowheads="1"/>
              </p:cNvSpPr>
              <p:nvPr/>
            </p:nvSpPr>
            <p:spPr bwMode="auto">
              <a:xfrm>
                <a:off x="4245" y="2425"/>
                <a:ext cx="453" cy="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2300" b="1">
                    <a:solidFill>
                      <a:srgbClr val="000000"/>
                    </a:solidFill>
                    <a:latin typeface="微软雅黑" panose="020B0503020204020204" pitchFamily="34" charset="-122"/>
                    <a:ea typeface="宋体" panose="02010600030101010101" pitchFamily="2" charset="-122"/>
                  </a:rPr>
                  <a:t>客户反馈</a:t>
                </a:r>
                <a:endParaRPr lang="zh-CN" altLang="zh-CN">
                  <a:ea typeface="宋体" panose="02010600030101010101" pitchFamily="2" charset="-122"/>
                </a:endParaRPr>
              </a:p>
            </p:txBody>
          </p:sp>
          <p:sp>
            <p:nvSpPr>
              <p:cNvPr id="470" name="Rectangle 213">
                <a:extLst>
                  <a:ext uri="{FF2B5EF4-FFF2-40B4-BE49-F238E27FC236}">
                    <a16:creationId xmlns:a16="http://schemas.microsoft.com/office/drawing/2014/main" id="{CE18EC25-E8E7-4BDB-B5EF-15821C0947BD}"/>
                  </a:ext>
                </a:extLst>
              </p:cNvPr>
              <p:cNvSpPr>
                <a:spLocks noChangeArrowheads="1"/>
              </p:cNvSpPr>
              <p:nvPr/>
            </p:nvSpPr>
            <p:spPr bwMode="auto">
              <a:xfrm>
                <a:off x="4245" y="2646"/>
                <a:ext cx="453" cy="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2300" b="1">
                    <a:solidFill>
                      <a:srgbClr val="000000"/>
                    </a:solidFill>
                    <a:latin typeface="微软雅黑" panose="020B0503020204020204" pitchFamily="34" charset="-122"/>
                    <a:ea typeface="宋体" panose="02010600030101010101" pitchFamily="2" charset="-122"/>
                  </a:rPr>
                  <a:t>异常产品</a:t>
                </a:r>
                <a:endParaRPr lang="zh-CN" altLang="zh-CN">
                  <a:ea typeface="宋体" panose="02010600030101010101" pitchFamily="2" charset="-122"/>
                </a:endParaRPr>
              </a:p>
            </p:txBody>
          </p:sp>
          <p:pic>
            <p:nvPicPr>
              <p:cNvPr id="471" name="Picture 214">
                <a:extLst>
                  <a:ext uri="{FF2B5EF4-FFF2-40B4-BE49-F238E27FC236}">
                    <a16:creationId xmlns:a16="http://schemas.microsoft.com/office/drawing/2014/main" id="{7C9FB823-91C3-4C25-8D78-34F2B207BDB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02" y="1021"/>
                <a:ext cx="1358" cy="1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7" name="Group 416">
              <a:extLst>
                <a:ext uri="{FF2B5EF4-FFF2-40B4-BE49-F238E27FC236}">
                  <a16:creationId xmlns:a16="http://schemas.microsoft.com/office/drawing/2014/main" id="{61170C8C-52A8-44D9-8B55-9D667D596C1C}"/>
                </a:ext>
              </a:extLst>
            </p:cNvPr>
            <p:cNvGrpSpPr>
              <a:grpSpLocks/>
            </p:cNvGrpSpPr>
            <p:nvPr/>
          </p:nvGrpSpPr>
          <p:grpSpPr bwMode="auto">
            <a:xfrm>
              <a:off x="187" y="1021"/>
              <a:ext cx="2173" cy="2799"/>
              <a:chOff x="187" y="1021"/>
              <a:chExt cx="2173" cy="2799"/>
            </a:xfrm>
          </p:grpSpPr>
          <p:pic>
            <p:nvPicPr>
              <p:cNvPr id="73" name="Picture 216">
                <a:extLst>
                  <a:ext uri="{FF2B5EF4-FFF2-40B4-BE49-F238E27FC236}">
                    <a16:creationId xmlns:a16="http://schemas.microsoft.com/office/drawing/2014/main" id="{78B6D9C5-B215-40FB-8866-05000CD594E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02" y="1021"/>
                <a:ext cx="1358" cy="1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 name="Rectangle 217">
                <a:extLst>
                  <a:ext uri="{FF2B5EF4-FFF2-40B4-BE49-F238E27FC236}">
                    <a16:creationId xmlns:a16="http://schemas.microsoft.com/office/drawing/2014/main" id="{C6BCFA3F-E183-45B6-9011-96547F4E2294}"/>
                  </a:ext>
                </a:extLst>
              </p:cNvPr>
              <p:cNvSpPr>
                <a:spLocks noChangeArrowheads="1"/>
              </p:cNvSpPr>
              <p:nvPr/>
            </p:nvSpPr>
            <p:spPr bwMode="auto">
              <a:xfrm>
                <a:off x="1494" y="1236"/>
                <a:ext cx="272"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CDCDCD"/>
                    </a:solidFill>
                    <a:latin typeface="微软雅黑" panose="020B0503020204020204" pitchFamily="34" charset="-122"/>
                    <a:ea typeface="宋体" panose="02010600030101010101" pitchFamily="2" charset="-122"/>
                  </a:rPr>
                  <a:t>供应商</a:t>
                </a:r>
                <a:endParaRPr lang="zh-CN" altLang="zh-CN">
                  <a:ea typeface="宋体" panose="02010600030101010101" pitchFamily="2" charset="-122"/>
                </a:endParaRPr>
              </a:p>
            </p:txBody>
          </p:sp>
          <p:sp>
            <p:nvSpPr>
              <p:cNvPr id="75" name="Rectangle 218">
                <a:extLst>
                  <a:ext uri="{FF2B5EF4-FFF2-40B4-BE49-F238E27FC236}">
                    <a16:creationId xmlns:a16="http://schemas.microsoft.com/office/drawing/2014/main" id="{551AA263-BC4D-4E9E-9F88-DF53AA2061B0}"/>
                  </a:ext>
                </a:extLst>
              </p:cNvPr>
              <p:cNvSpPr>
                <a:spLocks noChangeArrowheads="1"/>
              </p:cNvSpPr>
              <p:nvPr/>
            </p:nvSpPr>
            <p:spPr bwMode="auto">
              <a:xfrm>
                <a:off x="1483" y="1224"/>
                <a:ext cx="272"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000000"/>
                    </a:solidFill>
                    <a:latin typeface="微软雅黑" panose="020B0503020204020204" pitchFamily="34" charset="-122"/>
                    <a:ea typeface="宋体" panose="02010600030101010101" pitchFamily="2" charset="-122"/>
                  </a:rPr>
                  <a:t>供应商</a:t>
                </a:r>
                <a:endParaRPr lang="zh-CN" altLang="zh-CN">
                  <a:ea typeface="宋体" panose="02010600030101010101" pitchFamily="2" charset="-122"/>
                </a:endParaRPr>
              </a:p>
            </p:txBody>
          </p:sp>
          <p:sp>
            <p:nvSpPr>
              <p:cNvPr id="76" name="Rectangle 219">
                <a:extLst>
                  <a:ext uri="{FF2B5EF4-FFF2-40B4-BE49-F238E27FC236}">
                    <a16:creationId xmlns:a16="http://schemas.microsoft.com/office/drawing/2014/main" id="{F44A226C-2A39-4BA3-9250-C2467DFFDA78}"/>
                  </a:ext>
                </a:extLst>
              </p:cNvPr>
              <p:cNvSpPr>
                <a:spLocks noChangeArrowheads="1"/>
              </p:cNvSpPr>
              <p:nvPr/>
            </p:nvSpPr>
            <p:spPr bwMode="auto">
              <a:xfrm>
                <a:off x="883" y="1394"/>
                <a:ext cx="340"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CDCDCD"/>
                    </a:solidFill>
                    <a:latin typeface="微软雅黑" panose="020B0503020204020204" pitchFamily="34" charset="-122"/>
                    <a:ea typeface="宋体" panose="02010600030101010101" pitchFamily="2" charset="-122"/>
                  </a:rPr>
                  <a:t>进货时间</a:t>
                </a:r>
                <a:endParaRPr lang="zh-CN" altLang="zh-CN">
                  <a:ea typeface="宋体" panose="02010600030101010101" pitchFamily="2" charset="-122"/>
                </a:endParaRPr>
              </a:p>
            </p:txBody>
          </p:sp>
          <p:sp>
            <p:nvSpPr>
              <p:cNvPr id="77" name="Rectangle 220">
                <a:extLst>
                  <a:ext uri="{FF2B5EF4-FFF2-40B4-BE49-F238E27FC236}">
                    <a16:creationId xmlns:a16="http://schemas.microsoft.com/office/drawing/2014/main" id="{E39A0F61-DFA9-4A76-97CA-9226D8DDB449}"/>
                  </a:ext>
                </a:extLst>
              </p:cNvPr>
              <p:cNvSpPr>
                <a:spLocks noChangeArrowheads="1"/>
              </p:cNvSpPr>
              <p:nvPr/>
            </p:nvSpPr>
            <p:spPr bwMode="auto">
              <a:xfrm>
                <a:off x="872" y="1383"/>
                <a:ext cx="340"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000000"/>
                    </a:solidFill>
                    <a:latin typeface="微软雅黑" panose="020B0503020204020204" pitchFamily="34" charset="-122"/>
                    <a:ea typeface="宋体" panose="02010600030101010101" pitchFamily="2" charset="-122"/>
                  </a:rPr>
                  <a:t>进货时间</a:t>
                </a:r>
                <a:endParaRPr lang="zh-CN" altLang="zh-CN">
                  <a:ea typeface="宋体" panose="02010600030101010101" pitchFamily="2" charset="-122"/>
                </a:endParaRPr>
              </a:p>
            </p:txBody>
          </p:sp>
          <p:pic>
            <p:nvPicPr>
              <p:cNvPr id="78" name="Picture 221">
                <a:extLst>
                  <a:ext uri="{FF2B5EF4-FFF2-40B4-BE49-F238E27FC236}">
                    <a16:creationId xmlns:a16="http://schemas.microsoft.com/office/drawing/2014/main" id="{C759BE76-3045-4E1C-9A4B-70BC730CC51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32" y="2556"/>
                <a:ext cx="917" cy="1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 name="Picture 222">
                <a:extLst>
                  <a:ext uri="{FF2B5EF4-FFF2-40B4-BE49-F238E27FC236}">
                    <a16:creationId xmlns:a16="http://schemas.microsoft.com/office/drawing/2014/main" id="{ECEAAEC2-1DD8-4FF3-B199-B5EDA9DDF3D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32" y="2556"/>
                <a:ext cx="917" cy="1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Rectangle 223">
                <a:extLst>
                  <a:ext uri="{FF2B5EF4-FFF2-40B4-BE49-F238E27FC236}">
                    <a16:creationId xmlns:a16="http://schemas.microsoft.com/office/drawing/2014/main" id="{BF521597-28B5-43BB-B28B-3184693B250F}"/>
                  </a:ext>
                </a:extLst>
              </p:cNvPr>
              <p:cNvSpPr>
                <a:spLocks noChangeArrowheads="1"/>
              </p:cNvSpPr>
              <p:nvPr/>
            </p:nvSpPr>
            <p:spPr bwMode="auto">
              <a:xfrm>
                <a:off x="900" y="1717"/>
                <a:ext cx="408"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CDCDCD"/>
                    </a:solidFill>
                    <a:latin typeface="微软雅黑" panose="020B0503020204020204" pitchFamily="34" charset="-122"/>
                    <a:ea typeface="宋体" panose="02010600030101010101" pitchFamily="2" charset="-122"/>
                  </a:rPr>
                  <a:t>原材料成分</a:t>
                </a:r>
                <a:endParaRPr lang="zh-CN" altLang="zh-CN">
                  <a:ea typeface="宋体" panose="02010600030101010101" pitchFamily="2" charset="-122"/>
                </a:endParaRPr>
              </a:p>
            </p:txBody>
          </p:sp>
          <p:sp>
            <p:nvSpPr>
              <p:cNvPr id="81" name="Rectangle 224">
                <a:extLst>
                  <a:ext uri="{FF2B5EF4-FFF2-40B4-BE49-F238E27FC236}">
                    <a16:creationId xmlns:a16="http://schemas.microsoft.com/office/drawing/2014/main" id="{59650774-7B99-4488-B293-C83BBD86296B}"/>
                  </a:ext>
                </a:extLst>
              </p:cNvPr>
              <p:cNvSpPr>
                <a:spLocks noChangeArrowheads="1"/>
              </p:cNvSpPr>
              <p:nvPr/>
            </p:nvSpPr>
            <p:spPr bwMode="auto">
              <a:xfrm>
                <a:off x="889" y="1706"/>
                <a:ext cx="408"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000000"/>
                    </a:solidFill>
                    <a:latin typeface="微软雅黑" panose="020B0503020204020204" pitchFamily="34" charset="-122"/>
                    <a:ea typeface="宋体" panose="02010600030101010101" pitchFamily="2" charset="-122"/>
                  </a:rPr>
                  <a:t>原材料成分</a:t>
                </a:r>
                <a:endParaRPr lang="zh-CN" altLang="zh-CN">
                  <a:ea typeface="宋体" panose="02010600030101010101" pitchFamily="2" charset="-122"/>
                </a:endParaRPr>
              </a:p>
            </p:txBody>
          </p:sp>
          <p:sp>
            <p:nvSpPr>
              <p:cNvPr id="82" name="Rectangle 225">
                <a:extLst>
                  <a:ext uri="{FF2B5EF4-FFF2-40B4-BE49-F238E27FC236}">
                    <a16:creationId xmlns:a16="http://schemas.microsoft.com/office/drawing/2014/main" id="{606F7636-E803-4D53-B692-B02348EBD63F}"/>
                  </a:ext>
                </a:extLst>
              </p:cNvPr>
              <p:cNvSpPr>
                <a:spLocks noChangeArrowheads="1"/>
              </p:cNvSpPr>
              <p:nvPr/>
            </p:nvSpPr>
            <p:spPr bwMode="auto">
              <a:xfrm>
                <a:off x="1636" y="1547"/>
                <a:ext cx="340"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CDCDCD"/>
                    </a:solidFill>
                    <a:latin typeface="微软雅黑" panose="020B0503020204020204" pitchFamily="34" charset="-122"/>
                    <a:ea typeface="宋体" panose="02010600030101010101" pitchFamily="2" charset="-122"/>
                  </a:rPr>
                  <a:t>进货人员</a:t>
                </a:r>
                <a:endParaRPr lang="zh-CN" altLang="zh-CN">
                  <a:ea typeface="宋体" panose="02010600030101010101" pitchFamily="2" charset="-122"/>
                </a:endParaRPr>
              </a:p>
            </p:txBody>
          </p:sp>
          <p:sp>
            <p:nvSpPr>
              <p:cNvPr id="83" name="Rectangle 226">
                <a:extLst>
                  <a:ext uri="{FF2B5EF4-FFF2-40B4-BE49-F238E27FC236}">
                    <a16:creationId xmlns:a16="http://schemas.microsoft.com/office/drawing/2014/main" id="{70402861-AED6-4376-B706-757FAB7AAAAE}"/>
                  </a:ext>
                </a:extLst>
              </p:cNvPr>
              <p:cNvSpPr>
                <a:spLocks noChangeArrowheads="1"/>
              </p:cNvSpPr>
              <p:nvPr/>
            </p:nvSpPr>
            <p:spPr bwMode="auto">
              <a:xfrm>
                <a:off x="1624" y="1536"/>
                <a:ext cx="340"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000000"/>
                    </a:solidFill>
                    <a:latin typeface="微软雅黑" panose="020B0503020204020204" pitchFamily="34" charset="-122"/>
                    <a:ea typeface="宋体" panose="02010600030101010101" pitchFamily="2" charset="-122"/>
                  </a:rPr>
                  <a:t>进货人员</a:t>
                </a:r>
                <a:endParaRPr lang="zh-CN" altLang="zh-CN">
                  <a:ea typeface="宋体" panose="02010600030101010101" pitchFamily="2" charset="-122"/>
                </a:endParaRPr>
              </a:p>
            </p:txBody>
          </p:sp>
          <p:sp>
            <p:nvSpPr>
              <p:cNvPr id="84" name="Rectangle 227">
                <a:extLst>
                  <a:ext uri="{FF2B5EF4-FFF2-40B4-BE49-F238E27FC236}">
                    <a16:creationId xmlns:a16="http://schemas.microsoft.com/office/drawing/2014/main" id="{13296069-F373-4A84-930D-C7A3A7251FDD}"/>
                  </a:ext>
                </a:extLst>
              </p:cNvPr>
              <p:cNvSpPr>
                <a:spLocks noChangeArrowheads="1"/>
              </p:cNvSpPr>
              <p:nvPr/>
            </p:nvSpPr>
            <p:spPr bwMode="auto">
              <a:xfrm>
                <a:off x="198" y="2329"/>
                <a:ext cx="340"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CDCDCD"/>
                    </a:solidFill>
                    <a:latin typeface="微软雅黑" panose="020B0503020204020204" pitchFamily="34" charset="-122"/>
                    <a:ea typeface="宋体" panose="02010600030101010101" pitchFamily="2" charset="-122"/>
                  </a:rPr>
                  <a:t>加工设备</a:t>
                </a:r>
                <a:endParaRPr lang="zh-CN" altLang="zh-CN">
                  <a:ea typeface="宋体" panose="02010600030101010101" pitchFamily="2" charset="-122"/>
                </a:endParaRPr>
              </a:p>
            </p:txBody>
          </p:sp>
          <p:sp>
            <p:nvSpPr>
              <p:cNvPr id="85" name="Rectangle 228">
                <a:extLst>
                  <a:ext uri="{FF2B5EF4-FFF2-40B4-BE49-F238E27FC236}">
                    <a16:creationId xmlns:a16="http://schemas.microsoft.com/office/drawing/2014/main" id="{E1A2106D-CB51-465A-AB82-31349A875FAD}"/>
                  </a:ext>
                </a:extLst>
              </p:cNvPr>
              <p:cNvSpPr>
                <a:spLocks noChangeArrowheads="1"/>
              </p:cNvSpPr>
              <p:nvPr/>
            </p:nvSpPr>
            <p:spPr bwMode="auto">
              <a:xfrm>
                <a:off x="187" y="2318"/>
                <a:ext cx="340"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000000"/>
                    </a:solidFill>
                    <a:latin typeface="微软雅黑" panose="020B0503020204020204" pitchFamily="34" charset="-122"/>
                    <a:ea typeface="宋体" panose="02010600030101010101" pitchFamily="2" charset="-122"/>
                  </a:rPr>
                  <a:t>加工设备</a:t>
                </a:r>
                <a:endParaRPr lang="zh-CN" altLang="zh-CN">
                  <a:ea typeface="宋体" panose="02010600030101010101" pitchFamily="2" charset="-122"/>
                </a:endParaRPr>
              </a:p>
            </p:txBody>
          </p:sp>
          <p:sp>
            <p:nvSpPr>
              <p:cNvPr id="86" name="Rectangle 229">
                <a:extLst>
                  <a:ext uri="{FF2B5EF4-FFF2-40B4-BE49-F238E27FC236}">
                    <a16:creationId xmlns:a16="http://schemas.microsoft.com/office/drawing/2014/main" id="{3A238E04-856B-4A5E-AD11-47FFD5365AA6}"/>
                  </a:ext>
                </a:extLst>
              </p:cNvPr>
              <p:cNvSpPr>
                <a:spLocks noChangeArrowheads="1"/>
              </p:cNvSpPr>
              <p:nvPr/>
            </p:nvSpPr>
            <p:spPr bwMode="auto">
              <a:xfrm>
                <a:off x="713" y="2136"/>
                <a:ext cx="340"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CDCDCD"/>
                    </a:solidFill>
                    <a:latin typeface="微软雅黑" panose="020B0503020204020204" pitchFamily="34" charset="-122"/>
                    <a:ea typeface="宋体" panose="02010600030101010101" pitchFamily="2" charset="-122"/>
                  </a:rPr>
                  <a:t>操作人员</a:t>
                </a:r>
                <a:endParaRPr lang="zh-CN" altLang="zh-CN">
                  <a:ea typeface="宋体" panose="02010600030101010101" pitchFamily="2" charset="-122"/>
                </a:endParaRPr>
              </a:p>
            </p:txBody>
          </p:sp>
          <p:sp>
            <p:nvSpPr>
              <p:cNvPr id="87" name="Rectangle 230">
                <a:extLst>
                  <a:ext uri="{FF2B5EF4-FFF2-40B4-BE49-F238E27FC236}">
                    <a16:creationId xmlns:a16="http://schemas.microsoft.com/office/drawing/2014/main" id="{4BD7F62D-45BA-4366-A4DD-32584B8D7547}"/>
                  </a:ext>
                </a:extLst>
              </p:cNvPr>
              <p:cNvSpPr>
                <a:spLocks noChangeArrowheads="1"/>
              </p:cNvSpPr>
              <p:nvPr/>
            </p:nvSpPr>
            <p:spPr bwMode="auto">
              <a:xfrm>
                <a:off x="702" y="2125"/>
                <a:ext cx="340"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000000"/>
                    </a:solidFill>
                    <a:latin typeface="微软雅黑" panose="020B0503020204020204" pitchFamily="34" charset="-122"/>
                    <a:ea typeface="宋体" panose="02010600030101010101" pitchFamily="2" charset="-122"/>
                  </a:rPr>
                  <a:t>操作人员</a:t>
                </a:r>
                <a:endParaRPr lang="zh-CN" altLang="zh-CN">
                  <a:ea typeface="宋体" panose="02010600030101010101" pitchFamily="2" charset="-122"/>
                </a:endParaRPr>
              </a:p>
            </p:txBody>
          </p:sp>
          <p:sp>
            <p:nvSpPr>
              <p:cNvPr id="88" name="Rectangle 231">
                <a:extLst>
                  <a:ext uri="{FF2B5EF4-FFF2-40B4-BE49-F238E27FC236}">
                    <a16:creationId xmlns:a16="http://schemas.microsoft.com/office/drawing/2014/main" id="{D9C9009D-8293-48C1-8EE3-3B97E668E297}"/>
                  </a:ext>
                </a:extLst>
              </p:cNvPr>
              <p:cNvSpPr>
                <a:spLocks noChangeArrowheads="1"/>
              </p:cNvSpPr>
              <p:nvPr/>
            </p:nvSpPr>
            <p:spPr bwMode="auto">
              <a:xfrm>
                <a:off x="1177" y="3224"/>
                <a:ext cx="272"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CDCDCD"/>
                    </a:solidFill>
                    <a:latin typeface="微软雅黑" panose="020B0503020204020204" pitchFamily="34" charset="-122"/>
                    <a:ea typeface="宋体" panose="02010600030101010101" pitchFamily="2" charset="-122"/>
                  </a:rPr>
                  <a:t>经销商</a:t>
                </a:r>
                <a:endParaRPr lang="zh-CN" altLang="zh-CN">
                  <a:ea typeface="宋体" panose="02010600030101010101" pitchFamily="2" charset="-122"/>
                </a:endParaRPr>
              </a:p>
            </p:txBody>
          </p:sp>
          <p:sp>
            <p:nvSpPr>
              <p:cNvPr id="89" name="Rectangle 232">
                <a:extLst>
                  <a:ext uri="{FF2B5EF4-FFF2-40B4-BE49-F238E27FC236}">
                    <a16:creationId xmlns:a16="http://schemas.microsoft.com/office/drawing/2014/main" id="{26347A98-AE3F-469E-8EC8-FC499974D1B9}"/>
                  </a:ext>
                </a:extLst>
              </p:cNvPr>
              <p:cNvSpPr>
                <a:spLocks noChangeArrowheads="1"/>
              </p:cNvSpPr>
              <p:nvPr/>
            </p:nvSpPr>
            <p:spPr bwMode="auto">
              <a:xfrm>
                <a:off x="1166" y="3219"/>
                <a:ext cx="272"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000000"/>
                    </a:solidFill>
                    <a:latin typeface="微软雅黑" panose="020B0503020204020204" pitchFamily="34" charset="-122"/>
                    <a:ea typeface="宋体" panose="02010600030101010101" pitchFamily="2" charset="-122"/>
                  </a:rPr>
                  <a:t>经销商</a:t>
                </a:r>
                <a:endParaRPr lang="zh-CN" altLang="zh-CN">
                  <a:ea typeface="宋体" panose="02010600030101010101" pitchFamily="2" charset="-122"/>
                </a:endParaRPr>
              </a:p>
            </p:txBody>
          </p:sp>
          <p:sp>
            <p:nvSpPr>
              <p:cNvPr id="90" name="Rectangle 233">
                <a:extLst>
                  <a:ext uri="{FF2B5EF4-FFF2-40B4-BE49-F238E27FC236}">
                    <a16:creationId xmlns:a16="http://schemas.microsoft.com/office/drawing/2014/main" id="{C5D92050-F2D3-4BC8-8629-CAF17603EF0D}"/>
                  </a:ext>
                </a:extLst>
              </p:cNvPr>
              <p:cNvSpPr>
                <a:spLocks noChangeArrowheads="1"/>
              </p:cNvSpPr>
              <p:nvPr/>
            </p:nvSpPr>
            <p:spPr bwMode="auto">
              <a:xfrm>
                <a:off x="1211" y="2958"/>
                <a:ext cx="340"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CDCDCD"/>
                    </a:solidFill>
                    <a:latin typeface="微软雅黑" panose="020B0503020204020204" pitchFamily="34" charset="-122"/>
                    <a:ea typeface="宋体" panose="02010600030101010101" pitchFamily="2" charset="-122"/>
                  </a:rPr>
                  <a:t>物流运输</a:t>
                </a:r>
                <a:endParaRPr lang="zh-CN" altLang="zh-CN">
                  <a:ea typeface="宋体" panose="02010600030101010101" pitchFamily="2" charset="-122"/>
                </a:endParaRPr>
              </a:p>
            </p:txBody>
          </p:sp>
          <p:sp>
            <p:nvSpPr>
              <p:cNvPr id="91" name="Rectangle 234">
                <a:extLst>
                  <a:ext uri="{FF2B5EF4-FFF2-40B4-BE49-F238E27FC236}">
                    <a16:creationId xmlns:a16="http://schemas.microsoft.com/office/drawing/2014/main" id="{95642D7A-14A4-4706-928E-EF11B8E0183C}"/>
                  </a:ext>
                </a:extLst>
              </p:cNvPr>
              <p:cNvSpPr>
                <a:spLocks noChangeArrowheads="1"/>
              </p:cNvSpPr>
              <p:nvPr/>
            </p:nvSpPr>
            <p:spPr bwMode="auto">
              <a:xfrm>
                <a:off x="1200" y="2947"/>
                <a:ext cx="340"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000000"/>
                    </a:solidFill>
                    <a:latin typeface="微软雅黑" panose="020B0503020204020204" pitchFamily="34" charset="-122"/>
                    <a:ea typeface="宋体" panose="02010600030101010101" pitchFamily="2" charset="-122"/>
                  </a:rPr>
                  <a:t>物流运输</a:t>
                </a:r>
                <a:endParaRPr lang="zh-CN" altLang="zh-CN">
                  <a:ea typeface="宋体" panose="02010600030101010101" pitchFamily="2" charset="-122"/>
                </a:endParaRPr>
              </a:p>
            </p:txBody>
          </p:sp>
          <p:sp>
            <p:nvSpPr>
              <p:cNvPr id="92" name="Rectangle 235">
                <a:extLst>
                  <a:ext uri="{FF2B5EF4-FFF2-40B4-BE49-F238E27FC236}">
                    <a16:creationId xmlns:a16="http://schemas.microsoft.com/office/drawing/2014/main" id="{7AB72875-EB8D-4515-9EB2-2CA67573BEE2}"/>
                  </a:ext>
                </a:extLst>
              </p:cNvPr>
              <p:cNvSpPr>
                <a:spLocks noChangeArrowheads="1"/>
              </p:cNvSpPr>
              <p:nvPr/>
            </p:nvSpPr>
            <p:spPr bwMode="auto">
              <a:xfrm>
                <a:off x="1834" y="3122"/>
                <a:ext cx="340"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CDCDCD"/>
                    </a:solidFill>
                    <a:latin typeface="微软雅黑" panose="020B0503020204020204" pitchFamily="34" charset="-122"/>
                    <a:ea typeface="宋体" panose="02010600030101010101" pitchFamily="2" charset="-122"/>
                  </a:rPr>
                  <a:t>仓库管理</a:t>
                </a:r>
                <a:endParaRPr lang="zh-CN" altLang="zh-CN">
                  <a:ea typeface="宋体" panose="02010600030101010101" pitchFamily="2" charset="-122"/>
                </a:endParaRPr>
              </a:p>
            </p:txBody>
          </p:sp>
          <p:sp>
            <p:nvSpPr>
              <p:cNvPr id="93" name="Rectangle 236">
                <a:extLst>
                  <a:ext uri="{FF2B5EF4-FFF2-40B4-BE49-F238E27FC236}">
                    <a16:creationId xmlns:a16="http://schemas.microsoft.com/office/drawing/2014/main" id="{2F38CC5B-EEAA-4F0D-B2A4-9745A19D29E1}"/>
                  </a:ext>
                </a:extLst>
              </p:cNvPr>
              <p:cNvSpPr>
                <a:spLocks noChangeArrowheads="1"/>
              </p:cNvSpPr>
              <p:nvPr/>
            </p:nvSpPr>
            <p:spPr bwMode="auto">
              <a:xfrm>
                <a:off x="1845" y="3195"/>
                <a:ext cx="340"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000000"/>
                    </a:solidFill>
                    <a:latin typeface="微软雅黑" panose="020B0503020204020204" pitchFamily="34" charset="-122"/>
                    <a:ea typeface="宋体" panose="02010600030101010101" pitchFamily="2" charset="-122"/>
                  </a:rPr>
                  <a:t>仓库管理</a:t>
                </a:r>
                <a:endParaRPr lang="zh-CN" altLang="zh-CN">
                  <a:ea typeface="宋体" panose="02010600030101010101" pitchFamily="2" charset="-122"/>
                </a:endParaRPr>
              </a:p>
            </p:txBody>
          </p:sp>
          <p:pic>
            <p:nvPicPr>
              <p:cNvPr id="94" name="Picture 237">
                <a:extLst>
                  <a:ext uri="{FF2B5EF4-FFF2-40B4-BE49-F238E27FC236}">
                    <a16:creationId xmlns:a16="http://schemas.microsoft.com/office/drawing/2014/main" id="{30AA28D7-9C4C-44CB-8A8A-E648AC29C8E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08" y="1978"/>
                <a:ext cx="1149" cy="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Picture 238">
                <a:extLst>
                  <a:ext uri="{FF2B5EF4-FFF2-40B4-BE49-F238E27FC236}">
                    <a16:creationId xmlns:a16="http://schemas.microsoft.com/office/drawing/2014/main" id="{2D45D201-1A06-4EB6-AA58-A44FD095758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08" y="1978"/>
                <a:ext cx="1149" cy="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 name="Rectangle 239">
                <a:extLst>
                  <a:ext uri="{FF2B5EF4-FFF2-40B4-BE49-F238E27FC236}">
                    <a16:creationId xmlns:a16="http://schemas.microsoft.com/office/drawing/2014/main" id="{72D30439-EB4E-4A3B-BAE8-7044D187C7DB}"/>
                  </a:ext>
                </a:extLst>
              </p:cNvPr>
              <p:cNvSpPr>
                <a:spLocks noChangeArrowheads="1"/>
              </p:cNvSpPr>
              <p:nvPr/>
            </p:nvSpPr>
            <p:spPr bwMode="auto">
              <a:xfrm>
                <a:off x="1381" y="1276"/>
                <a:ext cx="96" cy="5"/>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97" name="Rectangle 240">
                <a:extLst>
                  <a:ext uri="{FF2B5EF4-FFF2-40B4-BE49-F238E27FC236}">
                    <a16:creationId xmlns:a16="http://schemas.microsoft.com/office/drawing/2014/main" id="{26431AA0-1A2C-47AE-A205-C69F07DC31D9}"/>
                  </a:ext>
                </a:extLst>
              </p:cNvPr>
              <p:cNvSpPr>
                <a:spLocks noChangeArrowheads="1"/>
              </p:cNvSpPr>
              <p:nvPr/>
            </p:nvSpPr>
            <p:spPr bwMode="auto">
              <a:xfrm>
                <a:off x="1381" y="1281"/>
                <a:ext cx="96" cy="6"/>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98" name="Rectangle 241">
                <a:extLst>
                  <a:ext uri="{FF2B5EF4-FFF2-40B4-BE49-F238E27FC236}">
                    <a16:creationId xmlns:a16="http://schemas.microsoft.com/office/drawing/2014/main" id="{76EA4F76-626A-44D0-B202-1C4C4ADB94BD}"/>
                  </a:ext>
                </a:extLst>
              </p:cNvPr>
              <p:cNvSpPr>
                <a:spLocks noChangeArrowheads="1"/>
              </p:cNvSpPr>
              <p:nvPr/>
            </p:nvSpPr>
            <p:spPr bwMode="auto">
              <a:xfrm>
                <a:off x="1381" y="1287"/>
                <a:ext cx="96" cy="6"/>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99" name="Rectangle 242">
                <a:extLst>
                  <a:ext uri="{FF2B5EF4-FFF2-40B4-BE49-F238E27FC236}">
                    <a16:creationId xmlns:a16="http://schemas.microsoft.com/office/drawing/2014/main" id="{9A96584B-8C67-477C-91A3-2C74725677CC}"/>
                  </a:ext>
                </a:extLst>
              </p:cNvPr>
              <p:cNvSpPr>
                <a:spLocks noChangeArrowheads="1"/>
              </p:cNvSpPr>
              <p:nvPr/>
            </p:nvSpPr>
            <p:spPr bwMode="auto">
              <a:xfrm>
                <a:off x="1381" y="1293"/>
                <a:ext cx="96" cy="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00" name="Rectangle 243">
                <a:extLst>
                  <a:ext uri="{FF2B5EF4-FFF2-40B4-BE49-F238E27FC236}">
                    <a16:creationId xmlns:a16="http://schemas.microsoft.com/office/drawing/2014/main" id="{3A7BE95D-9289-48DF-9DD8-90158AE3190E}"/>
                  </a:ext>
                </a:extLst>
              </p:cNvPr>
              <p:cNvSpPr>
                <a:spLocks noChangeArrowheads="1"/>
              </p:cNvSpPr>
              <p:nvPr/>
            </p:nvSpPr>
            <p:spPr bwMode="auto">
              <a:xfrm>
                <a:off x="1381" y="1298"/>
                <a:ext cx="96" cy="6"/>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01" name="Rectangle 244">
                <a:extLst>
                  <a:ext uri="{FF2B5EF4-FFF2-40B4-BE49-F238E27FC236}">
                    <a16:creationId xmlns:a16="http://schemas.microsoft.com/office/drawing/2014/main" id="{2054EF6E-59B8-4711-B168-71E0A1D7D584}"/>
                  </a:ext>
                </a:extLst>
              </p:cNvPr>
              <p:cNvSpPr>
                <a:spLocks noChangeArrowheads="1"/>
              </p:cNvSpPr>
              <p:nvPr/>
            </p:nvSpPr>
            <p:spPr bwMode="auto">
              <a:xfrm>
                <a:off x="1381" y="1304"/>
                <a:ext cx="96" cy="6"/>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02" name="Rectangle 245">
                <a:extLst>
                  <a:ext uri="{FF2B5EF4-FFF2-40B4-BE49-F238E27FC236}">
                    <a16:creationId xmlns:a16="http://schemas.microsoft.com/office/drawing/2014/main" id="{76C6C5AE-DE1A-4FBA-84A8-4947F3A37D67}"/>
                  </a:ext>
                </a:extLst>
              </p:cNvPr>
              <p:cNvSpPr>
                <a:spLocks noChangeArrowheads="1"/>
              </p:cNvSpPr>
              <p:nvPr/>
            </p:nvSpPr>
            <p:spPr bwMode="auto">
              <a:xfrm>
                <a:off x="1381" y="1310"/>
                <a:ext cx="96" cy="5"/>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03" name="Rectangle 246">
                <a:extLst>
                  <a:ext uri="{FF2B5EF4-FFF2-40B4-BE49-F238E27FC236}">
                    <a16:creationId xmlns:a16="http://schemas.microsoft.com/office/drawing/2014/main" id="{52C2BC43-B6CA-40B3-8BB0-E8C97F9FD60B}"/>
                  </a:ext>
                </a:extLst>
              </p:cNvPr>
              <p:cNvSpPr>
                <a:spLocks noChangeArrowheads="1"/>
              </p:cNvSpPr>
              <p:nvPr/>
            </p:nvSpPr>
            <p:spPr bwMode="auto">
              <a:xfrm>
                <a:off x="1381" y="1315"/>
                <a:ext cx="96" cy="12"/>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04" name="Rectangle 247">
                <a:extLst>
                  <a:ext uri="{FF2B5EF4-FFF2-40B4-BE49-F238E27FC236}">
                    <a16:creationId xmlns:a16="http://schemas.microsoft.com/office/drawing/2014/main" id="{484DDC44-3BDD-4E97-9BB6-EF6A13430BC4}"/>
                  </a:ext>
                </a:extLst>
              </p:cNvPr>
              <p:cNvSpPr>
                <a:spLocks noChangeArrowheads="1"/>
              </p:cNvSpPr>
              <p:nvPr/>
            </p:nvSpPr>
            <p:spPr bwMode="auto">
              <a:xfrm>
                <a:off x="1381" y="1327"/>
                <a:ext cx="96" cy="5"/>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05" name="Rectangle 248">
                <a:extLst>
                  <a:ext uri="{FF2B5EF4-FFF2-40B4-BE49-F238E27FC236}">
                    <a16:creationId xmlns:a16="http://schemas.microsoft.com/office/drawing/2014/main" id="{20B6C853-4391-4201-BE29-44E2BF69DB0E}"/>
                  </a:ext>
                </a:extLst>
              </p:cNvPr>
              <p:cNvSpPr>
                <a:spLocks noChangeArrowheads="1"/>
              </p:cNvSpPr>
              <p:nvPr/>
            </p:nvSpPr>
            <p:spPr bwMode="auto">
              <a:xfrm>
                <a:off x="1381" y="1332"/>
                <a:ext cx="96" cy="6"/>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06" name="Rectangle 249">
                <a:extLst>
                  <a:ext uri="{FF2B5EF4-FFF2-40B4-BE49-F238E27FC236}">
                    <a16:creationId xmlns:a16="http://schemas.microsoft.com/office/drawing/2014/main" id="{1397CB4E-B46A-49C2-A47B-83C739D438A8}"/>
                  </a:ext>
                </a:extLst>
              </p:cNvPr>
              <p:cNvSpPr>
                <a:spLocks noChangeArrowheads="1"/>
              </p:cNvSpPr>
              <p:nvPr/>
            </p:nvSpPr>
            <p:spPr bwMode="auto">
              <a:xfrm>
                <a:off x="1381" y="1338"/>
                <a:ext cx="96" cy="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07" name="Rectangle 250">
                <a:extLst>
                  <a:ext uri="{FF2B5EF4-FFF2-40B4-BE49-F238E27FC236}">
                    <a16:creationId xmlns:a16="http://schemas.microsoft.com/office/drawing/2014/main" id="{64DEDC55-1557-4FA1-8FEC-E4725C73BDD6}"/>
                  </a:ext>
                </a:extLst>
              </p:cNvPr>
              <p:cNvSpPr>
                <a:spLocks noChangeArrowheads="1"/>
              </p:cNvSpPr>
              <p:nvPr/>
            </p:nvSpPr>
            <p:spPr bwMode="auto">
              <a:xfrm>
                <a:off x="1381" y="1344"/>
                <a:ext cx="96" cy="5"/>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08" name="Rectangle 251">
                <a:extLst>
                  <a:ext uri="{FF2B5EF4-FFF2-40B4-BE49-F238E27FC236}">
                    <a16:creationId xmlns:a16="http://schemas.microsoft.com/office/drawing/2014/main" id="{CD0DABBE-C519-481D-B621-B7341F163B56}"/>
                  </a:ext>
                </a:extLst>
              </p:cNvPr>
              <p:cNvSpPr>
                <a:spLocks noChangeArrowheads="1"/>
              </p:cNvSpPr>
              <p:nvPr/>
            </p:nvSpPr>
            <p:spPr bwMode="auto">
              <a:xfrm>
                <a:off x="1381" y="1349"/>
                <a:ext cx="96" cy="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09" name="Rectangle 252">
                <a:extLst>
                  <a:ext uri="{FF2B5EF4-FFF2-40B4-BE49-F238E27FC236}">
                    <a16:creationId xmlns:a16="http://schemas.microsoft.com/office/drawing/2014/main" id="{14BB9519-78F7-43D0-9F95-6CEF8BA91EDD}"/>
                  </a:ext>
                </a:extLst>
              </p:cNvPr>
              <p:cNvSpPr>
                <a:spLocks noChangeArrowheads="1"/>
              </p:cNvSpPr>
              <p:nvPr/>
            </p:nvSpPr>
            <p:spPr bwMode="auto">
              <a:xfrm>
                <a:off x="1381" y="1355"/>
                <a:ext cx="96" cy="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10" name="Rectangle 253">
                <a:extLst>
                  <a:ext uri="{FF2B5EF4-FFF2-40B4-BE49-F238E27FC236}">
                    <a16:creationId xmlns:a16="http://schemas.microsoft.com/office/drawing/2014/main" id="{DF137DAD-A3C0-4798-8B82-F4760ED1FD31}"/>
                  </a:ext>
                </a:extLst>
              </p:cNvPr>
              <p:cNvSpPr>
                <a:spLocks noChangeArrowheads="1"/>
              </p:cNvSpPr>
              <p:nvPr/>
            </p:nvSpPr>
            <p:spPr bwMode="auto">
              <a:xfrm>
                <a:off x="1381" y="1361"/>
                <a:ext cx="96" cy="5"/>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11" name="Rectangle 254">
                <a:extLst>
                  <a:ext uri="{FF2B5EF4-FFF2-40B4-BE49-F238E27FC236}">
                    <a16:creationId xmlns:a16="http://schemas.microsoft.com/office/drawing/2014/main" id="{63541DEE-6BFC-4269-92F6-599A4CB9B817}"/>
                  </a:ext>
                </a:extLst>
              </p:cNvPr>
              <p:cNvSpPr>
                <a:spLocks noChangeArrowheads="1"/>
              </p:cNvSpPr>
              <p:nvPr/>
            </p:nvSpPr>
            <p:spPr bwMode="auto">
              <a:xfrm>
                <a:off x="1381" y="1366"/>
                <a:ext cx="96" cy="6"/>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12" name="Freeform 255">
                <a:extLst>
                  <a:ext uri="{FF2B5EF4-FFF2-40B4-BE49-F238E27FC236}">
                    <a16:creationId xmlns:a16="http://schemas.microsoft.com/office/drawing/2014/main" id="{D5CEDA24-6CAD-460B-99B7-7FD3AE561C68}"/>
                  </a:ext>
                </a:extLst>
              </p:cNvPr>
              <p:cNvSpPr>
                <a:spLocks/>
              </p:cNvSpPr>
              <p:nvPr/>
            </p:nvSpPr>
            <p:spPr bwMode="auto">
              <a:xfrm>
                <a:off x="1387" y="1283"/>
                <a:ext cx="80" cy="80"/>
              </a:xfrm>
              <a:custGeom>
                <a:avLst/>
                <a:gdLst>
                  <a:gd name="T0" fmla="*/ 0 w 80"/>
                  <a:gd name="T1" fmla="*/ 40 h 80"/>
                  <a:gd name="T2" fmla="*/ 40 w 80"/>
                  <a:gd name="T3" fmla="*/ 0 h 80"/>
                  <a:gd name="T4" fmla="*/ 80 w 80"/>
                  <a:gd name="T5" fmla="*/ 40 h 80"/>
                  <a:gd name="T6" fmla="*/ 80 w 80"/>
                  <a:gd name="T7" fmla="*/ 40 h 80"/>
                  <a:gd name="T8" fmla="*/ 40 w 80"/>
                  <a:gd name="T9" fmla="*/ 80 h 80"/>
                  <a:gd name="T10" fmla="*/ 0 w 80"/>
                  <a:gd name="T11" fmla="*/ 40 h 80"/>
                  <a:gd name="T12" fmla="*/ 0 60000 65536"/>
                  <a:gd name="T13" fmla="*/ 0 60000 65536"/>
                  <a:gd name="T14" fmla="*/ 0 60000 65536"/>
                  <a:gd name="T15" fmla="*/ 0 60000 65536"/>
                  <a:gd name="T16" fmla="*/ 0 60000 65536"/>
                  <a:gd name="T17" fmla="*/ 0 60000 65536"/>
                  <a:gd name="T18" fmla="*/ 0 w 80"/>
                  <a:gd name="T19" fmla="*/ 0 h 80"/>
                  <a:gd name="T20" fmla="*/ 80 w 80"/>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80" h="80">
                    <a:moveTo>
                      <a:pt x="0" y="40"/>
                    </a:moveTo>
                    <a:cubicBezTo>
                      <a:pt x="0" y="18"/>
                      <a:pt x="18" y="0"/>
                      <a:pt x="40" y="0"/>
                    </a:cubicBezTo>
                    <a:cubicBezTo>
                      <a:pt x="62" y="0"/>
                      <a:pt x="80" y="18"/>
                      <a:pt x="80" y="40"/>
                    </a:cubicBezTo>
                    <a:cubicBezTo>
                      <a:pt x="80" y="40"/>
                      <a:pt x="80" y="40"/>
                      <a:pt x="80" y="40"/>
                    </a:cubicBezTo>
                    <a:cubicBezTo>
                      <a:pt x="80" y="62"/>
                      <a:pt x="62" y="80"/>
                      <a:pt x="40" y="80"/>
                    </a:cubicBezTo>
                    <a:cubicBezTo>
                      <a:pt x="18" y="80"/>
                      <a:pt x="0" y="62"/>
                      <a:pt x="0" y="40"/>
                    </a:cubicBezTo>
                  </a:path>
                </a:pathLst>
              </a:custGeom>
              <a:noFill/>
              <a:ln w="2" cap="rnd">
                <a:solidFill>
                  <a:srgbClr val="40404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113" name="Rectangle 256">
                <a:extLst>
                  <a:ext uri="{FF2B5EF4-FFF2-40B4-BE49-F238E27FC236}">
                    <a16:creationId xmlns:a16="http://schemas.microsoft.com/office/drawing/2014/main" id="{09B01456-DE12-496E-8E70-93ED273517D7}"/>
                  </a:ext>
                </a:extLst>
              </p:cNvPr>
              <p:cNvSpPr>
                <a:spLocks noChangeArrowheads="1"/>
              </p:cNvSpPr>
              <p:nvPr/>
            </p:nvSpPr>
            <p:spPr bwMode="auto">
              <a:xfrm>
                <a:off x="1432" y="1429"/>
                <a:ext cx="96" cy="5"/>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14" name="Rectangle 257">
                <a:extLst>
                  <a:ext uri="{FF2B5EF4-FFF2-40B4-BE49-F238E27FC236}">
                    <a16:creationId xmlns:a16="http://schemas.microsoft.com/office/drawing/2014/main" id="{43A84CB1-03EE-4157-BFD1-CA14E6555F9D}"/>
                  </a:ext>
                </a:extLst>
              </p:cNvPr>
              <p:cNvSpPr>
                <a:spLocks noChangeArrowheads="1"/>
              </p:cNvSpPr>
              <p:nvPr/>
            </p:nvSpPr>
            <p:spPr bwMode="auto">
              <a:xfrm>
                <a:off x="1432" y="1434"/>
                <a:ext cx="96" cy="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15" name="Rectangle 258">
                <a:extLst>
                  <a:ext uri="{FF2B5EF4-FFF2-40B4-BE49-F238E27FC236}">
                    <a16:creationId xmlns:a16="http://schemas.microsoft.com/office/drawing/2014/main" id="{1F8A7F3D-D94E-4C80-804D-89EA0E976868}"/>
                  </a:ext>
                </a:extLst>
              </p:cNvPr>
              <p:cNvSpPr>
                <a:spLocks noChangeArrowheads="1"/>
              </p:cNvSpPr>
              <p:nvPr/>
            </p:nvSpPr>
            <p:spPr bwMode="auto">
              <a:xfrm>
                <a:off x="1432" y="1440"/>
                <a:ext cx="96" cy="6"/>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16" name="Rectangle 259">
                <a:extLst>
                  <a:ext uri="{FF2B5EF4-FFF2-40B4-BE49-F238E27FC236}">
                    <a16:creationId xmlns:a16="http://schemas.microsoft.com/office/drawing/2014/main" id="{1DD89231-8D7B-459E-A52F-91DFAF77B830}"/>
                  </a:ext>
                </a:extLst>
              </p:cNvPr>
              <p:cNvSpPr>
                <a:spLocks noChangeArrowheads="1"/>
              </p:cNvSpPr>
              <p:nvPr/>
            </p:nvSpPr>
            <p:spPr bwMode="auto">
              <a:xfrm>
                <a:off x="1432" y="1446"/>
                <a:ext cx="96" cy="5"/>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17" name="Rectangle 260">
                <a:extLst>
                  <a:ext uri="{FF2B5EF4-FFF2-40B4-BE49-F238E27FC236}">
                    <a16:creationId xmlns:a16="http://schemas.microsoft.com/office/drawing/2014/main" id="{C62927A9-680E-4716-803D-0C34FD2DD237}"/>
                  </a:ext>
                </a:extLst>
              </p:cNvPr>
              <p:cNvSpPr>
                <a:spLocks noChangeArrowheads="1"/>
              </p:cNvSpPr>
              <p:nvPr/>
            </p:nvSpPr>
            <p:spPr bwMode="auto">
              <a:xfrm>
                <a:off x="1432" y="1451"/>
                <a:ext cx="96" cy="6"/>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18" name="Rectangle 261">
                <a:extLst>
                  <a:ext uri="{FF2B5EF4-FFF2-40B4-BE49-F238E27FC236}">
                    <a16:creationId xmlns:a16="http://schemas.microsoft.com/office/drawing/2014/main" id="{B89CBB2C-5DCD-4FFC-9F9C-013925E402CC}"/>
                  </a:ext>
                </a:extLst>
              </p:cNvPr>
              <p:cNvSpPr>
                <a:spLocks noChangeArrowheads="1"/>
              </p:cNvSpPr>
              <p:nvPr/>
            </p:nvSpPr>
            <p:spPr bwMode="auto">
              <a:xfrm>
                <a:off x="1432" y="1457"/>
                <a:ext cx="96" cy="6"/>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19" name="Rectangle 262">
                <a:extLst>
                  <a:ext uri="{FF2B5EF4-FFF2-40B4-BE49-F238E27FC236}">
                    <a16:creationId xmlns:a16="http://schemas.microsoft.com/office/drawing/2014/main" id="{08E137D2-D377-4F31-B7AD-845A2171CB2C}"/>
                  </a:ext>
                </a:extLst>
              </p:cNvPr>
              <p:cNvSpPr>
                <a:spLocks noChangeArrowheads="1"/>
              </p:cNvSpPr>
              <p:nvPr/>
            </p:nvSpPr>
            <p:spPr bwMode="auto">
              <a:xfrm>
                <a:off x="1432" y="1463"/>
                <a:ext cx="96" cy="5"/>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20" name="Rectangle 263">
                <a:extLst>
                  <a:ext uri="{FF2B5EF4-FFF2-40B4-BE49-F238E27FC236}">
                    <a16:creationId xmlns:a16="http://schemas.microsoft.com/office/drawing/2014/main" id="{E1CDF562-587D-4471-A8A5-F79042A6BCA1}"/>
                  </a:ext>
                </a:extLst>
              </p:cNvPr>
              <p:cNvSpPr>
                <a:spLocks noChangeArrowheads="1"/>
              </p:cNvSpPr>
              <p:nvPr/>
            </p:nvSpPr>
            <p:spPr bwMode="auto">
              <a:xfrm>
                <a:off x="1432" y="1468"/>
                <a:ext cx="96" cy="6"/>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21" name="Rectangle 264">
                <a:extLst>
                  <a:ext uri="{FF2B5EF4-FFF2-40B4-BE49-F238E27FC236}">
                    <a16:creationId xmlns:a16="http://schemas.microsoft.com/office/drawing/2014/main" id="{FC7BE63F-8172-477B-88E6-4AE13BBB73B6}"/>
                  </a:ext>
                </a:extLst>
              </p:cNvPr>
              <p:cNvSpPr>
                <a:spLocks noChangeArrowheads="1"/>
              </p:cNvSpPr>
              <p:nvPr/>
            </p:nvSpPr>
            <p:spPr bwMode="auto">
              <a:xfrm>
                <a:off x="1432" y="1474"/>
                <a:ext cx="96" cy="11"/>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22" name="Rectangle 265">
                <a:extLst>
                  <a:ext uri="{FF2B5EF4-FFF2-40B4-BE49-F238E27FC236}">
                    <a16:creationId xmlns:a16="http://schemas.microsoft.com/office/drawing/2014/main" id="{FF4B9FD5-63C3-4A1E-A50B-324EA2C7228A}"/>
                  </a:ext>
                </a:extLst>
              </p:cNvPr>
              <p:cNvSpPr>
                <a:spLocks noChangeArrowheads="1"/>
              </p:cNvSpPr>
              <p:nvPr/>
            </p:nvSpPr>
            <p:spPr bwMode="auto">
              <a:xfrm>
                <a:off x="1432" y="1485"/>
                <a:ext cx="96" cy="6"/>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23" name="Rectangle 266">
                <a:extLst>
                  <a:ext uri="{FF2B5EF4-FFF2-40B4-BE49-F238E27FC236}">
                    <a16:creationId xmlns:a16="http://schemas.microsoft.com/office/drawing/2014/main" id="{401943D7-FB19-433E-8DA9-6A1B8402B6C8}"/>
                  </a:ext>
                </a:extLst>
              </p:cNvPr>
              <p:cNvSpPr>
                <a:spLocks noChangeArrowheads="1"/>
              </p:cNvSpPr>
              <p:nvPr/>
            </p:nvSpPr>
            <p:spPr bwMode="auto">
              <a:xfrm>
                <a:off x="1432" y="1491"/>
                <a:ext cx="96" cy="6"/>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24" name="Rectangle 267">
                <a:extLst>
                  <a:ext uri="{FF2B5EF4-FFF2-40B4-BE49-F238E27FC236}">
                    <a16:creationId xmlns:a16="http://schemas.microsoft.com/office/drawing/2014/main" id="{BED73D99-09DA-435E-A916-9D5F331E47CD}"/>
                  </a:ext>
                </a:extLst>
              </p:cNvPr>
              <p:cNvSpPr>
                <a:spLocks noChangeArrowheads="1"/>
              </p:cNvSpPr>
              <p:nvPr/>
            </p:nvSpPr>
            <p:spPr bwMode="auto">
              <a:xfrm>
                <a:off x="1432" y="1497"/>
                <a:ext cx="96" cy="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25" name="Rectangle 268">
                <a:extLst>
                  <a:ext uri="{FF2B5EF4-FFF2-40B4-BE49-F238E27FC236}">
                    <a16:creationId xmlns:a16="http://schemas.microsoft.com/office/drawing/2014/main" id="{810AD13A-CF31-496A-A0AE-92CFBBF57930}"/>
                  </a:ext>
                </a:extLst>
              </p:cNvPr>
              <p:cNvSpPr>
                <a:spLocks noChangeArrowheads="1"/>
              </p:cNvSpPr>
              <p:nvPr/>
            </p:nvSpPr>
            <p:spPr bwMode="auto">
              <a:xfrm>
                <a:off x="1432" y="1502"/>
                <a:ext cx="96" cy="6"/>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26" name="Rectangle 269">
                <a:extLst>
                  <a:ext uri="{FF2B5EF4-FFF2-40B4-BE49-F238E27FC236}">
                    <a16:creationId xmlns:a16="http://schemas.microsoft.com/office/drawing/2014/main" id="{5D8C9081-05A8-4A2C-99EC-FA35464910A2}"/>
                  </a:ext>
                </a:extLst>
              </p:cNvPr>
              <p:cNvSpPr>
                <a:spLocks noChangeArrowheads="1"/>
              </p:cNvSpPr>
              <p:nvPr/>
            </p:nvSpPr>
            <p:spPr bwMode="auto">
              <a:xfrm>
                <a:off x="1432" y="1508"/>
                <a:ext cx="96" cy="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27" name="Rectangle 270">
                <a:extLst>
                  <a:ext uri="{FF2B5EF4-FFF2-40B4-BE49-F238E27FC236}">
                    <a16:creationId xmlns:a16="http://schemas.microsoft.com/office/drawing/2014/main" id="{DDC207C9-D10B-4036-92A4-93B4ED57F685}"/>
                  </a:ext>
                </a:extLst>
              </p:cNvPr>
              <p:cNvSpPr>
                <a:spLocks noChangeArrowheads="1"/>
              </p:cNvSpPr>
              <p:nvPr/>
            </p:nvSpPr>
            <p:spPr bwMode="auto">
              <a:xfrm>
                <a:off x="1432" y="1514"/>
                <a:ext cx="96" cy="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28" name="Rectangle 271">
                <a:extLst>
                  <a:ext uri="{FF2B5EF4-FFF2-40B4-BE49-F238E27FC236}">
                    <a16:creationId xmlns:a16="http://schemas.microsoft.com/office/drawing/2014/main" id="{1FE0B1A3-E03C-42F4-9791-E24EA32121B8}"/>
                  </a:ext>
                </a:extLst>
              </p:cNvPr>
              <p:cNvSpPr>
                <a:spLocks noChangeArrowheads="1"/>
              </p:cNvSpPr>
              <p:nvPr/>
            </p:nvSpPr>
            <p:spPr bwMode="auto">
              <a:xfrm>
                <a:off x="1432" y="1519"/>
                <a:ext cx="96" cy="6"/>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29" name="Freeform 272">
                <a:extLst>
                  <a:ext uri="{FF2B5EF4-FFF2-40B4-BE49-F238E27FC236}">
                    <a16:creationId xmlns:a16="http://schemas.microsoft.com/office/drawing/2014/main" id="{B4F9575E-DFAC-4B08-9171-0E85B348A754}"/>
                  </a:ext>
                </a:extLst>
              </p:cNvPr>
              <p:cNvSpPr>
                <a:spLocks/>
              </p:cNvSpPr>
              <p:nvPr/>
            </p:nvSpPr>
            <p:spPr bwMode="auto">
              <a:xfrm>
                <a:off x="1438" y="1438"/>
                <a:ext cx="80" cy="81"/>
              </a:xfrm>
              <a:custGeom>
                <a:avLst/>
                <a:gdLst>
                  <a:gd name="T0" fmla="*/ 0 w 80"/>
                  <a:gd name="T1" fmla="*/ 40 h 81"/>
                  <a:gd name="T2" fmla="*/ 40 w 80"/>
                  <a:gd name="T3" fmla="*/ 0 h 81"/>
                  <a:gd name="T4" fmla="*/ 80 w 80"/>
                  <a:gd name="T5" fmla="*/ 40 h 81"/>
                  <a:gd name="T6" fmla="*/ 80 w 80"/>
                  <a:gd name="T7" fmla="*/ 40 h 81"/>
                  <a:gd name="T8" fmla="*/ 40 w 80"/>
                  <a:gd name="T9" fmla="*/ 81 h 81"/>
                  <a:gd name="T10" fmla="*/ 0 w 80"/>
                  <a:gd name="T11" fmla="*/ 40 h 81"/>
                  <a:gd name="T12" fmla="*/ 0 60000 65536"/>
                  <a:gd name="T13" fmla="*/ 0 60000 65536"/>
                  <a:gd name="T14" fmla="*/ 0 60000 65536"/>
                  <a:gd name="T15" fmla="*/ 0 60000 65536"/>
                  <a:gd name="T16" fmla="*/ 0 60000 65536"/>
                  <a:gd name="T17" fmla="*/ 0 60000 65536"/>
                  <a:gd name="T18" fmla="*/ 0 w 80"/>
                  <a:gd name="T19" fmla="*/ 0 h 81"/>
                  <a:gd name="T20" fmla="*/ 80 w 80"/>
                  <a:gd name="T21" fmla="*/ 81 h 81"/>
                </a:gdLst>
                <a:ahLst/>
                <a:cxnLst>
                  <a:cxn ang="T12">
                    <a:pos x="T0" y="T1"/>
                  </a:cxn>
                  <a:cxn ang="T13">
                    <a:pos x="T2" y="T3"/>
                  </a:cxn>
                  <a:cxn ang="T14">
                    <a:pos x="T4" y="T5"/>
                  </a:cxn>
                  <a:cxn ang="T15">
                    <a:pos x="T6" y="T7"/>
                  </a:cxn>
                  <a:cxn ang="T16">
                    <a:pos x="T8" y="T9"/>
                  </a:cxn>
                  <a:cxn ang="T17">
                    <a:pos x="T10" y="T11"/>
                  </a:cxn>
                </a:cxnLst>
                <a:rect l="T18" t="T19" r="T20" b="T21"/>
                <a:pathLst>
                  <a:path w="80" h="81">
                    <a:moveTo>
                      <a:pt x="0" y="40"/>
                    </a:moveTo>
                    <a:cubicBezTo>
                      <a:pt x="0" y="18"/>
                      <a:pt x="17" y="0"/>
                      <a:pt x="40" y="0"/>
                    </a:cubicBezTo>
                    <a:cubicBezTo>
                      <a:pt x="62" y="0"/>
                      <a:pt x="80" y="18"/>
                      <a:pt x="80" y="40"/>
                    </a:cubicBezTo>
                    <a:cubicBezTo>
                      <a:pt x="80" y="40"/>
                      <a:pt x="80" y="40"/>
                      <a:pt x="80" y="40"/>
                    </a:cubicBezTo>
                    <a:cubicBezTo>
                      <a:pt x="80" y="62"/>
                      <a:pt x="62" y="81"/>
                      <a:pt x="40" y="81"/>
                    </a:cubicBezTo>
                    <a:cubicBezTo>
                      <a:pt x="17" y="81"/>
                      <a:pt x="0" y="62"/>
                      <a:pt x="0" y="40"/>
                    </a:cubicBezTo>
                  </a:path>
                </a:pathLst>
              </a:custGeom>
              <a:noFill/>
              <a:ln w="2" cap="rnd">
                <a:solidFill>
                  <a:srgbClr val="40404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130" name="Rectangle 273">
                <a:extLst>
                  <a:ext uri="{FF2B5EF4-FFF2-40B4-BE49-F238E27FC236}">
                    <a16:creationId xmlns:a16="http://schemas.microsoft.com/office/drawing/2014/main" id="{A70EFDFC-98ED-41EE-8F79-59065506A336}"/>
                  </a:ext>
                </a:extLst>
              </p:cNvPr>
              <p:cNvSpPr>
                <a:spLocks noChangeArrowheads="1"/>
              </p:cNvSpPr>
              <p:nvPr/>
            </p:nvSpPr>
            <p:spPr bwMode="auto">
              <a:xfrm>
                <a:off x="1500" y="1599"/>
                <a:ext cx="96" cy="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31" name="Rectangle 274">
                <a:extLst>
                  <a:ext uri="{FF2B5EF4-FFF2-40B4-BE49-F238E27FC236}">
                    <a16:creationId xmlns:a16="http://schemas.microsoft.com/office/drawing/2014/main" id="{E9F7FF8A-DB79-437A-8116-5F9D51E57BFF}"/>
                  </a:ext>
                </a:extLst>
              </p:cNvPr>
              <p:cNvSpPr>
                <a:spLocks noChangeArrowheads="1"/>
              </p:cNvSpPr>
              <p:nvPr/>
            </p:nvSpPr>
            <p:spPr bwMode="auto">
              <a:xfrm>
                <a:off x="1500" y="1604"/>
                <a:ext cx="96" cy="6"/>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32" name="Rectangle 275">
                <a:extLst>
                  <a:ext uri="{FF2B5EF4-FFF2-40B4-BE49-F238E27FC236}">
                    <a16:creationId xmlns:a16="http://schemas.microsoft.com/office/drawing/2014/main" id="{0649A33A-9049-46BC-AEB8-3242D4ECF598}"/>
                  </a:ext>
                </a:extLst>
              </p:cNvPr>
              <p:cNvSpPr>
                <a:spLocks noChangeArrowheads="1"/>
              </p:cNvSpPr>
              <p:nvPr/>
            </p:nvSpPr>
            <p:spPr bwMode="auto">
              <a:xfrm>
                <a:off x="1500" y="1610"/>
                <a:ext cx="96" cy="6"/>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33" name="Rectangle 276">
                <a:extLst>
                  <a:ext uri="{FF2B5EF4-FFF2-40B4-BE49-F238E27FC236}">
                    <a16:creationId xmlns:a16="http://schemas.microsoft.com/office/drawing/2014/main" id="{3CBC52E1-F02C-4174-A71B-C603F3C7F561}"/>
                  </a:ext>
                </a:extLst>
              </p:cNvPr>
              <p:cNvSpPr>
                <a:spLocks noChangeArrowheads="1"/>
              </p:cNvSpPr>
              <p:nvPr/>
            </p:nvSpPr>
            <p:spPr bwMode="auto">
              <a:xfrm>
                <a:off x="1500" y="1616"/>
                <a:ext cx="96" cy="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35" name="Rectangle 277">
                <a:extLst>
                  <a:ext uri="{FF2B5EF4-FFF2-40B4-BE49-F238E27FC236}">
                    <a16:creationId xmlns:a16="http://schemas.microsoft.com/office/drawing/2014/main" id="{F6E85F42-FEC1-4BEF-ABE8-6D48375407B7}"/>
                  </a:ext>
                </a:extLst>
              </p:cNvPr>
              <p:cNvSpPr>
                <a:spLocks noChangeArrowheads="1"/>
              </p:cNvSpPr>
              <p:nvPr/>
            </p:nvSpPr>
            <p:spPr bwMode="auto">
              <a:xfrm>
                <a:off x="1500" y="1621"/>
                <a:ext cx="96" cy="6"/>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36" name="Rectangle 278">
                <a:extLst>
                  <a:ext uri="{FF2B5EF4-FFF2-40B4-BE49-F238E27FC236}">
                    <a16:creationId xmlns:a16="http://schemas.microsoft.com/office/drawing/2014/main" id="{75EC881F-1D06-41A9-B3C5-245A94179049}"/>
                  </a:ext>
                </a:extLst>
              </p:cNvPr>
              <p:cNvSpPr>
                <a:spLocks noChangeArrowheads="1"/>
              </p:cNvSpPr>
              <p:nvPr/>
            </p:nvSpPr>
            <p:spPr bwMode="auto">
              <a:xfrm>
                <a:off x="1500" y="1627"/>
                <a:ext cx="96" cy="6"/>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37" name="Rectangle 279">
                <a:extLst>
                  <a:ext uri="{FF2B5EF4-FFF2-40B4-BE49-F238E27FC236}">
                    <a16:creationId xmlns:a16="http://schemas.microsoft.com/office/drawing/2014/main" id="{7A1123E0-10D8-48C4-A998-16BAB96FAF0D}"/>
                  </a:ext>
                </a:extLst>
              </p:cNvPr>
              <p:cNvSpPr>
                <a:spLocks noChangeArrowheads="1"/>
              </p:cNvSpPr>
              <p:nvPr/>
            </p:nvSpPr>
            <p:spPr bwMode="auto">
              <a:xfrm>
                <a:off x="1500" y="1633"/>
                <a:ext cx="96" cy="5"/>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38" name="Rectangle 280">
                <a:extLst>
                  <a:ext uri="{FF2B5EF4-FFF2-40B4-BE49-F238E27FC236}">
                    <a16:creationId xmlns:a16="http://schemas.microsoft.com/office/drawing/2014/main" id="{480FD679-C208-45D1-BFE8-EC235BAED137}"/>
                  </a:ext>
                </a:extLst>
              </p:cNvPr>
              <p:cNvSpPr>
                <a:spLocks noChangeArrowheads="1"/>
              </p:cNvSpPr>
              <p:nvPr/>
            </p:nvSpPr>
            <p:spPr bwMode="auto">
              <a:xfrm>
                <a:off x="1500" y="1638"/>
                <a:ext cx="96" cy="12"/>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39" name="Rectangle 281">
                <a:extLst>
                  <a:ext uri="{FF2B5EF4-FFF2-40B4-BE49-F238E27FC236}">
                    <a16:creationId xmlns:a16="http://schemas.microsoft.com/office/drawing/2014/main" id="{9609C5F3-41C4-493A-8DA1-BE6545F7BCCA}"/>
                  </a:ext>
                </a:extLst>
              </p:cNvPr>
              <p:cNvSpPr>
                <a:spLocks noChangeArrowheads="1"/>
              </p:cNvSpPr>
              <p:nvPr/>
            </p:nvSpPr>
            <p:spPr bwMode="auto">
              <a:xfrm>
                <a:off x="1500" y="1650"/>
                <a:ext cx="96" cy="5"/>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40" name="Rectangle 282">
                <a:extLst>
                  <a:ext uri="{FF2B5EF4-FFF2-40B4-BE49-F238E27FC236}">
                    <a16:creationId xmlns:a16="http://schemas.microsoft.com/office/drawing/2014/main" id="{032A799C-3668-463A-9C37-74B978546716}"/>
                  </a:ext>
                </a:extLst>
              </p:cNvPr>
              <p:cNvSpPr>
                <a:spLocks noChangeArrowheads="1"/>
              </p:cNvSpPr>
              <p:nvPr/>
            </p:nvSpPr>
            <p:spPr bwMode="auto">
              <a:xfrm>
                <a:off x="1500" y="1655"/>
                <a:ext cx="96" cy="6"/>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41" name="Rectangle 283">
                <a:extLst>
                  <a:ext uri="{FF2B5EF4-FFF2-40B4-BE49-F238E27FC236}">
                    <a16:creationId xmlns:a16="http://schemas.microsoft.com/office/drawing/2014/main" id="{891D25E0-14DA-4655-AF77-9566B81FE1FC}"/>
                  </a:ext>
                </a:extLst>
              </p:cNvPr>
              <p:cNvSpPr>
                <a:spLocks noChangeArrowheads="1"/>
              </p:cNvSpPr>
              <p:nvPr/>
            </p:nvSpPr>
            <p:spPr bwMode="auto">
              <a:xfrm>
                <a:off x="1500" y="1661"/>
                <a:ext cx="96" cy="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42" name="Rectangle 284">
                <a:extLst>
                  <a:ext uri="{FF2B5EF4-FFF2-40B4-BE49-F238E27FC236}">
                    <a16:creationId xmlns:a16="http://schemas.microsoft.com/office/drawing/2014/main" id="{CF86E4B5-A8CE-4532-B99B-3398EC3578C9}"/>
                  </a:ext>
                </a:extLst>
              </p:cNvPr>
              <p:cNvSpPr>
                <a:spLocks noChangeArrowheads="1"/>
              </p:cNvSpPr>
              <p:nvPr/>
            </p:nvSpPr>
            <p:spPr bwMode="auto">
              <a:xfrm>
                <a:off x="1500" y="1667"/>
                <a:ext cx="96" cy="5"/>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43" name="Rectangle 285">
                <a:extLst>
                  <a:ext uri="{FF2B5EF4-FFF2-40B4-BE49-F238E27FC236}">
                    <a16:creationId xmlns:a16="http://schemas.microsoft.com/office/drawing/2014/main" id="{81BA38E9-3B02-4CC3-9979-DD8F9E6C097B}"/>
                  </a:ext>
                </a:extLst>
              </p:cNvPr>
              <p:cNvSpPr>
                <a:spLocks noChangeArrowheads="1"/>
              </p:cNvSpPr>
              <p:nvPr/>
            </p:nvSpPr>
            <p:spPr bwMode="auto">
              <a:xfrm>
                <a:off x="1500" y="1672"/>
                <a:ext cx="96" cy="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44" name="Rectangle 286">
                <a:extLst>
                  <a:ext uri="{FF2B5EF4-FFF2-40B4-BE49-F238E27FC236}">
                    <a16:creationId xmlns:a16="http://schemas.microsoft.com/office/drawing/2014/main" id="{11634474-3BB9-4F5F-80B6-7030BD3F6FC3}"/>
                  </a:ext>
                </a:extLst>
              </p:cNvPr>
              <p:cNvSpPr>
                <a:spLocks noChangeArrowheads="1"/>
              </p:cNvSpPr>
              <p:nvPr/>
            </p:nvSpPr>
            <p:spPr bwMode="auto">
              <a:xfrm>
                <a:off x="1500" y="1678"/>
                <a:ext cx="96" cy="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45" name="Rectangle 287">
                <a:extLst>
                  <a:ext uri="{FF2B5EF4-FFF2-40B4-BE49-F238E27FC236}">
                    <a16:creationId xmlns:a16="http://schemas.microsoft.com/office/drawing/2014/main" id="{A8051A7D-C789-4647-ABD1-9F831F0C2D50}"/>
                  </a:ext>
                </a:extLst>
              </p:cNvPr>
              <p:cNvSpPr>
                <a:spLocks noChangeArrowheads="1"/>
              </p:cNvSpPr>
              <p:nvPr/>
            </p:nvSpPr>
            <p:spPr bwMode="auto">
              <a:xfrm>
                <a:off x="1500" y="1684"/>
                <a:ext cx="96" cy="5"/>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46" name="Rectangle 288">
                <a:extLst>
                  <a:ext uri="{FF2B5EF4-FFF2-40B4-BE49-F238E27FC236}">
                    <a16:creationId xmlns:a16="http://schemas.microsoft.com/office/drawing/2014/main" id="{42684A43-2516-43BE-9C31-661CA69B1856}"/>
                  </a:ext>
                </a:extLst>
              </p:cNvPr>
              <p:cNvSpPr>
                <a:spLocks noChangeArrowheads="1"/>
              </p:cNvSpPr>
              <p:nvPr/>
            </p:nvSpPr>
            <p:spPr bwMode="auto">
              <a:xfrm>
                <a:off x="1500" y="1689"/>
                <a:ext cx="96" cy="6"/>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47" name="Freeform 289">
                <a:extLst>
                  <a:ext uri="{FF2B5EF4-FFF2-40B4-BE49-F238E27FC236}">
                    <a16:creationId xmlns:a16="http://schemas.microsoft.com/office/drawing/2014/main" id="{EB708B08-36C2-4913-B653-C1D8224F8F75}"/>
                  </a:ext>
                </a:extLst>
              </p:cNvPr>
              <p:cNvSpPr>
                <a:spLocks/>
              </p:cNvSpPr>
              <p:nvPr/>
            </p:nvSpPr>
            <p:spPr bwMode="auto">
              <a:xfrm>
                <a:off x="1508" y="1604"/>
                <a:ext cx="80" cy="80"/>
              </a:xfrm>
              <a:custGeom>
                <a:avLst/>
                <a:gdLst>
                  <a:gd name="T0" fmla="*/ 0 w 80"/>
                  <a:gd name="T1" fmla="*/ 40 h 80"/>
                  <a:gd name="T2" fmla="*/ 40 w 80"/>
                  <a:gd name="T3" fmla="*/ 0 h 80"/>
                  <a:gd name="T4" fmla="*/ 80 w 80"/>
                  <a:gd name="T5" fmla="*/ 40 h 80"/>
                  <a:gd name="T6" fmla="*/ 80 w 80"/>
                  <a:gd name="T7" fmla="*/ 40 h 80"/>
                  <a:gd name="T8" fmla="*/ 40 w 80"/>
                  <a:gd name="T9" fmla="*/ 80 h 80"/>
                  <a:gd name="T10" fmla="*/ 0 w 80"/>
                  <a:gd name="T11" fmla="*/ 40 h 80"/>
                  <a:gd name="T12" fmla="*/ 0 60000 65536"/>
                  <a:gd name="T13" fmla="*/ 0 60000 65536"/>
                  <a:gd name="T14" fmla="*/ 0 60000 65536"/>
                  <a:gd name="T15" fmla="*/ 0 60000 65536"/>
                  <a:gd name="T16" fmla="*/ 0 60000 65536"/>
                  <a:gd name="T17" fmla="*/ 0 60000 65536"/>
                  <a:gd name="T18" fmla="*/ 0 w 80"/>
                  <a:gd name="T19" fmla="*/ 0 h 80"/>
                  <a:gd name="T20" fmla="*/ 80 w 80"/>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80" h="80">
                    <a:moveTo>
                      <a:pt x="0" y="40"/>
                    </a:moveTo>
                    <a:cubicBezTo>
                      <a:pt x="0" y="18"/>
                      <a:pt x="18" y="0"/>
                      <a:pt x="40" y="0"/>
                    </a:cubicBezTo>
                    <a:cubicBezTo>
                      <a:pt x="62" y="0"/>
                      <a:pt x="80" y="18"/>
                      <a:pt x="80" y="40"/>
                    </a:cubicBezTo>
                    <a:cubicBezTo>
                      <a:pt x="80" y="40"/>
                      <a:pt x="80" y="40"/>
                      <a:pt x="80" y="40"/>
                    </a:cubicBezTo>
                    <a:cubicBezTo>
                      <a:pt x="80" y="63"/>
                      <a:pt x="62" y="80"/>
                      <a:pt x="40" y="80"/>
                    </a:cubicBezTo>
                    <a:cubicBezTo>
                      <a:pt x="18" y="80"/>
                      <a:pt x="0" y="63"/>
                      <a:pt x="0" y="40"/>
                    </a:cubicBezTo>
                  </a:path>
                </a:pathLst>
              </a:custGeom>
              <a:noFill/>
              <a:ln w="2" cap="rnd">
                <a:solidFill>
                  <a:srgbClr val="40404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148" name="Rectangle 290">
                <a:extLst>
                  <a:ext uri="{FF2B5EF4-FFF2-40B4-BE49-F238E27FC236}">
                    <a16:creationId xmlns:a16="http://schemas.microsoft.com/office/drawing/2014/main" id="{CE050F4E-1BB7-43D3-BC04-A315AD2C1A94}"/>
                  </a:ext>
                </a:extLst>
              </p:cNvPr>
              <p:cNvSpPr>
                <a:spLocks noChangeArrowheads="1"/>
              </p:cNvSpPr>
              <p:nvPr/>
            </p:nvSpPr>
            <p:spPr bwMode="auto">
              <a:xfrm>
                <a:off x="1590" y="1746"/>
                <a:ext cx="97" cy="6"/>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49" name="Rectangle 291">
                <a:extLst>
                  <a:ext uri="{FF2B5EF4-FFF2-40B4-BE49-F238E27FC236}">
                    <a16:creationId xmlns:a16="http://schemas.microsoft.com/office/drawing/2014/main" id="{81923364-BE28-4DE4-AC54-A8A8041280D7}"/>
                  </a:ext>
                </a:extLst>
              </p:cNvPr>
              <p:cNvSpPr>
                <a:spLocks noChangeArrowheads="1"/>
              </p:cNvSpPr>
              <p:nvPr/>
            </p:nvSpPr>
            <p:spPr bwMode="auto">
              <a:xfrm>
                <a:off x="1590" y="1752"/>
                <a:ext cx="97" cy="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50" name="Rectangle 292">
                <a:extLst>
                  <a:ext uri="{FF2B5EF4-FFF2-40B4-BE49-F238E27FC236}">
                    <a16:creationId xmlns:a16="http://schemas.microsoft.com/office/drawing/2014/main" id="{F6CB255E-3EE8-499D-AC77-938C42DE4200}"/>
                  </a:ext>
                </a:extLst>
              </p:cNvPr>
              <p:cNvSpPr>
                <a:spLocks noChangeArrowheads="1"/>
              </p:cNvSpPr>
              <p:nvPr/>
            </p:nvSpPr>
            <p:spPr bwMode="auto">
              <a:xfrm>
                <a:off x="1590" y="1757"/>
                <a:ext cx="97" cy="6"/>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51" name="Rectangle 293">
                <a:extLst>
                  <a:ext uri="{FF2B5EF4-FFF2-40B4-BE49-F238E27FC236}">
                    <a16:creationId xmlns:a16="http://schemas.microsoft.com/office/drawing/2014/main" id="{7333809D-A440-4400-895E-E4542866AA5C}"/>
                  </a:ext>
                </a:extLst>
              </p:cNvPr>
              <p:cNvSpPr>
                <a:spLocks noChangeArrowheads="1"/>
              </p:cNvSpPr>
              <p:nvPr/>
            </p:nvSpPr>
            <p:spPr bwMode="auto">
              <a:xfrm>
                <a:off x="1590" y="1763"/>
                <a:ext cx="97" cy="6"/>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52" name="Rectangle 294">
                <a:extLst>
                  <a:ext uri="{FF2B5EF4-FFF2-40B4-BE49-F238E27FC236}">
                    <a16:creationId xmlns:a16="http://schemas.microsoft.com/office/drawing/2014/main" id="{8C20AB43-4D19-40BB-8211-180576AEB4CE}"/>
                  </a:ext>
                </a:extLst>
              </p:cNvPr>
              <p:cNvSpPr>
                <a:spLocks noChangeArrowheads="1"/>
              </p:cNvSpPr>
              <p:nvPr/>
            </p:nvSpPr>
            <p:spPr bwMode="auto">
              <a:xfrm>
                <a:off x="1590" y="1769"/>
                <a:ext cx="97" cy="5"/>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53" name="Rectangle 295">
                <a:extLst>
                  <a:ext uri="{FF2B5EF4-FFF2-40B4-BE49-F238E27FC236}">
                    <a16:creationId xmlns:a16="http://schemas.microsoft.com/office/drawing/2014/main" id="{89812192-43D7-4F97-AE59-5EA0BF9A1272}"/>
                  </a:ext>
                </a:extLst>
              </p:cNvPr>
              <p:cNvSpPr>
                <a:spLocks noChangeArrowheads="1"/>
              </p:cNvSpPr>
              <p:nvPr/>
            </p:nvSpPr>
            <p:spPr bwMode="auto">
              <a:xfrm>
                <a:off x="1590" y="1774"/>
                <a:ext cx="97" cy="6"/>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54" name="Rectangle 296">
                <a:extLst>
                  <a:ext uri="{FF2B5EF4-FFF2-40B4-BE49-F238E27FC236}">
                    <a16:creationId xmlns:a16="http://schemas.microsoft.com/office/drawing/2014/main" id="{51847F78-2B07-4E16-B494-0CBF03F05DAD}"/>
                  </a:ext>
                </a:extLst>
              </p:cNvPr>
              <p:cNvSpPr>
                <a:spLocks noChangeArrowheads="1"/>
              </p:cNvSpPr>
              <p:nvPr/>
            </p:nvSpPr>
            <p:spPr bwMode="auto">
              <a:xfrm>
                <a:off x="1590" y="1780"/>
                <a:ext cx="97" cy="6"/>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55" name="Rectangle 297">
                <a:extLst>
                  <a:ext uri="{FF2B5EF4-FFF2-40B4-BE49-F238E27FC236}">
                    <a16:creationId xmlns:a16="http://schemas.microsoft.com/office/drawing/2014/main" id="{CFEDC86E-1EAA-42F0-AE53-5EA70113ADA0}"/>
                  </a:ext>
                </a:extLst>
              </p:cNvPr>
              <p:cNvSpPr>
                <a:spLocks noChangeArrowheads="1"/>
              </p:cNvSpPr>
              <p:nvPr/>
            </p:nvSpPr>
            <p:spPr bwMode="auto">
              <a:xfrm>
                <a:off x="1590" y="1786"/>
                <a:ext cx="97" cy="11"/>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56" name="Rectangle 298">
                <a:extLst>
                  <a:ext uri="{FF2B5EF4-FFF2-40B4-BE49-F238E27FC236}">
                    <a16:creationId xmlns:a16="http://schemas.microsoft.com/office/drawing/2014/main" id="{BEA4F889-5AB6-443E-A387-D0D7542D8269}"/>
                  </a:ext>
                </a:extLst>
              </p:cNvPr>
              <p:cNvSpPr>
                <a:spLocks noChangeArrowheads="1"/>
              </p:cNvSpPr>
              <p:nvPr/>
            </p:nvSpPr>
            <p:spPr bwMode="auto">
              <a:xfrm>
                <a:off x="1590" y="1797"/>
                <a:ext cx="97" cy="11"/>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57" name="Rectangle 299">
                <a:extLst>
                  <a:ext uri="{FF2B5EF4-FFF2-40B4-BE49-F238E27FC236}">
                    <a16:creationId xmlns:a16="http://schemas.microsoft.com/office/drawing/2014/main" id="{C2537F80-8601-4D90-9807-7B4F494C713D}"/>
                  </a:ext>
                </a:extLst>
              </p:cNvPr>
              <p:cNvSpPr>
                <a:spLocks noChangeArrowheads="1"/>
              </p:cNvSpPr>
              <p:nvPr/>
            </p:nvSpPr>
            <p:spPr bwMode="auto">
              <a:xfrm>
                <a:off x="1590" y="1808"/>
                <a:ext cx="97" cy="6"/>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58" name="Rectangle 300">
                <a:extLst>
                  <a:ext uri="{FF2B5EF4-FFF2-40B4-BE49-F238E27FC236}">
                    <a16:creationId xmlns:a16="http://schemas.microsoft.com/office/drawing/2014/main" id="{CDF4B53D-D093-4CB6-B9A2-5C936C89A4C7}"/>
                  </a:ext>
                </a:extLst>
              </p:cNvPr>
              <p:cNvSpPr>
                <a:spLocks noChangeArrowheads="1"/>
              </p:cNvSpPr>
              <p:nvPr/>
            </p:nvSpPr>
            <p:spPr bwMode="auto">
              <a:xfrm>
                <a:off x="1590" y="1814"/>
                <a:ext cx="97" cy="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59" name="Rectangle 301">
                <a:extLst>
                  <a:ext uri="{FF2B5EF4-FFF2-40B4-BE49-F238E27FC236}">
                    <a16:creationId xmlns:a16="http://schemas.microsoft.com/office/drawing/2014/main" id="{79BB0594-FFBB-415D-B119-2134B4BF73B1}"/>
                  </a:ext>
                </a:extLst>
              </p:cNvPr>
              <p:cNvSpPr>
                <a:spLocks noChangeArrowheads="1"/>
              </p:cNvSpPr>
              <p:nvPr/>
            </p:nvSpPr>
            <p:spPr bwMode="auto">
              <a:xfrm>
                <a:off x="1590" y="1820"/>
                <a:ext cx="97" cy="5"/>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60" name="Rectangle 302">
                <a:extLst>
                  <a:ext uri="{FF2B5EF4-FFF2-40B4-BE49-F238E27FC236}">
                    <a16:creationId xmlns:a16="http://schemas.microsoft.com/office/drawing/2014/main" id="{572B648D-A77C-4F56-B592-BD78427E3CCA}"/>
                  </a:ext>
                </a:extLst>
              </p:cNvPr>
              <p:cNvSpPr>
                <a:spLocks noChangeArrowheads="1"/>
              </p:cNvSpPr>
              <p:nvPr/>
            </p:nvSpPr>
            <p:spPr bwMode="auto">
              <a:xfrm>
                <a:off x="1590" y="1825"/>
                <a:ext cx="97" cy="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61" name="Rectangle 303">
                <a:extLst>
                  <a:ext uri="{FF2B5EF4-FFF2-40B4-BE49-F238E27FC236}">
                    <a16:creationId xmlns:a16="http://schemas.microsoft.com/office/drawing/2014/main" id="{57AD14F9-8B7B-4169-AB9D-CE16C6CB93FB}"/>
                  </a:ext>
                </a:extLst>
              </p:cNvPr>
              <p:cNvSpPr>
                <a:spLocks noChangeArrowheads="1"/>
              </p:cNvSpPr>
              <p:nvPr/>
            </p:nvSpPr>
            <p:spPr bwMode="auto">
              <a:xfrm>
                <a:off x="1590" y="1831"/>
                <a:ext cx="97" cy="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62" name="Rectangle 304">
                <a:extLst>
                  <a:ext uri="{FF2B5EF4-FFF2-40B4-BE49-F238E27FC236}">
                    <a16:creationId xmlns:a16="http://schemas.microsoft.com/office/drawing/2014/main" id="{E1E8C00A-437E-4ACD-81F2-0FC06E5FB07F}"/>
                  </a:ext>
                </a:extLst>
              </p:cNvPr>
              <p:cNvSpPr>
                <a:spLocks noChangeArrowheads="1"/>
              </p:cNvSpPr>
              <p:nvPr/>
            </p:nvSpPr>
            <p:spPr bwMode="auto">
              <a:xfrm>
                <a:off x="1590" y="1837"/>
                <a:ext cx="97" cy="5"/>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63" name="Freeform 305">
                <a:extLst>
                  <a:ext uri="{FF2B5EF4-FFF2-40B4-BE49-F238E27FC236}">
                    <a16:creationId xmlns:a16="http://schemas.microsoft.com/office/drawing/2014/main" id="{39B2345C-4F55-45DB-B7B7-4772772827EB}"/>
                  </a:ext>
                </a:extLst>
              </p:cNvPr>
              <p:cNvSpPr>
                <a:spLocks/>
              </p:cNvSpPr>
              <p:nvPr/>
            </p:nvSpPr>
            <p:spPr bwMode="auto">
              <a:xfrm>
                <a:off x="1598" y="1754"/>
                <a:ext cx="80" cy="80"/>
              </a:xfrm>
              <a:custGeom>
                <a:avLst/>
                <a:gdLst>
                  <a:gd name="T0" fmla="*/ 0 w 80"/>
                  <a:gd name="T1" fmla="*/ 40 h 80"/>
                  <a:gd name="T2" fmla="*/ 40 w 80"/>
                  <a:gd name="T3" fmla="*/ 0 h 80"/>
                  <a:gd name="T4" fmla="*/ 80 w 80"/>
                  <a:gd name="T5" fmla="*/ 40 h 80"/>
                  <a:gd name="T6" fmla="*/ 80 w 80"/>
                  <a:gd name="T7" fmla="*/ 40 h 80"/>
                  <a:gd name="T8" fmla="*/ 40 w 80"/>
                  <a:gd name="T9" fmla="*/ 80 h 80"/>
                  <a:gd name="T10" fmla="*/ 0 w 80"/>
                  <a:gd name="T11" fmla="*/ 40 h 80"/>
                  <a:gd name="T12" fmla="*/ 0 60000 65536"/>
                  <a:gd name="T13" fmla="*/ 0 60000 65536"/>
                  <a:gd name="T14" fmla="*/ 0 60000 65536"/>
                  <a:gd name="T15" fmla="*/ 0 60000 65536"/>
                  <a:gd name="T16" fmla="*/ 0 60000 65536"/>
                  <a:gd name="T17" fmla="*/ 0 60000 65536"/>
                  <a:gd name="T18" fmla="*/ 0 w 80"/>
                  <a:gd name="T19" fmla="*/ 0 h 80"/>
                  <a:gd name="T20" fmla="*/ 80 w 80"/>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80" h="80">
                    <a:moveTo>
                      <a:pt x="0" y="40"/>
                    </a:moveTo>
                    <a:cubicBezTo>
                      <a:pt x="0" y="18"/>
                      <a:pt x="18" y="0"/>
                      <a:pt x="40" y="0"/>
                    </a:cubicBezTo>
                    <a:cubicBezTo>
                      <a:pt x="62" y="0"/>
                      <a:pt x="80" y="18"/>
                      <a:pt x="80" y="40"/>
                    </a:cubicBezTo>
                    <a:cubicBezTo>
                      <a:pt x="80" y="40"/>
                      <a:pt x="80" y="40"/>
                      <a:pt x="80" y="40"/>
                    </a:cubicBezTo>
                    <a:cubicBezTo>
                      <a:pt x="80" y="62"/>
                      <a:pt x="62" y="80"/>
                      <a:pt x="40" y="80"/>
                    </a:cubicBezTo>
                    <a:cubicBezTo>
                      <a:pt x="18" y="80"/>
                      <a:pt x="0" y="62"/>
                      <a:pt x="0" y="40"/>
                    </a:cubicBezTo>
                  </a:path>
                </a:pathLst>
              </a:custGeom>
              <a:noFill/>
              <a:ln w="2" cap="rnd">
                <a:solidFill>
                  <a:srgbClr val="40404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164" name="Rectangle 306">
                <a:extLst>
                  <a:ext uri="{FF2B5EF4-FFF2-40B4-BE49-F238E27FC236}">
                    <a16:creationId xmlns:a16="http://schemas.microsoft.com/office/drawing/2014/main" id="{DAA5F747-B6F6-4129-91B1-B3D17DB8422D}"/>
                  </a:ext>
                </a:extLst>
              </p:cNvPr>
              <p:cNvSpPr>
                <a:spLocks noChangeArrowheads="1"/>
              </p:cNvSpPr>
              <p:nvPr/>
            </p:nvSpPr>
            <p:spPr bwMode="auto">
              <a:xfrm>
                <a:off x="583" y="2176"/>
                <a:ext cx="96" cy="6"/>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65" name="Rectangle 307">
                <a:extLst>
                  <a:ext uri="{FF2B5EF4-FFF2-40B4-BE49-F238E27FC236}">
                    <a16:creationId xmlns:a16="http://schemas.microsoft.com/office/drawing/2014/main" id="{2D9DB5FC-7406-4A6B-8E0D-6E66E5241162}"/>
                  </a:ext>
                </a:extLst>
              </p:cNvPr>
              <p:cNvSpPr>
                <a:spLocks noChangeArrowheads="1"/>
              </p:cNvSpPr>
              <p:nvPr/>
            </p:nvSpPr>
            <p:spPr bwMode="auto">
              <a:xfrm>
                <a:off x="583" y="2182"/>
                <a:ext cx="96" cy="6"/>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66" name="Rectangle 308">
                <a:extLst>
                  <a:ext uri="{FF2B5EF4-FFF2-40B4-BE49-F238E27FC236}">
                    <a16:creationId xmlns:a16="http://schemas.microsoft.com/office/drawing/2014/main" id="{21394905-1E0A-4F4B-8A03-073FE0B95434}"/>
                  </a:ext>
                </a:extLst>
              </p:cNvPr>
              <p:cNvSpPr>
                <a:spLocks noChangeArrowheads="1"/>
              </p:cNvSpPr>
              <p:nvPr/>
            </p:nvSpPr>
            <p:spPr bwMode="auto">
              <a:xfrm>
                <a:off x="583" y="2188"/>
                <a:ext cx="96" cy="5"/>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67" name="Rectangle 309">
                <a:extLst>
                  <a:ext uri="{FF2B5EF4-FFF2-40B4-BE49-F238E27FC236}">
                    <a16:creationId xmlns:a16="http://schemas.microsoft.com/office/drawing/2014/main" id="{FDC3C956-1B07-4156-BD72-81AB5C7516AC}"/>
                  </a:ext>
                </a:extLst>
              </p:cNvPr>
              <p:cNvSpPr>
                <a:spLocks noChangeArrowheads="1"/>
              </p:cNvSpPr>
              <p:nvPr/>
            </p:nvSpPr>
            <p:spPr bwMode="auto">
              <a:xfrm>
                <a:off x="583" y="2193"/>
                <a:ext cx="96" cy="12"/>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68" name="Rectangle 310">
                <a:extLst>
                  <a:ext uri="{FF2B5EF4-FFF2-40B4-BE49-F238E27FC236}">
                    <a16:creationId xmlns:a16="http://schemas.microsoft.com/office/drawing/2014/main" id="{F894DFFC-D073-4368-9C96-D207784A6816}"/>
                  </a:ext>
                </a:extLst>
              </p:cNvPr>
              <p:cNvSpPr>
                <a:spLocks noChangeArrowheads="1"/>
              </p:cNvSpPr>
              <p:nvPr/>
            </p:nvSpPr>
            <p:spPr bwMode="auto">
              <a:xfrm>
                <a:off x="583" y="2205"/>
                <a:ext cx="96" cy="5"/>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69" name="Rectangle 311">
                <a:extLst>
                  <a:ext uri="{FF2B5EF4-FFF2-40B4-BE49-F238E27FC236}">
                    <a16:creationId xmlns:a16="http://schemas.microsoft.com/office/drawing/2014/main" id="{C0DE0DA9-FAF9-449A-943D-3A3AD73C59D8}"/>
                  </a:ext>
                </a:extLst>
              </p:cNvPr>
              <p:cNvSpPr>
                <a:spLocks noChangeArrowheads="1"/>
              </p:cNvSpPr>
              <p:nvPr/>
            </p:nvSpPr>
            <p:spPr bwMode="auto">
              <a:xfrm>
                <a:off x="583" y="2210"/>
                <a:ext cx="96" cy="6"/>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70" name="Rectangle 312">
                <a:extLst>
                  <a:ext uri="{FF2B5EF4-FFF2-40B4-BE49-F238E27FC236}">
                    <a16:creationId xmlns:a16="http://schemas.microsoft.com/office/drawing/2014/main" id="{93AD2C88-BD72-45AB-99C9-6467DF058809}"/>
                  </a:ext>
                </a:extLst>
              </p:cNvPr>
              <p:cNvSpPr>
                <a:spLocks noChangeArrowheads="1"/>
              </p:cNvSpPr>
              <p:nvPr/>
            </p:nvSpPr>
            <p:spPr bwMode="auto">
              <a:xfrm>
                <a:off x="583" y="2216"/>
                <a:ext cx="96" cy="6"/>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71" name="Rectangle 313">
                <a:extLst>
                  <a:ext uri="{FF2B5EF4-FFF2-40B4-BE49-F238E27FC236}">
                    <a16:creationId xmlns:a16="http://schemas.microsoft.com/office/drawing/2014/main" id="{E286C445-C067-4F96-B1C2-C72869201E0C}"/>
                  </a:ext>
                </a:extLst>
              </p:cNvPr>
              <p:cNvSpPr>
                <a:spLocks noChangeArrowheads="1"/>
              </p:cNvSpPr>
              <p:nvPr/>
            </p:nvSpPr>
            <p:spPr bwMode="auto">
              <a:xfrm>
                <a:off x="583" y="2222"/>
                <a:ext cx="96" cy="11"/>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72" name="Rectangle 314">
                <a:extLst>
                  <a:ext uri="{FF2B5EF4-FFF2-40B4-BE49-F238E27FC236}">
                    <a16:creationId xmlns:a16="http://schemas.microsoft.com/office/drawing/2014/main" id="{E45F0003-A1AF-4275-9B7E-7F7BE33C51FD}"/>
                  </a:ext>
                </a:extLst>
              </p:cNvPr>
              <p:cNvSpPr>
                <a:spLocks noChangeArrowheads="1"/>
              </p:cNvSpPr>
              <p:nvPr/>
            </p:nvSpPr>
            <p:spPr bwMode="auto">
              <a:xfrm>
                <a:off x="583" y="2233"/>
                <a:ext cx="96" cy="6"/>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73" name="Rectangle 315">
                <a:extLst>
                  <a:ext uri="{FF2B5EF4-FFF2-40B4-BE49-F238E27FC236}">
                    <a16:creationId xmlns:a16="http://schemas.microsoft.com/office/drawing/2014/main" id="{12977F2E-573D-496C-A77F-A697EEFF5A02}"/>
                  </a:ext>
                </a:extLst>
              </p:cNvPr>
              <p:cNvSpPr>
                <a:spLocks noChangeArrowheads="1"/>
              </p:cNvSpPr>
              <p:nvPr/>
            </p:nvSpPr>
            <p:spPr bwMode="auto">
              <a:xfrm>
                <a:off x="583" y="2239"/>
                <a:ext cx="96" cy="5"/>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74" name="Rectangle 316">
                <a:extLst>
                  <a:ext uri="{FF2B5EF4-FFF2-40B4-BE49-F238E27FC236}">
                    <a16:creationId xmlns:a16="http://schemas.microsoft.com/office/drawing/2014/main" id="{C0E9013B-EE05-4A3C-B673-D642CE7C727A}"/>
                  </a:ext>
                </a:extLst>
              </p:cNvPr>
              <p:cNvSpPr>
                <a:spLocks noChangeArrowheads="1"/>
              </p:cNvSpPr>
              <p:nvPr/>
            </p:nvSpPr>
            <p:spPr bwMode="auto">
              <a:xfrm>
                <a:off x="583" y="2244"/>
                <a:ext cx="96" cy="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75" name="Rectangle 317">
                <a:extLst>
                  <a:ext uri="{FF2B5EF4-FFF2-40B4-BE49-F238E27FC236}">
                    <a16:creationId xmlns:a16="http://schemas.microsoft.com/office/drawing/2014/main" id="{5AECC904-DC6E-4985-9ADB-1E56A17C496E}"/>
                  </a:ext>
                </a:extLst>
              </p:cNvPr>
              <p:cNvSpPr>
                <a:spLocks noChangeArrowheads="1"/>
              </p:cNvSpPr>
              <p:nvPr/>
            </p:nvSpPr>
            <p:spPr bwMode="auto">
              <a:xfrm>
                <a:off x="583" y="2250"/>
                <a:ext cx="96" cy="6"/>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76" name="Rectangle 318">
                <a:extLst>
                  <a:ext uri="{FF2B5EF4-FFF2-40B4-BE49-F238E27FC236}">
                    <a16:creationId xmlns:a16="http://schemas.microsoft.com/office/drawing/2014/main" id="{AAADC59D-7828-46C6-A963-E46CF0612C3C}"/>
                  </a:ext>
                </a:extLst>
              </p:cNvPr>
              <p:cNvSpPr>
                <a:spLocks noChangeArrowheads="1"/>
              </p:cNvSpPr>
              <p:nvPr/>
            </p:nvSpPr>
            <p:spPr bwMode="auto">
              <a:xfrm>
                <a:off x="583" y="2256"/>
                <a:ext cx="96" cy="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77" name="Rectangle 319">
                <a:extLst>
                  <a:ext uri="{FF2B5EF4-FFF2-40B4-BE49-F238E27FC236}">
                    <a16:creationId xmlns:a16="http://schemas.microsoft.com/office/drawing/2014/main" id="{F1E4F113-F0FC-44BD-8DB4-A52FFE2DAE1D}"/>
                  </a:ext>
                </a:extLst>
              </p:cNvPr>
              <p:cNvSpPr>
                <a:spLocks noChangeArrowheads="1"/>
              </p:cNvSpPr>
              <p:nvPr/>
            </p:nvSpPr>
            <p:spPr bwMode="auto">
              <a:xfrm>
                <a:off x="583" y="2261"/>
                <a:ext cx="96" cy="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78" name="Rectangle 320">
                <a:extLst>
                  <a:ext uri="{FF2B5EF4-FFF2-40B4-BE49-F238E27FC236}">
                    <a16:creationId xmlns:a16="http://schemas.microsoft.com/office/drawing/2014/main" id="{A53CFED9-5F67-4BA0-A9D6-7D934AF704A8}"/>
                  </a:ext>
                </a:extLst>
              </p:cNvPr>
              <p:cNvSpPr>
                <a:spLocks noChangeArrowheads="1"/>
              </p:cNvSpPr>
              <p:nvPr/>
            </p:nvSpPr>
            <p:spPr bwMode="auto">
              <a:xfrm>
                <a:off x="583" y="2267"/>
                <a:ext cx="96" cy="6"/>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79" name="Freeform 321">
                <a:extLst>
                  <a:ext uri="{FF2B5EF4-FFF2-40B4-BE49-F238E27FC236}">
                    <a16:creationId xmlns:a16="http://schemas.microsoft.com/office/drawing/2014/main" id="{14F9F7FB-210A-494E-A030-ABC76A43A993}"/>
                  </a:ext>
                </a:extLst>
              </p:cNvPr>
              <p:cNvSpPr>
                <a:spLocks/>
              </p:cNvSpPr>
              <p:nvPr/>
            </p:nvSpPr>
            <p:spPr bwMode="auto">
              <a:xfrm>
                <a:off x="590" y="2185"/>
                <a:ext cx="80" cy="80"/>
              </a:xfrm>
              <a:custGeom>
                <a:avLst/>
                <a:gdLst>
                  <a:gd name="T0" fmla="*/ 0 w 80"/>
                  <a:gd name="T1" fmla="*/ 40 h 80"/>
                  <a:gd name="T2" fmla="*/ 40 w 80"/>
                  <a:gd name="T3" fmla="*/ 0 h 80"/>
                  <a:gd name="T4" fmla="*/ 80 w 80"/>
                  <a:gd name="T5" fmla="*/ 40 h 80"/>
                  <a:gd name="T6" fmla="*/ 80 w 80"/>
                  <a:gd name="T7" fmla="*/ 40 h 80"/>
                  <a:gd name="T8" fmla="*/ 40 w 80"/>
                  <a:gd name="T9" fmla="*/ 80 h 80"/>
                  <a:gd name="T10" fmla="*/ 0 w 80"/>
                  <a:gd name="T11" fmla="*/ 40 h 80"/>
                  <a:gd name="T12" fmla="*/ 0 60000 65536"/>
                  <a:gd name="T13" fmla="*/ 0 60000 65536"/>
                  <a:gd name="T14" fmla="*/ 0 60000 65536"/>
                  <a:gd name="T15" fmla="*/ 0 60000 65536"/>
                  <a:gd name="T16" fmla="*/ 0 60000 65536"/>
                  <a:gd name="T17" fmla="*/ 0 60000 65536"/>
                  <a:gd name="T18" fmla="*/ 0 w 80"/>
                  <a:gd name="T19" fmla="*/ 0 h 80"/>
                  <a:gd name="T20" fmla="*/ 80 w 80"/>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80" h="80">
                    <a:moveTo>
                      <a:pt x="0" y="40"/>
                    </a:moveTo>
                    <a:cubicBezTo>
                      <a:pt x="0" y="18"/>
                      <a:pt x="18" y="0"/>
                      <a:pt x="40" y="0"/>
                    </a:cubicBezTo>
                    <a:cubicBezTo>
                      <a:pt x="62" y="0"/>
                      <a:pt x="80" y="18"/>
                      <a:pt x="80" y="40"/>
                    </a:cubicBezTo>
                    <a:cubicBezTo>
                      <a:pt x="80" y="40"/>
                      <a:pt x="80" y="40"/>
                      <a:pt x="80" y="40"/>
                    </a:cubicBezTo>
                    <a:cubicBezTo>
                      <a:pt x="80" y="62"/>
                      <a:pt x="62" y="80"/>
                      <a:pt x="40" y="80"/>
                    </a:cubicBezTo>
                    <a:cubicBezTo>
                      <a:pt x="18" y="80"/>
                      <a:pt x="0" y="62"/>
                      <a:pt x="0" y="40"/>
                    </a:cubicBezTo>
                  </a:path>
                </a:pathLst>
              </a:custGeom>
              <a:noFill/>
              <a:ln w="2" cap="rnd">
                <a:solidFill>
                  <a:srgbClr val="40404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180" name="Rectangle 322">
                <a:extLst>
                  <a:ext uri="{FF2B5EF4-FFF2-40B4-BE49-F238E27FC236}">
                    <a16:creationId xmlns:a16="http://schemas.microsoft.com/office/drawing/2014/main" id="{8FD43CB1-C018-43E4-876D-07C3FE60C354}"/>
                  </a:ext>
                </a:extLst>
              </p:cNvPr>
              <p:cNvSpPr>
                <a:spLocks noChangeArrowheads="1"/>
              </p:cNvSpPr>
              <p:nvPr/>
            </p:nvSpPr>
            <p:spPr bwMode="auto">
              <a:xfrm>
                <a:off x="753" y="2352"/>
                <a:ext cx="96" cy="6"/>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81" name="Rectangle 323">
                <a:extLst>
                  <a:ext uri="{FF2B5EF4-FFF2-40B4-BE49-F238E27FC236}">
                    <a16:creationId xmlns:a16="http://schemas.microsoft.com/office/drawing/2014/main" id="{443880D1-EC93-47EA-98A2-C498BC2BD6C7}"/>
                  </a:ext>
                </a:extLst>
              </p:cNvPr>
              <p:cNvSpPr>
                <a:spLocks noChangeArrowheads="1"/>
              </p:cNvSpPr>
              <p:nvPr/>
            </p:nvSpPr>
            <p:spPr bwMode="auto">
              <a:xfrm>
                <a:off x="753" y="2358"/>
                <a:ext cx="96" cy="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82" name="Rectangle 324">
                <a:extLst>
                  <a:ext uri="{FF2B5EF4-FFF2-40B4-BE49-F238E27FC236}">
                    <a16:creationId xmlns:a16="http://schemas.microsoft.com/office/drawing/2014/main" id="{880F5A20-BC27-4EA4-90D1-711C794135F7}"/>
                  </a:ext>
                </a:extLst>
              </p:cNvPr>
              <p:cNvSpPr>
                <a:spLocks noChangeArrowheads="1"/>
              </p:cNvSpPr>
              <p:nvPr/>
            </p:nvSpPr>
            <p:spPr bwMode="auto">
              <a:xfrm>
                <a:off x="753" y="2363"/>
                <a:ext cx="96" cy="6"/>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83" name="Rectangle 325">
                <a:extLst>
                  <a:ext uri="{FF2B5EF4-FFF2-40B4-BE49-F238E27FC236}">
                    <a16:creationId xmlns:a16="http://schemas.microsoft.com/office/drawing/2014/main" id="{A9B9B307-F528-4BFD-AD6B-299AC1D11EDD}"/>
                  </a:ext>
                </a:extLst>
              </p:cNvPr>
              <p:cNvSpPr>
                <a:spLocks noChangeArrowheads="1"/>
              </p:cNvSpPr>
              <p:nvPr/>
            </p:nvSpPr>
            <p:spPr bwMode="auto">
              <a:xfrm>
                <a:off x="753" y="2369"/>
                <a:ext cx="96" cy="6"/>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84" name="Rectangle 326">
                <a:extLst>
                  <a:ext uri="{FF2B5EF4-FFF2-40B4-BE49-F238E27FC236}">
                    <a16:creationId xmlns:a16="http://schemas.microsoft.com/office/drawing/2014/main" id="{07D6FD82-7979-4698-A515-05B1CBB88277}"/>
                  </a:ext>
                </a:extLst>
              </p:cNvPr>
              <p:cNvSpPr>
                <a:spLocks noChangeArrowheads="1"/>
              </p:cNvSpPr>
              <p:nvPr/>
            </p:nvSpPr>
            <p:spPr bwMode="auto">
              <a:xfrm>
                <a:off x="753" y="2375"/>
                <a:ext cx="96" cy="5"/>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85" name="Rectangle 327">
                <a:extLst>
                  <a:ext uri="{FF2B5EF4-FFF2-40B4-BE49-F238E27FC236}">
                    <a16:creationId xmlns:a16="http://schemas.microsoft.com/office/drawing/2014/main" id="{D262765F-ADED-412E-824E-75B010C17CD8}"/>
                  </a:ext>
                </a:extLst>
              </p:cNvPr>
              <p:cNvSpPr>
                <a:spLocks noChangeArrowheads="1"/>
              </p:cNvSpPr>
              <p:nvPr/>
            </p:nvSpPr>
            <p:spPr bwMode="auto">
              <a:xfrm>
                <a:off x="753" y="2380"/>
                <a:ext cx="96" cy="6"/>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86" name="Rectangle 328">
                <a:extLst>
                  <a:ext uri="{FF2B5EF4-FFF2-40B4-BE49-F238E27FC236}">
                    <a16:creationId xmlns:a16="http://schemas.microsoft.com/office/drawing/2014/main" id="{860F7AD3-A115-4F7D-A0A7-F46B917853CA}"/>
                  </a:ext>
                </a:extLst>
              </p:cNvPr>
              <p:cNvSpPr>
                <a:spLocks noChangeArrowheads="1"/>
              </p:cNvSpPr>
              <p:nvPr/>
            </p:nvSpPr>
            <p:spPr bwMode="auto">
              <a:xfrm>
                <a:off x="753" y="2386"/>
                <a:ext cx="96" cy="6"/>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87" name="Rectangle 329">
                <a:extLst>
                  <a:ext uri="{FF2B5EF4-FFF2-40B4-BE49-F238E27FC236}">
                    <a16:creationId xmlns:a16="http://schemas.microsoft.com/office/drawing/2014/main" id="{37197CD9-6ACC-48C1-8B35-06DE24A343A3}"/>
                  </a:ext>
                </a:extLst>
              </p:cNvPr>
              <p:cNvSpPr>
                <a:spLocks noChangeArrowheads="1"/>
              </p:cNvSpPr>
              <p:nvPr/>
            </p:nvSpPr>
            <p:spPr bwMode="auto">
              <a:xfrm>
                <a:off x="753" y="2392"/>
                <a:ext cx="96" cy="11"/>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88" name="Rectangle 330">
                <a:extLst>
                  <a:ext uri="{FF2B5EF4-FFF2-40B4-BE49-F238E27FC236}">
                    <a16:creationId xmlns:a16="http://schemas.microsoft.com/office/drawing/2014/main" id="{97288071-2A81-4FD0-94A9-5B3DC416E9D0}"/>
                  </a:ext>
                </a:extLst>
              </p:cNvPr>
              <p:cNvSpPr>
                <a:spLocks noChangeArrowheads="1"/>
              </p:cNvSpPr>
              <p:nvPr/>
            </p:nvSpPr>
            <p:spPr bwMode="auto">
              <a:xfrm>
                <a:off x="753" y="2403"/>
                <a:ext cx="96" cy="6"/>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89" name="Rectangle 331">
                <a:extLst>
                  <a:ext uri="{FF2B5EF4-FFF2-40B4-BE49-F238E27FC236}">
                    <a16:creationId xmlns:a16="http://schemas.microsoft.com/office/drawing/2014/main" id="{9617376B-3FA3-4178-A788-EEA6F2218E75}"/>
                  </a:ext>
                </a:extLst>
              </p:cNvPr>
              <p:cNvSpPr>
                <a:spLocks noChangeArrowheads="1"/>
              </p:cNvSpPr>
              <p:nvPr/>
            </p:nvSpPr>
            <p:spPr bwMode="auto">
              <a:xfrm>
                <a:off x="753" y="2409"/>
                <a:ext cx="96" cy="5"/>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90" name="Rectangle 332">
                <a:extLst>
                  <a:ext uri="{FF2B5EF4-FFF2-40B4-BE49-F238E27FC236}">
                    <a16:creationId xmlns:a16="http://schemas.microsoft.com/office/drawing/2014/main" id="{91E7F870-5AB2-4EFF-B9D8-E1FD3F539189}"/>
                  </a:ext>
                </a:extLst>
              </p:cNvPr>
              <p:cNvSpPr>
                <a:spLocks noChangeArrowheads="1"/>
              </p:cNvSpPr>
              <p:nvPr/>
            </p:nvSpPr>
            <p:spPr bwMode="auto">
              <a:xfrm>
                <a:off x="753" y="2414"/>
                <a:ext cx="96" cy="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91" name="Rectangle 333">
                <a:extLst>
                  <a:ext uri="{FF2B5EF4-FFF2-40B4-BE49-F238E27FC236}">
                    <a16:creationId xmlns:a16="http://schemas.microsoft.com/office/drawing/2014/main" id="{525E0FBB-A91D-425C-A29A-D2E409854274}"/>
                  </a:ext>
                </a:extLst>
              </p:cNvPr>
              <p:cNvSpPr>
                <a:spLocks noChangeArrowheads="1"/>
              </p:cNvSpPr>
              <p:nvPr/>
            </p:nvSpPr>
            <p:spPr bwMode="auto">
              <a:xfrm>
                <a:off x="753" y="2420"/>
                <a:ext cx="96" cy="6"/>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92" name="Rectangle 334">
                <a:extLst>
                  <a:ext uri="{FF2B5EF4-FFF2-40B4-BE49-F238E27FC236}">
                    <a16:creationId xmlns:a16="http://schemas.microsoft.com/office/drawing/2014/main" id="{22773FBE-0D4D-4B54-BA9F-16E53534A34A}"/>
                  </a:ext>
                </a:extLst>
              </p:cNvPr>
              <p:cNvSpPr>
                <a:spLocks noChangeArrowheads="1"/>
              </p:cNvSpPr>
              <p:nvPr/>
            </p:nvSpPr>
            <p:spPr bwMode="auto">
              <a:xfrm>
                <a:off x="753" y="2426"/>
                <a:ext cx="96" cy="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93" name="Rectangle 335">
                <a:extLst>
                  <a:ext uri="{FF2B5EF4-FFF2-40B4-BE49-F238E27FC236}">
                    <a16:creationId xmlns:a16="http://schemas.microsoft.com/office/drawing/2014/main" id="{04C26FB6-A294-4DB5-8045-D221E428E52E}"/>
                  </a:ext>
                </a:extLst>
              </p:cNvPr>
              <p:cNvSpPr>
                <a:spLocks noChangeArrowheads="1"/>
              </p:cNvSpPr>
              <p:nvPr/>
            </p:nvSpPr>
            <p:spPr bwMode="auto">
              <a:xfrm>
                <a:off x="753" y="2431"/>
                <a:ext cx="96" cy="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94" name="Rectangle 336">
                <a:extLst>
                  <a:ext uri="{FF2B5EF4-FFF2-40B4-BE49-F238E27FC236}">
                    <a16:creationId xmlns:a16="http://schemas.microsoft.com/office/drawing/2014/main" id="{CF034E6E-CBD1-4745-B509-AF4A8AC3B6BC}"/>
                  </a:ext>
                </a:extLst>
              </p:cNvPr>
              <p:cNvSpPr>
                <a:spLocks noChangeArrowheads="1"/>
              </p:cNvSpPr>
              <p:nvPr/>
            </p:nvSpPr>
            <p:spPr bwMode="auto">
              <a:xfrm>
                <a:off x="753" y="2437"/>
                <a:ext cx="96" cy="6"/>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95" name="Rectangle 337">
                <a:extLst>
                  <a:ext uri="{FF2B5EF4-FFF2-40B4-BE49-F238E27FC236}">
                    <a16:creationId xmlns:a16="http://schemas.microsoft.com/office/drawing/2014/main" id="{71CD419C-77C7-483C-A3B6-D8ECD9001641}"/>
                  </a:ext>
                </a:extLst>
              </p:cNvPr>
              <p:cNvSpPr>
                <a:spLocks noChangeArrowheads="1"/>
              </p:cNvSpPr>
              <p:nvPr/>
            </p:nvSpPr>
            <p:spPr bwMode="auto">
              <a:xfrm>
                <a:off x="753" y="2443"/>
                <a:ext cx="96" cy="5"/>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196" name="Freeform 338">
                <a:extLst>
                  <a:ext uri="{FF2B5EF4-FFF2-40B4-BE49-F238E27FC236}">
                    <a16:creationId xmlns:a16="http://schemas.microsoft.com/office/drawing/2014/main" id="{D7C6B86A-7DEB-4976-93C3-8920B720AD3D}"/>
                  </a:ext>
                </a:extLst>
              </p:cNvPr>
              <p:cNvSpPr>
                <a:spLocks/>
              </p:cNvSpPr>
              <p:nvPr/>
            </p:nvSpPr>
            <p:spPr bwMode="auto">
              <a:xfrm>
                <a:off x="764" y="2359"/>
                <a:ext cx="80" cy="80"/>
              </a:xfrm>
              <a:custGeom>
                <a:avLst/>
                <a:gdLst>
                  <a:gd name="T0" fmla="*/ 0 w 80"/>
                  <a:gd name="T1" fmla="*/ 40 h 80"/>
                  <a:gd name="T2" fmla="*/ 40 w 80"/>
                  <a:gd name="T3" fmla="*/ 0 h 80"/>
                  <a:gd name="T4" fmla="*/ 80 w 80"/>
                  <a:gd name="T5" fmla="*/ 40 h 80"/>
                  <a:gd name="T6" fmla="*/ 80 w 80"/>
                  <a:gd name="T7" fmla="*/ 40 h 80"/>
                  <a:gd name="T8" fmla="*/ 40 w 80"/>
                  <a:gd name="T9" fmla="*/ 80 h 80"/>
                  <a:gd name="T10" fmla="*/ 0 w 80"/>
                  <a:gd name="T11" fmla="*/ 40 h 80"/>
                  <a:gd name="T12" fmla="*/ 0 60000 65536"/>
                  <a:gd name="T13" fmla="*/ 0 60000 65536"/>
                  <a:gd name="T14" fmla="*/ 0 60000 65536"/>
                  <a:gd name="T15" fmla="*/ 0 60000 65536"/>
                  <a:gd name="T16" fmla="*/ 0 60000 65536"/>
                  <a:gd name="T17" fmla="*/ 0 60000 65536"/>
                  <a:gd name="T18" fmla="*/ 0 w 80"/>
                  <a:gd name="T19" fmla="*/ 0 h 80"/>
                  <a:gd name="T20" fmla="*/ 80 w 80"/>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80" h="80">
                    <a:moveTo>
                      <a:pt x="0" y="40"/>
                    </a:moveTo>
                    <a:cubicBezTo>
                      <a:pt x="0" y="18"/>
                      <a:pt x="18" y="0"/>
                      <a:pt x="40" y="0"/>
                    </a:cubicBezTo>
                    <a:cubicBezTo>
                      <a:pt x="62" y="0"/>
                      <a:pt x="80" y="18"/>
                      <a:pt x="80" y="40"/>
                    </a:cubicBezTo>
                    <a:cubicBezTo>
                      <a:pt x="80" y="40"/>
                      <a:pt x="80" y="40"/>
                      <a:pt x="80" y="40"/>
                    </a:cubicBezTo>
                    <a:cubicBezTo>
                      <a:pt x="80" y="62"/>
                      <a:pt x="62" y="80"/>
                      <a:pt x="40" y="80"/>
                    </a:cubicBezTo>
                    <a:cubicBezTo>
                      <a:pt x="18" y="80"/>
                      <a:pt x="0" y="62"/>
                      <a:pt x="0" y="40"/>
                    </a:cubicBezTo>
                  </a:path>
                </a:pathLst>
              </a:custGeom>
              <a:noFill/>
              <a:ln w="2" cap="rnd">
                <a:solidFill>
                  <a:srgbClr val="40404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197" name="Rectangle 339">
                <a:extLst>
                  <a:ext uri="{FF2B5EF4-FFF2-40B4-BE49-F238E27FC236}">
                    <a16:creationId xmlns:a16="http://schemas.microsoft.com/office/drawing/2014/main" id="{5C317581-B3C8-4F52-9A2F-128671D842CB}"/>
                  </a:ext>
                </a:extLst>
              </p:cNvPr>
              <p:cNvSpPr>
                <a:spLocks noChangeArrowheads="1"/>
              </p:cNvSpPr>
              <p:nvPr/>
            </p:nvSpPr>
            <p:spPr bwMode="auto">
              <a:xfrm>
                <a:off x="719" y="2607"/>
                <a:ext cx="340"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CDCDCD"/>
                    </a:solidFill>
                    <a:latin typeface="微软雅黑" panose="020B0503020204020204" pitchFamily="34" charset="-122"/>
                    <a:ea typeface="宋体" panose="02010600030101010101" pitchFamily="2" charset="-122"/>
                  </a:rPr>
                  <a:t>工艺参数</a:t>
                </a:r>
                <a:endParaRPr lang="zh-CN" altLang="zh-CN">
                  <a:ea typeface="宋体" panose="02010600030101010101" pitchFamily="2" charset="-122"/>
                </a:endParaRPr>
              </a:p>
            </p:txBody>
          </p:sp>
          <p:sp>
            <p:nvSpPr>
              <p:cNvPr id="198" name="Rectangle 340">
                <a:extLst>
                  <a:ext uri="{FF2B5EF4-FFF2-40B4-BE49-F238E27FC236}">
                    <a16:creationId xmlns:a16="http://schemas.microsoft.com/office/drawing/2014/main" id="{6EE8EA7C-61F8-4FC8-A596-CA60D5A9E150}"/>
                  </a:ext>
                </a:extLst>
              </p:cNvPr>
              <p:cNvSpPr>
                <a:spLocks noChangeArrowheads="1"/>
              </p:cNvSpPr>
              <p:nvPr/>
            </p:nvSpPr>
            <p:spPr bwMode="auto">
              <a:xfrm>
                <a:off x="708" y="2595"/>
                <a:ext cx="340"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000000"/>
                    </a:solidFill>
                    <a:latin typeface="微软雅黑" panose="020B0503020204020204" pitchFamily="34" charset="-122"/>
                    <a:ea typeface="宋体" panose="02010600030101010101" pitchFamily="2" charset="-122"/>
                  </a:rPr>
                  <a:t>工艺参数</a:t>
                </a:r>
                <a:endParaRPr lang="zh-CN" altLang="zh-CN">
                  <a:ea typeface="宋体" panose="02010600030101010101" pitchFamily="2" charset="-122"/>
                </a:endParaRPr>
              </a:p>
            </p:txBody>
          </p:sp>
          <p:sp>
            <p:nvSpPr>
              <p:cNvPr id="199" name="Rectangle 341">
                <a:extLst>
                  <a:ext uri="{FF2B5EF4-FFF2-40B4-BE49-F238E27FC236}">
                    <a16:creationId xmlns:a16="http://schemas.microsoft.com/office/drawing/2014/main" id="{7C6A8696-0AF7-4E93-ACE9-C2CEACDD6DDE}"/>
                  </a:ext>
                </a:extLst>
              </p:cNvPr>
              <p:cNvSpPr>
                <a:spLocks noChangeArrowheads="1"/>
              </p:cNvSpPr>
              <p:nvPr/>
            </p:nvSpPr>
            <p:spPr bwMode="auto">
              <a:xfrm>
                <a:off x="1007" y="2477"/>
                <a:ext cx="97" cy="5"/>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00" name="Rectangle 342">
                <a:extLst>
                  <a:ext uri="{FF2B5EF4-FFF2-40B4-BE49-F238E27FC236}">
                    <a16:creationId xmlns:a16="http://schemas.microsoft.com/office/drawing/2014/main" id="{99C5E431-3063-4798-A6D1-224A9FE6A97F}"/>
                  </a:ext>
                </a:extLst>
              </p:cNvPr>
              <p:cNvSpPr>
                <a:spLocks noChangeArrowheads="1"/>
              </p:cNvSpPr>
              <p:nvPr/>
            </p:nvSpPr>
            <p:spPr bwMode="auto">
              <a:xfrm>
                <a:off x="1007" y="2482"/>
                <a:ext cx="97" cy="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01" name="Rectangle 343">
                <a:extLst>
                  <a:ext uri="{FF2B5EF4-FFF2-40B4-BE49-F238E27FC236}">
                    <a16:creationId xmlns:a16="http://schemas.microsoft.com/office/drawing/2014/main" id="{9572EAB4-FFDE-4493-9194-7A5AD0266F51}"/>
                  </a:ext>
                </a:extLst>
              </p:cNvPr>
              <p:cNvSpPr>
                <a:spLocks noChangeArrowheads="1"/>
              </p:cNvSpPr>
              <p:nvPr/>
            </p:nvSpPr>
            <p:spPr bwMode="auto">
              <a:xfrm>
                <a:off x="1007" y="2488"/>
                <a:ext cx="97" cy="6"/>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02" name="Rectangle 344">
                <a:extLst>
                  <a:ext uri="{FF2B5EF4-FFF2-40B4-BE49-F238E27FC236}">
                    <a16:creationId xmlns:a16="http://schemas.microsoft.com/office/drawing/2014/main" id="{3ECF9082-4218-43D3-A0BD-D3BED05DB8A4}"/>
                  </a:ext>
                </a:extLst>
              </p:cNvPr>
              <p:cNvSpPr>
                <a:spLocks noChangeArrowheads="1"/>
              </p:cNvSpPr>
              <p:nvPr/>
            </p:nvSpPr>
            <p:spPr bwMode="auto">
              <a:xfrm>
                <a:off x="1007" y="2494"/>
                <a:ext cx="97" cy="5"/>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03" name="Rectangle 345">
                <a:extLst>
                  <a:ext uri="{FF2B5EF4-FFF2-40B4-BE49-F238E27FC236}">
                    <a16:creationId xmlns:a16="http://schemas.microsoft.com/office/drawing/2014/main" id="{A7B2005A-1F2A-4428-9B76-0C19B023AF21}"/>
                  </a:ext>
                </a:extLst>
              </p:cNvPr>
              <p:cNvSpPr>
                <a:spLocks noChangeArrowheads="1"/>
              </p:cNvSpPr>
              <p:nvPr/>
            </p:nvSpPr>
            <p:spPr bwMode="auto">
              <a:xfrm>
                <a:off x="1007" y="2499"/>
                <a:ext cx="97" cy="6"/>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04" name="Rectangle 346">
                <a:extLst>
                  <a:ext uri="{FF2B5EF4-FFF2-40B4-BE49-F238E27FC236}">
                    <a16:creationId xmlns:a16="http://schemas.microsoft.com/office/drawing/2014/main" id="{8E8CF2FE-F741-4C9A-95A3-F2EA81BCF393}"/>
                  </a:ext>
                </a:extLst>
              </p:cNvPr>
              <p:cNvSpPr>
                <a:spLocks noChangeArrowheads="1"/>
              </p:cNvSpPr>
              <p:nvPr/>
            </p:nvSpPr>
            <p:spPr bwMode="auto">
              <a:xfrm>
                <a:off x="1007" y="2505"/>
                <a:ext cx="97" cy="6"/>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05" name="Rectangle 347">
                <a:extLst>
                  <a:ext uri="{FF2B5EF4-FFF2-40B4-BE49-F238E27FC236}">
                    <a16:creationId xmlns:a16="http://schemas.microsoft.com/office/drawing/2014/main" id="{5B06937E-B84A-4FA8-B3AB-B03C48412299}"/>
                  </a:ext>
                </a:extLst>
              </p:cNvPr>
              <p:cNvSpPr>
                <a:spLocks noChangeArrowheads="1"/>
              </p:cNvSpPr>
              <p:nvPr/>
            </p:nvSpPr>
            <p:spPr bwMode="auto">
              <a:xfrm>
                <a:off x="1007" y="2511"/>
                <a:ext cx="97" cy="5"/>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06" name="Rectangle 348">
                <a:extLst>
                  <a:ext uri="{FF2B5EF4-FFF2-40B4-BE49-F238E27FC236}">
                    <a16:creationId xmlns:a16="http://schemas.microsoft.com/office/drawing/2014/main" id="{948FF601-1892-49BD-AE7A-EABCEE0E114C}"/>
                  </a:ext>
                </a:extLst>
              </p:cNvPr>
              <p:cNvSpPr>
                <a:spLocks noChangeArrowheads="1"/>
              </p:cNvSpPr>
              <p:nvPr/>
            </p:nvSpPr>
            <p:spPr bwMode="auto">
              <a:xfrm>
                <a:off x="1007" y="2516"/>
                <a:ext cx="97" cy="6"/>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07" name="Rectangle 349">
                <a:extLst>
                  <a:ext uri="{FF2B5EF4-FFF2-40B4-BE49-F238E27FC236}">
                    <a16:creationId xmlns:a16="http://schemas.microsoft.com/office/drawing/2014/main" id="{A7390C30-8E08-4CD6-9826-9FA1F452634D}"/>
                  </a:ext>
                </a:extLst>
              </p:cNvPr>
              <p:cNvSpPr>
                <a:spLocks noChangeArrowheads="1"/>
              </p:cNvSpPr>
              <p:nvPr/>
            </p:nvSpPr>
            <p:spPr bwMode="auto">
              <a:xfrm>
                <a:off x="1007" y="2522"/>
                <a:ext cx="97" cy="11"/>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08" name="Rectangle 350">
                <a:extLst>
                  <a:ext uri="{FF2B5EF4-FFF2-40B4-BE49-F238E27FC236}">
                    <a16:creationId xmlns:a16="http://schemas.microsoft.com/office/drawing/2014/main" id="{D0BB19F1-94A1-4E39-86D6-D6BBD90E7FB4}"/>
                  </a:ext>
                </a:extLst>
              </p:cNvPr>
              <p:cNvSpPr>
                <a:spLocks noChangeArrowheads="1"/>
              </p:cNvSpPr>
              <p:nvPr/>
            </p:nvSpPr>
            <p:spPr bwMode="auto">
              <a:xfrm>
                <a:off x="1007" y="2533"/>
                <a:ext cx="97" cy="6"/>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09" name="Rectangle 351">
                <a:extLst>
                  <a:ext uri="{FF2B5EF4-FFF2-40B4-BE49-F238E27FC236}">
                    <a16:creationId xmlns:a16="http://schemas.microsoft.com/office/drawing/2014/main" id="{E289FED4-3B95-4DEA-8804-27CF8C8F78D0}"/>
                  </a:ext>
                </a:extLst>
              </p:cNvPr>
              <p:cNvSpPr>
                <a:spLocks noChangeArrowheads="1"/>
              </p:cNvSpPr>
              <p:nvPr/>
            </p:nvSpPr>
            <p:spPr bwMode="auto">
              <a:xfrm>
                <a:off x="1007" y="2539"/>
                <a:ext cx="97" cy="6"/>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10" name="Rectangle 352">
                <a:extLst>
                  <a:ext uri="{FF2B5EF4-FFF2-40B4-BE49-F238E27FC236}">
                    <a16:creationId xmlns:a16="http://schemas.microsoft.com/office/drawing/2014/main" id="{B50EB7A6-195A-490A-A216-43DA74A1FE90}"/>
                  </a:ext>
                </a:extLst>
              </p:cNvPr>
              <p:cNvSpPr>
                <a:spLocks noChangeArrowheads="1"/>
              </p:cNvSpPr>
              <p:nvPr/>
            </p:nvSpPr>
            <p:spPr bwMode="auto">
              <a:xfrm>
                <a:off x="1007" y="2545"/>
                <a:ext cx="97" cy="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11" name="Rectangle 353">
                <a:extLst>
                  <a:ext uri="{FF2B5EF4-FFF2-40B4-BE49-F238E27FC236}">
                    <a16:creationId xmlns:a16="http://schemas.microsoft.com/office/drawing/2014/main" id="{B92ABF5E-39E1-461D-8E01-7AF321847215}"/>
                  </a:ext>
                </a:extLst>
              </p:cNvPr>
              <p:cNvSpPr>
                <a:spLocks noChangeArrowheads="1"/>
              </p:cNvSpPr>
              <p:nvPr/>
            </p:nvSpPr>
            <p:spPr bwMode="auto">
              <a:xfrm>
                <a:off x="1007" y="2550"/>
                <a:ext cx="97" cy="6"/>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12" name="Rectangle 354">
                <a:extLst>
                  <a:ext uri="{FF2B5EF4-FFF2-40B4-BE49-F238E27FC236}">
                    <a16:creationId xmlns:a16="http://schemas.microsoft.com/office/drawing/2014/main" id="{072662C0-CC66-47DE-A841-AF9B1F8C1F8B}"/>
                  </a:ext>
                </a:extLst>
              </p:cNvPr>
              <p:cNvSpPr>
                <a:spLocks noChangeArrowheads="1"/>
              </p:cNvSpPr>
              <p:nvPr/>
            </p:nvSpPr>
            <p:spPr bwMode="auto">
              <a:xfrm>
                <a:off x="1007" y="2556"/>
                <a:ext cx="97" cy="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13" name="Rectangle 355">
                <a:extLst>
                  <a:ext uri="{FF2B5EF4-FFF2-40B4-BE49-F238E27FC236}">
                    <a16:creationId xmlns:a16="http://schemas.microsoft.com/office/drawing/2014/main" id="{AC1687B1-20B3-44F7-88DF-A79387FE64FB}"/>
                  </a:ext>
                </a:extLst>
              </p:cNvPr>
              <p:cNvSpPr>
                <a:spLocks noChangeArrowheads="1"/>
              </p:cNvSpPr>
              <p:nvPr/>
            </p:nvSpPr>
            <p:spPr bwMode="auto">
              <a:xfrm>
                <a:off x="1007" y="2562"/>
                <a:ext cx="97" cy="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14" name="Rectangle 356">
                <a:extLst>
                  <a:ext uri="{FF2B5EF4-FFF2-40B4-BE49-F238E27FC236}">
                    <a16:creationId xmlns:a16="http://schemas.microsoft.com/office/drawing/2014/main" id="{179F0436-BAF8-4532-A134-840FA901D8AD}"/>
                  </a:ext>
                </a:extLst>
              </p:cNvPr>
              <p:cNvSpPr>
                <a:spLocks noChangeArrowheads="1"/>
              </p:cNvSpPr>
              <p:nvPr/>
            </p:nvSpPr>
            <p:spPr bwMode="auto">
              <a:xfrm>
                <a:off x="1007" y="2567"/>
                <a:ext cx="97" cy="6"/>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15" name="Freeform 357">
                <a:extLst>
                  <a:ext uri="{FF2B5EF4-FFF2-40B4-BE49-F238E27FC236}">
                    <a16:creationId xmlns:a16="http://schemas.microsoft.com/office/drawing/2014/main" id="{3F7724E6-9120-424F-B74E-6A8EAC92FD51}"/>
                  </a:ext>
                </a:extLst>
              </p:cNvPr>
              <p:cNvSpPr>
                <a:spLocks/>
              </p:cNvSpPr>
              <p:nvPr/>
            </p:nvSpPr>
            <p:spPr bwMode="auto">
              <a:xfrm>
                <a:off x="1018" y="2487"/>
                <a:ext cx="80" cy="81"/>
              </a:xfrm>
              <a:custGeom>
                <a:avLst/>
                <a:gdLst>
                  <a:gd name="T0" fmla="*/ 0 w 80"/>
                  <a:gd name="T1" fmla="*/ 41 h 81"/>
                  <a:gd name="T2" fmla="*/ 40 w 80"/>
                  <a:gd name="T3" fmla="*/ 0 h 81"/>
                  <a:gd name="T4" fmla="*/ 80 w 80"/>
                  <a:gd name="T5" fmla="*/ 41 h 81"/>
                  <a:gd name="T6" fmla="*/ 80 w 80"/>
                  <a:gd name="T7" fmla="*/ 41 h 81"/>
                  <a:gd name="T8" fmla="*/ 40 w 80"/>
                  <a:gd name="T9" fmla="*/ 81 h 81"/>
                  <a:gd name="T10" fmla="*/ 0 w 80"/>
                  <a:gd name="T11" fmla="*/ 41 h 81"/>
                  <a:gd name="T12" fmla="*/ 0 60000 65536"/>
                  <a:gd name="T13" fmla="*/ 0 60000 65536"/>
                  <a:gd name="T14" fmla="*/ 0 60000 65536"/>
                  <a:gd name="T15" fmla="*/ 0 60000 65536"/>
                  <a:gd name="T16" fmla="*/ 0 60000 65536"/>
                  <a:gd name="T17" fmla="*/ 0 60000 65536"/>
                  <a:gd name="T18" fmla="*/ 0 w 80"/>
                  <a:gd name="T19" fmla="*/ 0 h 81"/>
                  <a:gd name="T20" fmla="*/ 80 w 80"/>
                  <a:gd name="T21" fmla="*/ 81 h 81"/>
                </a:gdLst>
                <a:ahLst/>
                <a:cxnLst>
                  <a:cxn ang="T12">
                    <a:pos x="T0" y="T1"/>
                  </a:cxn>
                  <a:cxn ang="T13">
                    <a:pos x="T2" y="T3"/>
                  </a:cxn>
                  <a:cxn ang="T14">
                    <a:pos x="T4" y="T5"/>
                  </a:cxn>
                  <a:cxn ang="T15">
                    <a:pos x="T6" y="T7"/>
                  </a:cxn>
                  <a:cxn ang="T16">
                    <a:pos x="T8" y="T9"/>
                  </a:cxn>
                  <a:cxn ang="T17">
                    <a:pos x="T10" y="T11"/>
                  </a:cxn>
                </a:cxnLst>
                <a:rect l="T18" t="T19" r="T20" b="T21"/>
                <a:pathLst>
                  <a:path w="80" h="81">
                    <a:moveTo>
                      <a:pt x="0" y="41"/>
                    </a:moveTo>
                    <a:cubicBezTo>
                      <a:pt x="0" y="18"/>
                      <a:pt x="18" y="0"/>
                      <a:pt x="40" y="0"/>
                    </a:cubicBezTo>
                    <a:cubicBezTo>
                      <a:pt x="62" y="0"/>
                      <a:pt x="80" y="18"/>
                      <a:pt x="80" y="41"/>
                    </a:cubicBezTo>
                    <a:cubicBezTo>
                      <a:pt x="80" y="41"/>
                      <a:pt x="80" y="41"/>
                      <a:pt x="80" y="41"/>
                    </a:cubicBezTo>
                    <a:cubicBezTo>
                      <a:pt x="80" y="63"/>
                      <a:pt x="62" y="81"/>
                      <a:pt x="40" y="81"/>
                    </a:cubicBezTo>
                    <a:cubicBezTo>
                      <a:pt x="18" y="81"/>
                      <a:pt x="0" y="63"/>
                      <a:pt x="0" y="41"/>
                    </a:cubicBezTo>
                  </a:path>
                </a:pathLst>
              </a:custGeom>
              <a:noFill/>
              <a:ln w="2" cap="rnd">
                <a:solidFill>
                  <a:srgbClr val="40404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216" name="Rectangle 358">
                <a:extLst>
                  <a:ext uri="{FF2B5EF4-FFF2-40B4-BE49-F238E27FC236}">
                    <a16:creationId xmlns:a16="http://schemas.microsoft.com/office/drawing/2014/main" id="{B634673E-E396-420C-B2DD-7BCC46A5EF77}"/>
                  </a:ext>
                </a:extLst>
              </p:cNvPr>
              <p:cNvSpPr>
                <a:spLocks noChangeArrowheads="1"/>
              </p:cNvSpPr>
              <p:nvPr/>
            </p:nvSpPr>
            <p:spPr bwMode="auto">
              <a:xfrm>
                <a:off x="402" y="2476"/>
                <a:ext cx="340"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CDCDCD"/>
                    </a:solidFill>
                    <a:latin typeface="微软雅黑" panose="020B0503020204020204" pitchFamily="34" charset="-122"/>
                    <a:ea typeface="宋体" panose="02010600030101010101" pitchFamily="2" charset="-122"/>
                  </a:rPr>
                  <a:t>加工工序</a:t>
                </a:r>
                <a:endParaRPr lang="zh-CN" altLang="zh-CN">
                  <a:ea typeface="宋体" panose="02010600030101010101" pitchFamily="2" charset="-122"/>
                </a:endParaRPr>
              </a:p>
            </p:txBody>
          </p:sp>
          <p:sp>
            <p:nvSpPr>
              <p:cNvPr id="217" name="Rectangle 359">
                <a:extLst>
                  <a:ext uri="{FF2B5EF4-FFF2-40B4-BE49-F238E27FC236}">
                    <a16:creationId xmlns:a16="http://schemas.microsoft.com/office/drawing/2014/main" id="{E986404C-8F51-49A9-B1AB-DE9995B7D082}"/>
                  </a:ext>
                </a:extLst>
              </p:cNvPr>
              <p:cNvSpPr>
                <a:spLocks noChangeArrowheads="1"/>
              </p:cNvSpPr>
              <p:nvPr/>
            </p:nvSpPr>
            <p:spPr bwMode="auto">
              <a:xfrm>
                <a:off x="391" y="2465"/>
                <a:ext cx="340"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000000"/>
                    </a:solidFill>
                    <a:latin typeface="微软雅黑" panose="020B0503020204020204" pitchFamily="34" charset="-122"/>
                    <a:ea typeface="宋体" panose="02010600030101010101" pitchFamily="2" charset="-122"/>
                  </a:rPr>
                  <a:t>加工工序</a:t>
                </a:r>
                <a:endParaRPr lang="zh-CN" altLang="zh-CN">
                  <a:ea typeface="宋体" panose="02010600030101010101" pitchFamily="2" charset="-122"/>
                </a:endParaRPr>
              </a:p>
            </p:txBody>
          </p:sp>
          <p:sp>
            <p:nvSpPr>
              <p:cNvPr id="218" name="Rectangle 360">
                <a:extLst>
                  <a:ext uri="{FF2B5EF4-FFF2-40B4-BE49-F238E27FC236}">
                    <a16:creationId xmlns:a16="http://schemas.microsoft.com/office/drawing/2014/main" id="{14113AC8-1C79-478C-BBC0-A785E89D621C}"/>
                  </a:ext>
                </a:extLst>
              </p:cNvPr>
              <p:cNvSpPr>
                <a:spLocks noChangeArrowheads="1"/>
              </p:cNvSpPr>
              <p:nvPr/>
            </p:nvSpPr>
            <p:spPr bwMode="auto">
              <a:xfrm>
                <a:off x="1285" y="2584"/>
                <a:ext cx="96" cy="6"/>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19" name="Rectangle 361">
                <a:extLst>
                  <a:ext uri="{FF2B5EF4-FFF2-40B4-BE49-F238E27FC236}">
                    <a16:creationId xmlns:a16="http://schemas.microsoft.com/office/drawing/2014/main" id="{AC0DEB32-954A-4874-9380-F1321EF3B0A0}"/>
                  </a:ext>
                </a:extLst>
              </p:cNvPr>
              <p:cNvSpPr>
                <a:spLocks noChangeArrowheads="1"/>
              </p:cNvSpPr>
              <p:nvPr/>
            </p:nvSpPr>
            <p:spPr bwMode="auto">
              <a:xfrm>
                <a:off x="1285" y="2590"/>
                <a:ext cx="96" cy="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20" name="Rectangle 362">
                <a:extLst>
                  <a:ext uri="{FF2B5EF4-FFF2-40B4-BE49-F238E27FC236}">
                    <a16:creationId xmlns:a16="http://schemas.microsoft.com/office/drawing/2014/main" id="{F55F7A87-8BF3-4506-B879-AC5B001F8D64}"/>
                  </a:ext>
                </a:extLst>
              </p:cNvPr>
              <p:cNvSpPr>
                <a:spLocks noChangeArrowheads="1"/>
              </p:cNvSpPr>
              <p:nvPr/>
            </p:nvSpPr>
            <p:spPr bwMode="auto">
              <a:xfrm>
                <a:off x="1285" y="2596"/>
                <a:ext cx="96" cy="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21" name="Rectangle 363">
                <a:extLst>
                  <a:ext uri="{FF2B5EF4-FFF2-40B4-BE49-F238E27FC236}">
                    <a16:creationId xmlns:a16="http://schemas.microsoft.com/office/drawing/2014/main" id="{4898A0BA-AAEA-4323-BD17-8581E60EC746}"/>
                  </a:ext>
                </a:extLst>
              </p:cNvPr>
              <p:cNvSpPr>
                <a:spLocks noChangeArrowheads="1"/>
              </p:cNvSpPr>
              <p:nvPr/>
            </p:nvSpPr>
            <p:spPr bwMode="auto">
              <a:xfrm>
                <a:off x="1285" y="2601"/>
                <a:ext cx="96" cy="6"/>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22" name="Rectangle 364">
                <a:extLst>
                  <a:ext uri="{FF2B5EF4-FFF2-40B4-BE49-F238E27FC236}">
                    <a16:creationId xmlns:a16="http://schemas.microsoft.com/office/drawing/2014/main" id="{A01E3E90-2DE1-44C7-AA09-134C19421984}"/>
                  </a:ext>
                </a:extLst>
              </p:cNvPr>
              <p:cNvSpPr>
                <a:spLocks noChangeArrowheads="1"/>
              </p:cNvSpPr>
              <p:nvPr/>
            </p:nvSpPr>
            <p:spPr bwMode="auto">
              <a:xfrm>
                <a:off x="1285" y="2607"/>
                <a:ext cx="96" cy="6"/>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23" name="Rectangle 365">
                <a:extLst>
                  <a:ext uri="{FF2B5EF4-FFF2-40B4-BE49-F238E27FC236}">
                    <a16:creationId xmlns:a16="http://schemas.microsoft.com/office/drawing/2014/main" id="{B521C526-F1F7-44E6-AAB0-D2BEF77A8D21}"/>
                  </a:ext>
                </a:extLst>
              </p:cNvPr>
              <p:cNvSpPr>
                <a:spLocks noChangeArrowheads="1"/>
              </p:cNvSpPr>
              <p:nvPr/>
            </p:nvSpPr>
            <p:spPr bwMode="auto">
              <a:xfrm>
                <a:off x="1285" y="2613"/>
                <a:ext cx="96" cy="5"/>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24" name="Rectangle 366">
                <a:extLst>
                  <a:ext uri="{FF2B5EF4-FFF2-40B4-BE49-F238E27FC236}">
                    <a16:creationId xmlns:a16="http://schemas.microsoft.com/office/drawing/2014/main" id="{D13C1A11-DCE1-4F12-9FCA-478192AB85F5}"/>
                  </a:ext>
                </a:extLst>
              </p:cNvPr>
              <p:cNvSpPr>
                <a:spLocks noChangeArrowheads="1"/>
              </p:cNvSpPr>
              <p:nvPr/>
            </p:nvSpPr>
            <p:spPr bwMode="auto">
              <a:xfrm>
                <a:off x="1285" y="2618"/>
                <a:ext cx="96" cy="6"/>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25" name="Rectangle 367">
                <a:extLst>
                  <a:ext uri="{FF2B5EF4-FFF2-40B4-BE49-F238E27FC236}">
                    <a16:creationId xmlns:a16="http://schemas.microsoft.com/office/drawing/2014/main" id="{9AAFCA2C-C74C-496C-B091-A4E90C07D23D}"/>
                  </a:ext>
                </a:extLst>
              </p:cNvPr>
              <p:cNvSpPr>
                <a:spLocks noChangeArrowheads="1"/>
              </p:cNvSpPr>
              <p:nvPr/>
            </p:nvSpPr>
            <p:spPr bwMode="auto">
              <a:xfrm>
                <a:off x="1285" y="2624"/>
                <a:ext cx="96" cy="6"/>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26" name="Rectangle 368">
                <a:extLst>
                  <a:ext uri="{FF2B5EF4-FFF2-40B4-BE49-F238E27FC236}">
                    <a16:creationId xmlns:a16="http://schemas.microsoft.com/office/drawing/2014/main" id="{E0E8754B-539F-4D7D-BE48-FE23997CF45B}"/>
                  </a:ext>
                </a:extLst>
              </p:cNvPr>
              <p:cNvSpPr>
                <a:spLocks noChangeArrowheads="1"/>
              </p:cNvSpPr>
              <p:nvPr/>
            </p:nvSpPr>
            <p:spPr bwMode="auto">
              <a:xfrm>
                <a:off x="1285" y="2630"/>
                <a:ext cx="96" cy="11"/>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27" name="Rectangle 369">
                <a:extLst>
                  <a:ext uri="{FF2B5EF4-FFF2-40B4-BE49-F238E27FC236}">
                    <a16:creationId xmlns:a16="http://schemas.microsoft.com/office/drawing/2014/main" id="{C0EFDD53-B443-4BC1-997B-862746E215A3}"/>
                  </a:ext>
                </a:extLst>
              </p:cNvPr>
              <p:cNvSpPr>
                <a:spLocks noChangeArrowheads="1"/>
              </p:cNvSpPr>
              <p:nvPr/>
            </p:nvSpPr>
            <p:spPr bwMode="auto">
              <a:xfrm>
                <a:off x="1285" y="2641"/>
                <a:ext cx="96" cy="6"/>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28" name="Rectangle 370">
                <a:extLst>
                  <a:ext uri="{FF2B5EF4-FFF2-40B4-BE49-F238E27FC236}">
                    <a16:creationId xmlns:a16="http://schemas.microsoft.com/office/drawing/2014/main" id="{C2D93C85-D3E1-418A-BB7D-86D4CA42904D}"/>
                  </a:ext>
                </a:extLst>
              </p:cNvPr>
              <p:cNvSpPr>
                <a:spLocks noChangeArrowheads="1"/>
              </p:cNvSpPr>
              <p:nvPr/>
            </p:nvSpPr>
            <p:spPr bwMode="auto">
              <a:xfrm>
                <a:off x="1285" y="2647"/>
                <a:ext cx="96" cy="5"/>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29" name="Rectangle 371">
                <a:extLst>
                  <a:ext uri="{FF2B5EF4-FFF2-40B4-BE49-F238E27FC236}">
                    <a16:creationId xmlns:a16="http://schemas.microsoft.com/office/drawing/2014/main" id="{5BFF4374-4FBA-439C-A9B8-501A5C1F2521}"/>
                  </a:ext>
                </a:extLst>
              </p:cNvPr>
              <p:cNvSpPr>
                <a:spLocks noChangeArrowheads="1"/>
              </p:cNvSpPr>
              <p:nvPr/>
            </p:nvSpPr>
            <p:spPr bwMode="auto">
              <a:xfrm>
                <a:off x="1285" y="2652"/>
                <a:ext cx="96" cy="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30" name="Rectangle 372">
                <a:extLst>
                  <a:ext uri="{FF2B5EF4-FFF2-40B4-BE49-F238E27FC236}">
                    <a16:creationId xmlns:a16="http://schemas.microsoft.com/office/drawing/2014/main" id="{21B3BADB-0089-46E0-A71D-A97F6DA85DD3}"/>
                  </a:ext>
                </a:extLst>
              </p:cNvPr>
              <p:cNvSpPr>
                <a:spLocks noChangeArrowheads="1"/>
              </p:cNvSpPr>
              <p:nvPr/>
            </p:nvSpPr>
            <p:spPr bwMode="auto">
              <a:xfrm>
                <a:off x="1285" y="2658"/>
                <a:ext cx="96" cy="6"/>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31" name="Rectangle 373">
                <a:extLst>
                  <a:ext uri="{FF2B5EF4-FFF2-40B4-BE49-F238E27FC236}">
                    <a16:creationId xmlns:a16="http://schemas.microsoft.com/office/drawing/2014/main" id="{921A57AD-6E86-4B96-BFE0-4FE76A051C40}"/>
                  </a:ext>
                </a:extLst>
              </p:cNvPr>
              <p:cNvSpPr>
                <a:spLocks noChangeArrowheads="1"/>
              </p:cNvSpPr>
              <p:nvPr/>
            </p:nvSpPr>
            <p:spPr bwMode="auto">
              <a:xfrm>
                <a:off x="1285" y="2664"/>
                <a:ext cx="96" cy="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32" name="Rectangle 374">
                <a:extLst>
                  <a:ext uri="{FF2B5EF4-FFF2-40B4-BE49-F238E27FC236}">
                    <a16:creationId xmlns:a16="http://schemas.microsoft.com/office/drawing/2014/main" id="{DA8238BF-E80E-45E6-942C-CAE590690482}"/>
                  </a:ext>
                </a:extLst>
              </p:cNvPr>
              <p:cNvSpPr>
                <a:spLocks noChangeArrowheads="1"/>
              </p:cNvSpPr>
              <p:nvPr/>
            </p:nvSpPr>
            <p:spPr bwMode="auto">
              <a:xfrm>
                <a:off x="1285" y="2669"/>
                <a:ext cx="96" cy="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33" name="Rectangle 375">
                <a:extLst>
                  <a:ext uri="{FF2B5EF4-FFF2-40B4-BE49-F238E27FC236}">
                    <a16:creationId xmlns:a16="http://schemas.microsoft.com/office/drawing/2014/main" id="{838BE929-D9B7-434E-9F67-C1AAF0526B30}"/>
                  </a:ext>
                </a:extLst>
              </p:cNvPr>
              <p:cNvSpPr>
                <a:spLocks noChangeArrowheads="1"/>
              </p:cNvSpPr>
              <p:nvPr/>
            </p:nvSpPr>
            <p:spPr bwMode="auto">
              <a:xfrm>
                <a:off x="1285" y="2675"/>
                <a:ext cx="96" cy="6"/>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34" name="Freeform 376">
                <a:extLst>
                  <a:ext uri="{FF2B5EF4-FFF2-40B4-BE49-F238E27FC236}">
                    <a16:creationId xmlns:a16="http://schemas.microsoft.com/office/drawing/2014/main" id="{D2BA370A-2BBE-44AB-A142-BB038C4D6B82}"/>
                  </a:ext>
                </a:extLst>
              </p:cNvPr>
              <p:cNvSpPr>
                <a:spLocks/>
              </p:cNvSpPr>
              <p:nvPr/>
            </p:nvSpPr>
            <p:spPr bwMode="auto">
              <a:xfrm>
                <a:off x="1293" y="2595"/>
                <a:ext cx="80" cy="80"/>
              </a:xfrm>
              <a:custGeom>
                <a:avLst/>
                <a:gdLst>
                  <a:gd name="T0" fmla="*/ 0 w 80"/>
                  <a:gd name="T1" fmla="*/ 40 h 80"/>
                  <a:gd name="T2" fmla="*/ 40 w 80"/>
                  <a:gd name="T3" fmla="*/ 0 h 80"/>
                  <a:gd name="T4" fmla="*/ 80 w 80"/>
                  <a:gd name="T5" fmla="*/ 40 h 80"/>
                  <a:gd name="T6" fmla="*/ 80 w 80"/>
                  <a:gd name="T7" fmla="*/ 40 h 80"/>
                  <a:gd name="T8" fmla="*/ 40 w 80"/>
                  <a:gd name="T9" fmla="*/ 80 h 80"/>
                  <a:gd name="T10" fmla="*/ 0 w 80"/>
                  <a:gd name="T11" fmla="*/ 40 h 80"/>
                  <a:gd name="T12" fmla="*/ 0 60000 65536"/>
                  <a:gd name="T13" fmla="*/ 0 60000 65536"/>
                  <a:gd name="T14" fmla="*/ 0 60000 65536"/>
                  <a:gd name="T15" fmla="*/ 0 60000 65536"/>
                  <a:gd name="T16" fmla="*/ 0 60000 65536"/>
                  <a:gd name="T17" fmla="*/ 0 60000 65536"/>
                  <a:gd name="T18" fmla="*/ 0 w 80"/>
                  <a:gd name="T19" fmla="*/ 0 h 80"/>
                  <a:gd name="T20" fmla="*/ 80 w 80"/>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80" h="80">
                    <a:moveTo>
                      <a:pt x="0" y="40"/>
                    </a:moveTo>
                    <a:cubicBezTo>
                      <a:pt x="0" y="17"/>
                      <a:pt x="18" y="0"/>
                      <a:pt x="40" y="0"/>
                    </a:cubicBezTo>
                    <a:cubicBezTo>
                      <a:pt x="62" y="0"/>
                      <a:pt x="80" y="17"/>
                      <a:pt x="80" y="40"/>
                    </a:cubicBezTo>
                    <a:cubicBezTo>
                      <a:pt x="80" y="40"/>
                      <a:pt x="80" y="40"/>
                      <a:pt x="80" y="40"/>
                    </a:cubicBezTo>
                    <a:cubicBezTo>
                      <a:pt x="80" y="62"/>
                      <a:pt x="62" y="80"/>
                      <a:pt x="40" y="80"/>
                    </a:cubicBezTo>
                    <a:cubicBezTo>
                      <a:pt x="18" y="80"/>
                      <a:pt x="0" y="62"/>
                      <a:pt x="0" y="40"/>
                    </a:cubicBezTo>
                  </a:path>
                </a:pathLst>
              </a:custGeom>
              <a:noFill/>
              <a:ln w="2" cap="rnd">
                <a:solidFill>
                  <a:srgbClr val="40404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235" name="Rectangle 377">
                <a:extLst>
                  <a:ext uri="{FF2B5EF4-FFF2-40B4-BE49-F238E27FC236}">
                    <a16:creationId xmlns:a16="http://schemas.microsoft.com/office/drawing/2014/main" id="{C3A6ECB9-3B74-4FF8-85D6-B735E839A8B4}"/>
                  </a:ext>
                </a:extLst>
              </p:cNvPr>
              <p:cNvSpPr>
                <a:spLocks noChangeArrowheads="1"/>
              </p:cNvSpPr>
              <p:nvPr/>
            </p:nvSpPr>
            <p:spPr bwMode="auto">
              <a:xfrm>
                <a:off x="1766" y="3004"/>
                <a:ext cx="96" cy="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36" name="Rectangle 378">
                <a:extLst>
                  <a:ext uri="{FF2B5EF4-FFF2-40B4-BE49-F238E27FC236}">
                    <a16:creationId xmlns:a16="http://schemas.microsoft.com/office/drawing/2014/main" id="{44A62485-0A38-4AB6-9188-882C2DD735EE}"/>
                  </a:ext>
                </a:extLst>
              </p:cNvPr>
              <p:cNvSpPr>
                <a:spLocks noChangeArrowheads="1"/>
              </p:cNvSpPr>
              <p:nvPr/>
            </p:nvSpPr>
            <p:spPr bwMode="auto">
              <a:xfrm>
                <a:off x="1766" y="3009"/>
                <a:ext cx="96" cy="6"/>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37" name="Rectangle 379">
                <a:extLst>
                  <a:ext uri="{FF2B5EF4-FFF2-40B4-BE49-F238E27FC236}">
                    <a16:creationId xmlns:a16="http://schemas.microsoft.com/office/drawing/2014/main" id="{32D8FFDF-F999-496A-9BBC-45E24FC05E5D}"/>
                  </a:ext>
                </a:extLst>
              </p:cNvPr>
              <p:cNvSpPr>
                <a:spLocks noChangeArrowheads="1"/>
              </p:cNvSpPr>
              <p:nvPr/>
            </p:nvSpPr>
            <p:spPr bwMode="auto">
              <a:xfrm>
                <a:off x="1766" y="3015"/>
                <a:ext cx="96" cy="6"/>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38" name="Rectangle 380">
                <a:extLst>
                  <a:ext uri="{FF2B5EF4-FFF2-40B4-BE49-F238E27FC236}">
                    <a16:creationId xmlns:a16="http://schemas.microsoft.com/office/drawing/2014/main" id="{301CB014-6E30-4AEB-B053-C7988137F86E}"/>
                  </a:ext>
                </a:extLst>
              </p:cNvPr>
              <p:cNvSpPr>
                <a:spLocks noChangeArrowheads="1"/>
              </p:cNvSpPr>
              <p:nvPr/>
            </p:nvSpPr>
            <p:spPr bwMode="auto">
              <a:xfrm>
                <a:off x="1766" y="3021"/>
                <a:ext cx="96" cy="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39" name="Rectangle 381">
                <a:extLst>
                  <a:ext uri="{FF2B5EF4-FFF2-40B4-BE49-F238E27FC236}">
                    <a16:creationId xmlns:a16="http://schemas.microsoft.com/office/drawing/2014/main" id="{6ABC6F21-99A0-4EBF-B8C2-3465F2DC94C3}"/>
                  </a:ext>
                </a:extLst>
              </p:cNvPr>
              <p:cNvSpPr>
                <a:spLocks noChangeArrowheads="1"/>
              </p:cNvSpPr>
              <p:nvPr/>
            </p:nvSpPr>
            <p:spPr bwMode="auto">
              <a:xfrm>
                <a:off x="1766" y="3026"/>
                <a:ext cx="96" cy="6"/>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40" name="Rectangle 382">
                <a:extLst>
                  <a:ext uri="{FF2B5EF4-FFF2-40B4-BE49-F238E27FC236}">
                    <a16:creationId xmlns:a16="http://schemas.microsoft.com/office/drawing/2014/main" id="{E0C694CE-B4A5-40FB-9A94-444FAC3D5AF2}"/>
                  </a:ext>
                </a:extLst>
              </p:cNvPr>
              <p:cNvSpPr>
                <a:spLocks noChangeArrowheads="1"/>
              </p:cNvSpPr>
              <p:nvPr/>
            </p:nvSpPr>
            <p:spPr bwMode="auto">
              <a:xfrm>
                <a:off x="1766" y="3032"/>
                <a:ext cx="96" cy="6"/>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41" name="Rectangle 383">
                <a:extLst>
                  <a:ext uri="{FF2B5EF4-FFF2-40B4-BE49-F238E27FC236}">
                    <a16:creationId xmlns:a16="http://schemas.microsoft.com/office/drawing/2014/main" id="{3ED1FEB6-C5C4-4651-8C14-216201FFE287}"/>
                  </a:ext>
                </a:extLst>
              </p:cNvPr>
              <p:cNvSpPr>
                <a:spLocks noChangeArrowheads="1"/>
              </p:cNvSpPr>
              <p:nvPr/>
            </p:nvSpPr>
            <p:spPr bwMode="auto">
              <a:xfrm>
                <a:off x="1766" y="3038"/>
                <a:ext cx="96" cy="5"/>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42" name="Rectangle 384">
                <a:extLst>
                  <a:ext uri="{FF2B5EF4-FFF2-40B4-BE49-F238E27FC236}">
                    <a16:creationId xmlns:a16="http://schemas.microsoft.com/office/drawing/2014/main" id="{4399F451-0E9F-4197-8761-AB7CBD549837}"/>
                  </a:ext>
                </a:extLst>
              </p:cNvPr>
              <p:cNvSpPr>
                <a:spLocks noChangeArrowheads="1"/>
              </p:cNvSpPr>
              <p:nvPr/>
            </p:nvSpPr>
            <p:spPr bwMode="auto">
              <a:xfrm>
                <a:off x="1766" y="3043"/>
                <a:ext cx="96" cy="12"/>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43" name="Rectangle 385">
                <a:extLst>
                  <a:ext uri="{FF2B5EF4-FFF2-40B4-BE49-F238E27FC236}">
                    <a16:creationId xmlns:a16="http://schemas.microsoft.com/office/drawing/2014/main" id="{A9A37214-97FE-453B-A91D-BE18796F14E0}"/>
                  </a:ext>
                </a:extLst>
              </p:cNvPr>
              <p:cNvSpPr>
                <a:spLocks noChangeArrowheads="1"/>
              </p:cNvSpPr>
              <p:nvPr/>
            </p:nvSpPr>
            <p:spPr bwMode="auto">
              <a:xfrm>
                <a:off x="1766" y="3055"/>
                <a:ext cx="96" cy="5"/>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44" name="Rectangle 386">
                <a:extLst>
                  <a:ext uri="{FF2B5EF4-FFF2-40B4-BE49-F238E27FC236}">
                    <a16:creationId xmlns:a16="http://schemas.microsoft.com/office/drawing/2014/main" id="{2F0F7822-7964-434E-AA5A-2B965E9824A0}"/>
                  </a:ext>
                </a:extLst>
              </p:cNvPr>
              <p:cNvSpPr>
                <a:spLocks noChangeArrowheads="1"/>
              </p:cNvSpPr>
              <p:nvPr/>
            </p:nvSpPr>
            <p:spPr bwMode="auto">
              <a:xfrm>
                <a:off x="1766" y="3060"/>
                <a:ext cx="96" cy="6"/>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45" name="Rectangle 387">
                <a:extLst>
                  <a:ext uri="{FF2B5EF4-FFF2-40B4-BE49-F238E27FC236}">
                    <a16:creationId xmlns:a16="http://schemas.microsoft.com/office/drawing/2014/main" id="{86B46610-F476-49C3-B527-9BC7B82D8F6E}"/>
                  </a:ext>
                </a:extLst>
              </p:cNvPr>
              <p:cNvSpPr>
                <a:spLocks noChangeArrowheads="1"/>
              </p:cNvSpPr>
              <p:nvPr/>
            </p:nvSpPr>
            <p:spPr bwMode="auto">
              <a:xfrm>
                <a:off x="1766" y="3066"/>
                <a:ext cx="96" cy="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46" name="Rectangle 388">
                <a:extLst>
                  <a:ext uri="{FF2B5EF4-FFF2-40B4-BE49-F238E27FC236}">
                    <a16:creationId xmlns:a16="http://schemas.microsoft.com/office/drawing/2014/main" id="{A192E352-5B2B-4D53-AB38-BB4F9E2B8C72}"/>
                  </a:ext>
                </a:extLst>
              </p:cNvPr>
              <p:cNvSpPr>
                <a:spLocks noChangeArrowheads="1"/>
              </p:cNvSpPr>
              <p:nvPr/>
            </p:nvSpPr>
            <p:spPr bwMode="auto">
              <a:xfrm>
                <a:off x="1766" y="3072"/>
                <a:ext cx="96" cy="5"/>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47" name="Rectangle 389">
                <a:extLst>
                  <a:ext uri="{FF2B5EF4-FFF2-40B4-BE49-F238E27FC236}">
                    <a16:creationId xmlns:a16="http://schemas.microsoft.com/office/drawing/2014/main" id="{57ACD6B6-AB3A-430F-B159-027F6B94612F}"/>
                  </a:ext>
                </a:extLst>
              </p:cNvPr>
              <p:cNvSpPr>
                <a:spLocks noChangeArrowheads="1"/>
              </p:cNvSpPr>
              <p:nvPr/>
            </p:nvSpPr>
            <p:spPr bwMode="auto">
              <a:xfrm>
                <a:off x="1766" y="3077"/>
                <a:ext cx="96" cy="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48" name="Rectangle 390">
                <a:extLst>
                  <a:ext uri="{FF2B5EF4-FFF2-40B4-BE49-F238E27FC236}">
                    <a16:creationId xmlns:a16="http://schemas.microsoft.com/office/drawing/2014/main" id="{B92713AA-AB62-4142-AFCC-625391D269C3}"/>
                  </a:ext>
                </a:extLst>
              </p:cNvPr>
              <p:cNvSpPr>
                <a:spLocks noChangeArrowheads="1"/>
              </p:cNvSpPr>
              <p:nvPr/>
            </p:nvSpPr>
            <p:spPr bwMode="auto">
              <a:xfrm>
                <a:off x="1766" y="3083"/>
                <a:ext cx="96" cy="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49" name="Rectangle 391">
                <a:extLst>
                  <a:ext uri="{FF2B5EF4-FFF2-40B4-BE49-F238E27FC236}">
                    <a16:creationId xmlns:a16="http://schemas.microsoft.com/office/drawing/2014/main" id="{2D005902-49E1-41EC-B08B-40906B2EF540}"/>
                  </a:ext>
                </a:extLst>
              </p:cNvPr>
              <p:cNvSpPr>
                <a:spLocks noChangeArrowheads="1"/>
              </p:cNvSpPr>
              <p:nvPr/>
            </p:nvSpPr>
            <p:spPr bwMode="auto">
              <a:xfrm>
                <a:off x="1766" y="3089"/>
                <a:ext cx="96" cy="5"/>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50" name="Rectangle 392">
                <a:extLst>
                  <a:ext uri="{FF2B5EF4-FFF2-40B4-BE49-F238E27FC236}">
                    <a16:creationId xmlns:a16="http://schemas.microsoft.com/office/drawing/2014/main" id="{C10C191A-0C3F-4D1D-A642-30ADE7275CCB}"/>
                  </a:ext>
                </a:extLst>
              </p:cNvPr>
              <p:cNvSpPr>
                <a:spLocks noChangeArrowheads="1"/>
              </p:cNvSpPr>
              <p:nvPr/>
            </p:nvSpPr>
            <p:spPr bwMode="auto">
              <a:xfrm>
                <a:off x="1766" y="3094"/>
                <a:ext cx="96" cy="6"/>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51" name="Freeform 393">
                <a:extLst>
                  <a:ext uri="{FF2B5EF4-FFF2-40B4-BE49-F238E27FC236}">
                    <a16:creationId xmlns:a16="http://schemas.microsoft.com/office/drawing/2014/main" id="{414B8531-EF11-4A4E-AC4A-3ED02CC0CEF5}"/>
                  </a:ext>
                </a:extLst>
              </p:cNvPr>
              <p:cNvSpPr>
                <a:spLocks/>
              </p:cNvSpPr>
              <p:nvPr/>
            </p:nvSpPr>
            <p:spPr bwMode="auto">
              <a:xfrm>
                <a:off x="1774" y="3009"/>
                <a:ext cx="81" cy="81"/>
              </a:xfrm>
              <a:custGeom>
                <a:avLst/>
                <a:gdLst>
                  <a:gd name="T0" fmla="*/ 0 w 81"/>
                  <a:gd name="T1" fmla="*/ 41 h 81"/>
                  <a:gd name="T2" fmla="*/ 40 w 81"/>
                  <a:gd name="T3" fmla="*/ 0 h 81"/>
                  <a:gd name="T4" fmla="*/ 81 w 81"/>
                  <a:gd name="T5" fmla="*/ 41 h 81"/>
                  <a:gd name="T6" fmla="*/ 81 w 81"/>
                  <a:gd name="T7" fmla="*/ 41 h 81"/>
                  <a:gd name="T8" fmla="*/ 40 w 81"/>
                  <a:gd name="T9" fmla="*/ 81 h 81"/>
                  <a:gd name="T10" fmla="*/ 0 w 81"/>
                  <a:gd name="T11" fmla="*/ 41 h 81"/>
                  <a:gd name="T12" fmla="*/ 0 60000 65536"/>
                  <a:gd name="T13" fmla="*/ 0 60000 65536"/>
                  <a:gd name="T14" fmla="*/ 0 60000 65536"/>
                  <a:gd name="T15" fmla="*/ 0 60000 65536"/>
                  <a:gd name="T16" fmla="*/ 0 60000 65536"/>
                  <a:gd name="T17" fmla="*/ 0 60000 65536"/>
                  <a:gd name="T18" fmla="*/ 0 w 81"/>
                  <a:gd name="T19" fmla="*/ 0 h 81"/>
                  <a:gd name="T20" fmla="*/ 81 w 81"/>
                  <a:gd name="T21" fmla="*/ 81 h 81"/>
                </a:gdLst>
                <a:ahLst/>
                <a:cxnLst>
                  <a:cxn ang="T12">
                    <a:pos x="T0" y="T1"/>
                  </a:cxn>
                  <a:cxn ang="T13">
                    <a:pos x="T2" y="T3"/>
                  </a:cxn>
                  <a:cxn ang="T14">
                    <a:pos x="T4" y="T5"/>
                  </a:cxn>
                  <a:cxn ang="T15">
                    <a:pos x="T6" y="T7"/>
                  </a:cxn>
                  <a:cxn ang="T16">
                    <a:pos x="T8" y="T9"/>
                  </a:cxn>
                  <a:cxn ang="T17">
                    <a:pos x="T10" y="T11"/>
                  </a:cxn>
                </a:cxnLst>
                <a:rect l="T18" t="T19" r="T20" b="T21"/>
                <a:pathLst>
                  <a:path w="81" h="81">
                    <a:moveTo>
                      <a:pt x="0" y="41"/>
                    </a:moveTo>
                    <a:cubicBezTo>
                      <a:pt x="0" y="18"/>
                      <a:pt x="18" y="0"/>
                      <a:pt x="40" y="0"/>
                    </a:cubicBezTo>
                    <a:cubicBezTo>
                      <a:pt x="63" y="0"/>
                      <a:pt x="81" y="18"/>
                      <a:pt x="81" y="41"/>
                    </a:cubicBezTo>
                    <a:cubicBezTo>
                      <a:pt x="81" y="41"/>
                      <a:pt x="81" y="41"/>
                      <a:pt x="81" y="41"/>
                    </a:cubicBezTo>
                    <a:cubicBezTo>
                      <a:pt x="81" y="63"/>
                      <a:pt x="63" y="81"/>
                      <a:pt x="40" y="81"/>
                    </a:cubicBezTo>
                    <a:cubicBezTo>
                      <a:pt x="18" y="81"/>
                      <a:pt x="0" y="63"/>
                      <a:pt x="0" y="41"/>
                    </a:cubicBezTo>
                  </a:path>
                </a:pathLst>
              </a:custGeom>
              <a:noFill/>
              <a:ln w="2" cap="rnd">
                <a:solidFill>
                  <a:srgbClr val="40404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252" name="Rectangle 394">
                <a:extLst>
                  <a:ext uri="{FF2B5EF4-FFF2-40B4-BE49-F238E27FC236}">
                    <a16:creationId xmlns:a16="http://schemas.microsoft.com/office/drawing/2014/main" id="{BD5C8F31-C037-4248-950A-76322979DFFA}"/>
                  </a:ext>
                </a:extLst>
              </p:cNvPr>
              <p:cNvSpPr>
                <a:spLocks noChangeArrowheads="1"/>
              </p:cNvSpPr>
              <p:nvPr/>
            </p:nvSpPr>
            <p:spPr bwMode="auto">
              <a:xfrm>
                <a:off x="1687" y="3162"/>
                <a:ext cx="96" cy="6"/>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53" name="Rectangle 395">
                <a:extLst>
                  <a:ext uri="{FF2B5EF4-FFF2-40B4-BE49-F238E27FC236}">
                    <a16:creationId xmlns:a16="http://schemas.microsoft.com/office/drawing/2014/main" id="{45CA9A9F-651C-4F5A-88C4-F1014C0D6148}"/>
                  </a:ext>
                </a:extLst>
              </p:cNvPr>
              <p:cNvSpPr>
                <a:spLocks noChangeArrowheads="1"/>
              </p:cNvSpPr>
              <p:nvPr/>
            </p:nvSpPr>
            <p:spPr bwMode="auto">
              <a:xfrm>
                <a:off x="1687" y="3168"/>
                <a:ext cx="96" cy="6"/>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54" name="Rectangle 396">
                <a:extLst>
                  <a:ext uri="{FF2B5EF4-FFF2-40B4-BE49-F238E27FC236}">
                    <a16:creationId xmlns:a16="http://schemas.microsoft.com/office/drawing/2014/main" id="{96C234A0-2FC8-455E-A5B2-B8D725DA85C8}"/>
                  </a:ext>
                </a:extLst>
              </p:cNvPr>
              <p:cNvSpPr>
                <a:spLocks noChangeArrowheads="1"/>
              </p:cNvSpPr>
              <p:nvPr/>
            </p:nvSpPr>
            <p:spPr bwMode="auto">
              <a:xfrm>
                <a:off x="1687" y="3174"/>
                <a:ext cx="96" cy="5"/>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55" name="Rectangle 397">
                <a:extLst>
                  <a:ext uri="{FF2B5EF4-FFF2-40B4-BE49-F238E27FC236}">
                    <a16:creationId xmlns:a16="http://schemas.microsoft.com/office/drawing/2014/main" id="{D64CEC53-2E54-437F-A02C-B30F14123715}"/>
                  </a:ext>
                </a:extLst>
              </p:cNvPr>
              <p:cNvSpPr>
                <a:spLocks noChangeArrowheads="1"/>
              </p:cNvSpPr>
              <p:nvPr/>
            </p:nvSpPr>
            <p:spPr bwMode="auto">
              <a:xfrm>
                <a:off x="1687" y="3179"/>
                <a:ext cx="96" cy="6"/>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56" name="Rectangle 398">
                <a:extLst>
                  <a:ext uri="{FF2B5EF4-FFF2-40B4-BE49-F238E27FC236}">
                    <a16:creationId xmlns:a16="http://schemas.microsoft.com/office/drawing/2014/main" id="{326203BB-7D54-436D-A26B-24037A257559}"/>
                  </a:ext>
                </a:extLst>
              </p:cNvPr>
              <p:cNvSpPr>
                <a:spLocks noChangeArrowheads="1"/>
              </p:cNvSpPr>
              <p:nvPr/>
            </p:nvSpPr>
            <p:spPr bwMode="auto">
              <a:xfrm>
                <a:off x="1687" y="3185"/>
                <a:ext cx="96" cy="6"/>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57" name="Rectangle 399">
                <a:extLst>
                  <a:ext uri="{FF2B5EF4-FFF2-40B4-BE49-F238E27FC236}">
                    <a16:creationId xmlns:a16="http://schemas.microsoft.com/office/drawing/2014/main" id="{F9B6D6EA-D6F7-474E-BBA2-B55AF647C856}"/>
                  </a:ext>
                </a:extLst>
              </p:cNvPr>
              <p:cNvSpPr>
                <a:spLocks noChangeArrowheads="1"/>
              </p:cNvSpPr>
              <p:nvPr/>
            </p:nvSpPr>
            <p:spPr bwMode="auto">
              <a:xfrm>
                <a:off x="1687" y="3191"/>
                <a:ext cx="96" cy="5"/>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58" name="Rectangle 400">
                <a:extLst>
                  <a:ext uri="{FF2B5EF4-FFF2-40B4-BE49-F238E27FC236}">
                    <a16:creationId xmlns:a16="http://schemas.microsoft.com/office/drawing/2014/main" id="{46538B1D-79CD-41CF-9390-7C3077F7EA01}"/>
                  </a:ext>
                </a:extLst>
              </p:cNvPr>
              <p:cNvSpPr>
                <a:spLocks noChangeArrowheads="1"/>
              </p:cNvSpPr>
              <p:nvPr/>
            </p:nvSpPr>
            <p:spPr bwMode="auto">
              <a:xfrm>
                <a:off x="1687" y="3196"/>
                <a:ext cx="96" cy="6"/>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59" name="Rectangle 401">
                <a:extLst>
                  <a:ext uri="{FF2B5EF4-FFF2-40B4-BE49-F238E27FC236}">
                    <a16:creationId xmlns:a16="http://schemas.microsoft.com/office/drawing/2014/main" id="{CED96217-2571-475C-96F3-250F484DDAA4}"/>
                  </a:ext>
                </a:extLst>
              </p:cNvPr>
              <p:cNvSpPr>
                <a:spLocks noChangeArrowheads="1"/>
              </p:cNvSpPr>
              <p:nvPr/>
            </p:nvSpPr>
            <p:spPr bwMode="auto">
              <a:xfrm>
                <a:off x="1687" y="3202"/>
                <a:ext cx="96" cy="11"/>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60" name="Rectangle 402">
                <a:extLst>
                  <a:ext uri="{FF2B5EF4-FFF2-40B4-BE49-F238E27FC236}">
                    <a16:creationId xmlns:a16="http://schemas.microsoft.com/office/drawing/2014/main" id="{B5551CD2-4851-4739-B8A3-C6C1B8E7CE42}"/>
                  </a:ext>
                </a:extLst>
              </p:cNvPr>
              <p:cNvSpPr>
                <a:spLocks noChangeArrowheads="1"/>
              </p:cNvSpPr>
              <p:nvPr/>
            </p:nvSpPr>
            <p:spPr bwMode="auto">
              <a:xfrm>
                <a:off x="1687" y="3213"/>
                <a:ext cx="96" cy="6"/>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61" name="Rectangle 403">
                <a:extLst>
                  <a:ext uri="{FF2B5EF4-FFF2-40B4-BE49-F238E27FC236}">
                    <a16:creationId xmlns:a16="http://schemas.microsoft.com/office/drawing/2014/main" id="{0F006162-C9CF-45CD-AFDF-2AC3033C3DBE}"/>
                  </a:ext>
                </a:extLst>
              </p:cNvPr>
              <p:cNvSpPr>
                <a:spLocks noChangeArrowheads="1"/>
              </p:cNvSpPr>
              <p:nvPr/>
            </p:nvSpPr>
            <p:spPr bwMode="auto">
              <a:xfrm>
                <a:off x="1687" y="3219"/>
                <a:ext cx="96" cy="6"/>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62" name="Rectangle 404">
                <a:extLst>
                  <a:ext uri="{FF2B5EF4-FFF2-40B4-BE49-F238E27FC236}">
                    <a16:creationId xmlns:a16="http://schemas.microsoft.com/office/drawing/2014/main" id="{266D1B01-6AF7-4BAA-9082-31843915406F}"/>
                  </a:ext>
                </a:extLst>
              </p:cNvPr>
              <p:cNvSpPr>
                <a:spLocks noChangeArrowheads="1"/>
              </p:cNvSpPr>
              <p:nvPr/>
            </p:nvSpPr>
            <p:spPr bwMode="auto">
              <a:xfrm>
                <a:off x="1687" y="3225"/>
                <a:ext cx="96" cy="5"/>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63" name="Rectangle 405">
                <a:extLst>
                  <a:ext uri="{FF2B5EF4-FFF2-40B4-BE49-F238E27FC236}">
                    <a16:creationId xmlns:a16="http://schemas.microsoft.com/office/drawing/2014/main" id="{5EB929FE-A6C6-49B7-8ED9-B03642B4AC3A}"/>
                  </a:ext>
                </a:extLst>
              </p:cNvPr>
              <p:cNvSpPr>
                <a:spLocks noChangeArrowheads="1"/>
              </p:cNvSpPr>
              <p:nvPr/>
            </p:nvSpPr>
            <p:spPr bwMode="auto">
              <a:xfrm>
                <a:off x="1687" y="3230"/>
                <a:ext cx="96" cy="6"/>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64" name="Rectangle 406">
                <a:extLst>
                  <a:ext uri="{FF2B5EF4-FFF2-40B4-BE49-F238E27FC236}">
                    <a16:creationId xmlns:a16="http://schemas.microsoft.com/office/drawing/2014/main" id="{D7FA54C1-B227-44AC-A076-ACDE47BD3842}"/>
                  </a:ext>
                </a:extLst>
              </p:cNvPr>
              <p:cNvSpPr>
                <a:spLocks noChangeArrowheads="1"/>
              </p:cNvSpPr>
              <p:nvPr/>
            </p:nvSpPr>
            <p:spPr bwMode="auto">
              <a:xfrm>
                <a:off x="1687" y="3236"/>
                <a:ext cx="96" cy="6"/>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65" name="Rectangle 407">
                <a:extLst>
                  <a:ext uri="{FF2B5EF4-FFF2-40B4-BE49-F238E27FC236}">
                    <a16:creationId xmlns:a16="http://schemas.microsoft.com/office/drawing/2014/main" id="{9095C70A-52D8-46DE-84FC-B63D5EBB2B66}"/>
                  </a:ext>
                </a:extLst>
              </p:cNvPr>
              <p:cNvSpPr>
                <a:spLocks noChangeArrowheads="1"/>
              </p:cNvSpPr>
              <p:nvPr/>
            </p:nvSpPr>
            <p:spPr bwMode="auto">
              <a:xfrm>
                <a:off x="1687" y="3242"/>
                <a:ext cx="96" cy="5"/>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66" name="Rectangle 408">
                <a:extLst>
                  <a:ext uri="{FF2B5EF4-FFF2-40B4-BE49-F238E27FC236}">
                    <a16:creationId xmlns:a16="http://schemas.microsoft.com/office/drawing/2014/main" id="{2FC768A9-CACE-48E8-AC9E-5711C14DAB69}"/>
                  </a:ext>
                </a:extLst>
              </p:cNvPr>
              <p:cNvSpPr>
                <a:spLocks noChangeArrowheads="1"/>
              </p:cNvSpPr>
              <p:nvPr/>
            </p:nvSpPr>
            <p:spPr bwMode="auto">
              <a:xfrm>
                <a:off x="1687" y="3247"/>
                <a:ext cx="96" cy="6"/>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67" name="Rectangle 409">
                <a:extLst>
                  <a:ext uri="{FF2B5EF4-FFF2-40B4-BE49-F238E27FC236}">
                    <a16:creationId xmlns:a16="http://schemas.microsoft.com/office/drawing/2014/main" id="{50E08717-96D7-4CE9-B4A7-72234C1DE328}"/>
                  </a:ext>
                </a:extLst>
              </p:cNvPr>
              <p:cNvSpPr>
                <a:spLocks noChangeArrowheads="1"/>
              </p:cNvSpPr>
              <p:nvPr/>
            </p:nvSpPr>
            <p:spPr bwMode="auto">
              <a:xfrm>
                <a:off x="1687" y="3253"/>
                <a:ext cx="96" cy="6"/>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68" name="Freeform 410">
                <a:extLst>
                  <a:ext uri="{FF2B5EF4-FFF2-40B4-BE49-F238E27FC236}">
                    <a16:creationId xmlns:a16="http://schemas.microsoft.com/office/drawing/2014/main" id="{D8CE2D28-E28C-4F96-9211-75434F8361D8}"/>
                  </a:ext>
                </a:extLst>
              </p:cNvPr>
              <p:cNvSpPr>
                <a:spLocks/>
              </p:cNvSpPr>
              <p:nvPr/>
            </p:nvSpPr>
            <p:spPr bwMode="auto">
              <a:xfrm>
                <a:off x="1694" y="3170"/>
                <a:ext cx="80" cy="80"/>
              </a:xfrm>
              <a:custGeom>
                <a:avLst/>
                <a:gdLst>
                  <a:gd name="T0" fmla="*/ 0 w 80"/>
                  <a:gd name="T1" fmla="*/ 40 h 80"/>
                  <a:gd name="T2" fmla="*/ 40 w 80"/>
                  <a:gd name="T3" fmla="*/ 0 h 80"/>
                  <a:gd name="T4" fmla="*/ 80 w 80"/>
                  <a:gd name="T5" fmla="*/ 40 h 80"/>
                  <a:gd name="T6" fmla="*/ 80 w 80"/>
                  <a:gd name="T7" fmla="*/ 40 h 80"/>
                  <a:gd name="T8" fmla="*/ 40 w 80"/>
                  <a:gd name="T9" fmla="*/ 80 h 80"/>
                  <a:gd name="T10" fmla="*/ 0 w 80"/>
                  <a:gd name="T11" fmla="*/ 40 h 80"/>
                  <a:gd name="T12" fmla="*/ 0 60000 65536"/>
                  <a:gd name="T13" fmla="*/ 0 60000 65536"/>
                  <a:gd name="T14" fmla="*/ 0 60000 65536"/>
                  <a:gd name="T15" fmla="*/ 0 60000 65536"/>
                  <a:gd name="T16" fmla="*/ 0 60000 65536"/>
                  <a:gd name="T17" fmla="*/ 0 60000 65536"/>
                  <a:gd name="T18" fmla="*/ 0 w 80"/>
                  <a:gd name="T19" fmla="*/ 0 h 80"/>
                  <a:gd name="T20" fmla="*/ 80 w 80"/>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80" h="80">
                    <a:moveTo>
                      <a:pt x="0" y="40"/>
                    </a:moveTo>
                    <a:cubicBezTo>
                      <a:pt x="0" y="18"/>
                      <a:pt x="18" y="0"/>
                      <a:pt x="40" y="0"/>
                    </a:cubicBezTo>
                    <a:cubicBezTo>
                      <a:pt x="62" y="0"/>
                      <a:pt x="80" y="18"/>
                      <a:pt x="80" y="40"/>
                    </a:cubicBezTo>
                    <a:cubicBezTo>
                      <a:pt x="80" y="40"/>
                      <a:pt x="80" y="40"/>
                      <a:pt x="80" y="40"/>
                    </a:cubicBezTo>
                    <a:cubicBezTo>
                      <a:pt x="80" y="62"/>
                      <a:pt x="62" y="80"/>
                      <a:pt x="40" y="80"/>
                    </a:cubicBezTo>
                    <a:cubicBezTo>
                      <a:pt x="18" y="80"/>
                      <a:pt x="0" y="62"/>
                      <a:pt x="0" y="40"/>
                    </a:cubicBezTo>
                  </a:path>
                </a:pathLst>
              </a:custGeom>
              <a:noFill/>
              <a:ln w="2" cap="rnd">
                <a:solidFill>
                  <a:srgbClr val="40404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269" name="Rectangle 411">
                <a:extLst>
                  <a:ext uri="{FF2B5EF4-FFF2-40B4-BE49-F238E27FC236}">
                    <a16:creationId xmlns:a16="http://schemas.microsoft.com/office/drawing/2014/main" id="{6F15FFA9-AC53-4365-AA69-851954C85D91}"/>
                  </a:ext>
                </a:extLst>
              </p:cNvPr>
              <p:cNvSpPr>
                <a:spLocks noChangeArrowheads="1"/>
              </p:cNvSpPr>
              <p:nvPr/>
            </p:nvSpPr>
            <p:spPr bwMode="auto">
              <a:xfrm>
                <a:off x="1607" y="3270"/>
                <a:ext cx="97" cy="6"/>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70" name="Rectangle 412">
                <a:extLst>
                  <a:ext uri="{FF2B5EF4-FFF2-40B4-BE49-F238E27FC236}">
                    <a16:creationId xmlns:a16="http://schemas.microsoft.com/office/drawing/2014/main" id="{74A1B0BD-3B20-4875-8EB0-00E1DD2978DC}"/>
                  </a:ext>
                </a:extLst>
              </p:cNvPr>
              <p:cNvSpPr>
                <a:spLocks noChangeArrowheads="1"/>
              </p:cNvSpPr>
              <p:nvPr/>
            </p:nvSpPr>
            <p:spPr bwMode="auto">
              <a:xfrm>
                <a:off x="1607" y="3276"/>
                <a:ext cx="97" cy="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71" name="Rectangle 413">
                <a:extLst>
                  <a:ext uri="{FF2B5EF4-FFF2-40B4-BE49-F238E27FC236}">
                    <a16:creationId xmlns:a16="http://schemas.microsoft.com/office/drawing/2014/main" id="{0E11E7E4-7576-4BA6-833E-A4EC01534A8A}"/>
                  </a:ext>
                </a:extLst>
              </p:cNvPr>
              <p:cNvSpPr>
                <a:spLocks noChangeArrowheads="1"/>
              </p:cNvSpPr>
              <p:nvPr/>
            </p:nvSpPr>
            <p:spPr bwMode="auto">
              <a:xfrm>
                <a:off x="1607" y="3281"/>
                <a:ext cx="97" cy="6"/>
              </a:xfrm>
              <a:prstGeom prst="rect">
                <a:avLst/>
              </a:prstGeom>
              <a:solidFill>
                <a:srgbClr val="FDFDF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72" name="Rectangle 414">
                <a:extLst>
                  <a:ext uri="{FF2B5EF4-FFF2-40B4-BE49-F238E27FC236}">
                    <a16:creationId xmlns:a16="http://schemas.microsoft.com/office/drawing/2014/main" id="{AE296430-4889-4E1F-BCD9-C18E1A4F11EE}"/>
                  </a:ext>
                </a:extLst>
              </p:cNvPr>
              <p:cNvSpPr>
                <a:spLocks noChangeArrowheads="1"/>
              </p:cNvSpPr>
              <p:nvPr/>
            </p:nvSpPr>
            <p:spPr bwMode="auto">
              <a:xfrm>
                <a:off x="1607" y="3287"/>
                <a:ext cx="97" cy="6"/>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273" name="Rectangle 415">
                <a:extLst>
                  <a:ext uri="{FF2B5EF4-FFF2-40B4-BE49-F238E27FC236}">
                    <a16:creationId xmlns:a16="http://schemas.microsoft.com/office/drawing/2014/main" id="{80EF7D9C-76B9-4AC0-A413-CA6B6D7D1052}"/>
                  </a:ext>
                </a:extLst>
              </p:cNvPr>
              <p:cNvSpPr>
                <a:spLocks noChangeArrowheads="1"/>
              </p:cNvSpPr>
              <p:nvPr/>
            </p:nvSpPr>
            <p:spPr bwMode="auto">
              <a:xfrm>
                <a:off x="1607" y="3293"/>
                <a:ext cx="97" cy="5"/>
              </a:xfrm>
              <a:prstGeom prst="rect">
                <a:avLst/>
              </a:prstGeom>
              <a:solidFill>
                <a:srgbClr val="FBFBF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grpSp>
        <p:sp>
          <p:nvSpPr>
            <p:cNvPr id="38" name="Rectangle 417">
              <a:extLst>
                <a:ext uri="{FF2B5EF4-FFF2-40B4-BE49-F238E27FC236}">
                  <a16:creationId xmlns:a16="http://schemas.microsoft.com/office/drawing/2014/main" id="{41F2A946-D1B6-4EA8-A995-AAFAF63F72C3}"/>
                </a:ext>
              </a:extLst>
            </p:cNvPr>
            <p:cNvSpPr>
              <a:spLocks noChangeArrowheads="1"/>
            </p:cNvSpPr>
            <p:nvPr/>
          </p:nvSpPr>
          <p:spPr bwMode="auto">
            <a:xfrm>
              <a:off x="1607" y="3298"/>
              <a:ext cx="97" cy="6"/>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39" name="Rectangle 418">
              <a:extLst>
                <a:ext uri="{FF2B5EF4-FFF2-40B4-BE49-F238E27FC236}">
                  <a16:creationId xmlns:a16="http://schemas.microsoft.com/office/drawing/2014/main" id="{7A629D68-4BA2-4729-A813-A17BCE4AF4C6}"/>
                </a:ext>
              </a:extLst>
            </p:cNvPr>
            <p:cNvSpPr>
              <a:spLocks noChangeArrowheads="1"/>
            </p:cNvSpPr>
            <p:nvPr/>
          </p:nvSpPr>
          <p:spPr bwMode="auto">
            <a:xfrm>
              <a:off x="1607" y="3304"/>
              <a:ext cx="97" cy="6"/>
            </a:xfrm>
            <a:prstGeom prst="rect">
              <a:avLst/>
            </a:prstGeom>
            <a:solidFill>
              <a:srgbClr val="F9F9F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0" name="Rectangle 419">
              <a:extLst>
                <a:ext uri="{FF2B5EF4-FFF2-40B4-BE49-F238E27FC236}">
                  <a16:creationId xmlns:a16="http://schemas.microsoft.com/office/drawing/2014/main" id="{E2FAC7DD-47D5-4B35-8CE1-E9B4060BBB50}"/>
                </a:ext>
              </a:extLst>
            </p:cNvPr>
            <p:cNvSpPr>
              <a:spLocks noChangeArrowheads="1"/>
            </p:cNvSpPr>
            <p:nvPr/>
          </p:nvSpPr>
          <p:spPr bwMode="auto">
            <a:xfrm>
              <a:off x="1607" y="3310"/>
              <a:ext cx="97" cy="11"/>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1" name="Rectangle 420">
              <a:extLst>
                <a:ext uri="{FF2B5EF4-FFF2-40B4-BE49-F238E27FC236}">
                  <a16:creationId xmlns:a16="http://schemas.microsoft.com/office/drawing/2014/main" id="{03A4F9D8-F3A4-49D2-AFC6-FD21C87FA1A3}"/>
                </a:ext>
              </a:extLst>
            </p:cNvPr>
            <p:cNvSpPr>
              <a:spLocks noChangeArrowheads="1"/>
            </p:cNvSpPr>
            <p:nvPr/>
          </p:nvSpPr>
          <p:spPr bwMode="auto">
            <a:xfrm>
              <a:off x="1607" y="3321"/>
              <a:ext cx="97" cy="6"/>
            </a:xfrm>
            <a:prstGeom prst="rect">
              <a:avLst/>
            </a:prstGeom>
            <a:solidFill>
              <a:srgbClr val="F7F7F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2" name="Rectangle 421">
              <a:extLst>
                <a:ext uri="{FF2B5EF4-FFF2-40B4-BE49-F238E27FC236}">
                  <a16:creationId xmlns:a16="http://schemas.microsoft.com/office/drawing/2014/main" id="{4B7A3AA1-7ACC-47AE-B8B4-651A3D8AD8A2}"/>
                </a:ext>
              </a:extLst>
            </p:cNvPr>
            <p:cNvSpPr>
              <a:spLocks noChangeArrowheads="1"/>
            </p:cNvSpPr>
            <p:nvPr/>
          </p:nvSpPr>
          <p:spPr bwMode="auto">
            <a:xfrm>
              <a:off x="1607" y="3327"/>
              <a:ext cx="97" cy="5"/>
            </a:xfrm>
            <a:prstGeom prst="rect">
              <a:avLst/>
            </a:prstGeom>
            <a:solidFill>
              <a:srgbClr val="F6F6F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3" name="Rectangle 422">
              <a:extLst>
                <a:ext uri="{FF2B5EF4-FFF2-40B4-BE49-F238E27FC236}">
                  <a16:creationId xmlns:a16="http://schemas.microsoft.com/office/drawing/2014/main" id="{B37EA046-1D69-4DC7-87B9-2991377C7E6D}"/>
                </a:ext>
              </a:extLst>
            </p:cNvPr>
            <p:cNvSpPr>
              <a:spLocks noChangeArrowheads="1"/>
            </p:cNvSpPr>
            <p:nvPr/>
          </p:nvSpPr>
          <p:spPr bwMode="auto">
            <a:xfrm>
              <a:off x="1607" y="3332"/>
              <a:ext cx="97" cy="6"/>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44" name="Rectangle 423">
              <a:extLst>
                <a:ext uri="{FF2B5EF4-FFF2-40B4-BE49-F238E27FC236}">
                  <a16:creationId xmlns:a16="http://schemas.microsoft.com/office/drawing/2014/main" id="{71B955F3-DF83-4A61-A679-89F8631F4B55}"/>
                </a:ext>
              </a:extLst>
            </p:cNvPr>
            <p:cNvSpPr>
              <a:spLocks noChangeArrowheads="1"/>
            </p:cNvSpPr>
            <p:nvPr/>
          </p:nvSpPr>
          <p:spPr bwMode="auto">
            <a:xfrm>
              <a:off x="1607" y="3338"/>
              <a:ext cx="97" cy="6"/>
            </a:xfrm>
            <a:prstGeom prst="rect">
              <a:avLst/>
            </a:prstGeom>
            <a:solidFill>
              <a:srgbClr val="F4F4F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56" name="Rectangle 424">
              <a:extLst>
                <a:ext uri="{FF2B5EF4-FFF2-40B4-BE49-F238E27FC236}">
                  <a16:creationId xmlns:a16="http://schemas.microsoft.com/office/drawing/2014/main" id="{3835EA4E-BED5-49DF-934E-E9B37BF15290}"/>
                </a:ext>
              </a:extLst>
            </p:cNvPr>
            <p:cNvSpPr>
              <a:spLocks noChangeArrowheads="1"/>
            </p:cNvSpPr>
            <p:nvPr/>
          </p:nvSpPr>
          <p:spPr bwMode="auto">
            <a:xfrm>
              <a:off x="1607" y="3344"/>
              <a:ext cx="97" cy="5"/>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57" name="Rectangle 425">
              <a:extLst>
                <a:ext uri="{FF2B5EF4-FFF2-40B4-BE49-F238E27FC236}">
                  <a16:creationId xmlns:a16="http://schemas.microsoft.com/office/drawing/2014/main" id="{00948723-1752-4475-AA24-F17FC4AF5BE2}"/>
                </a:ext>
              </a:extLst>
            </p:cNvPr>
            <p:cNvSpPr>
              <a:spLocks noChangeArrowheads="1"/>
            </p:cNvSpPr>
            <p:nvPr/>
          </p:nvSpPr>
          <p:spPr bwMode="auto">
            <a:xfrm>
              <a:off x="1607" y="3349"/>
              <a:ext cx="97" cy="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58" name="Rectangle 426">
              <a:extLst>
                <a:ext uri="{FF2B5EF4-FFF2-40B4-BE49-F238E27FC236}">
                  <a16:creationId xmlns:a16="http://schemas.microsoft.com/office/drawing/2014/main" id="{A00D368F-03CE-4C63-A251-909E6AEDC5F9}"/>
                </a:ext>
              </a:extLst>
            </p:cNvPr>
            <p:cNvSpPr>
              <a:spLocks noChangeArrowheads="1"/>
            </p:cNvSpPr>
            <p:nvPr/>
          </p:nvSpPr>
          <p:spPr bwMode="auto">
            <a:xfrm>
              <a:off x="1607" y="3355"/>
              <a:ext cx="97" cy="6"/>
            </a:xfrm>
            <a:prstGeom prst="rect">
              <a:avLst/>
            </a:prstGeom>
            <a:solidFill>
              <a:srgbClr val="F1F1F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59" name="Rectangle 427">
              <a:extLst>
                <a:ext uri="{FF2B5EF4-FFF2-40B4-BE49-F238E27FC236}">
                  <a16:creationId xmlns:a16="http://schemas.microsoft.com/office/drawing/2014/main" id="{4E90AB58-2551-4A36-A52B-F1DA4EE87300}"/>
                </a:ext>
              </a:extLst>
            </p:cNvPr>
            <p:cNvSpPr>
              <a:spLocks noChangeArrowheads="1"/>
            </p:cNvSpPr>
            <p:nvPr/>
          </p:nvSpPr>
          <p:spPr bwMode="auto">
            <a:xfrm>
              <a:off x="1607" y="3361"/>
              <a:ext cx="97" cy="5"/>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60" name="Freeform 428">
              <a:extLst>
                <a:ext uri="{FF2B5EF4-FFF2-40B4-BE49-F238E27FC236}">
                  <a16:creationId xmlns:a16="http://schemas.microsoft.com/office/drawing/2014/main" id="{73209CED-F845-4D38-81AB-C055D8F94547}"/>
                </a:ext>
              </a:extLst>
            </p:cNvPr>
            <p:cNvSpPr>
              <a:spLocks/>
            </p:cNvSpPr>
            <p:nvPr/>
          </p:nvSpPr>
          <p:spPr bwMode="auto">
            <a:xfrm>
              <a:off x="1614" y="3277"/>
              <a:ext cx="80" cy="80"/>
            </a:xfrm>
            <a:custGeom>
              <a:avLst/>
              <a:gdLst>
                <a:gd name="T0" fmla="*/ 0 w 80"/>
                <a:gd name="T1" fmla="*/ 40 h 80"/>
                <a:gd name="T2" fmla="*/ 40 w 80"/>
                <a:gd name="T3" fmla="*/ 0 h 80"/>
                <a:gd name="T4" fmla="*/ 80 w 80"/>
                <a:gd name="T5" fmla="*/ 40 h 80"/>
                <a:gd name="T6" fmla="*/ 80 w 80"/>
                <a:gd name="T7" fmla="*/ 40 h 80"/>
                <a:gd name="T8" fmla="*/ 40 w 80"/>
                <a:gd name="T9" fmla="*/ 80 h 80"/>
                <a:gd name="T10" fmla="*/ 0 w 80"/>
                <a:gd name="T11" fmla="*/ 40 h 80"/>
                <a:gd name="T12" fmla="*/ 0 60000 65536"/>
                <a:gd name="T13" fmla="*/ 0 60000 65536"/>
                <a:gd name="T14" fmla="*/ 0 60000 65536"/>
                <a:gd name="T15" fmla="*/ 0 60000 65536"/>
                <a:gd name="T16" fmla="*/ 0 60000 65536"/>
                <a:gd name="T17" fmla="*/ 0 60000 65536"/>
                <a:gd name="T18" fmla="*/ 0 w 80"/>
                <a:gd name="T19" fmla="*/ 0 h 80"/>
                <a:gd name="T20" fmla="*/ 80 w 80"/>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80" h="80">
                  <a:moveTo>
                    <a:pt x="0" y="40"/>
                  </a:moveTo>
                  <a:cubicBezTo>
                    <a:pt x="0" y="18"/>
                    <a:pt x="18" y="0"/>
                    <a:pt x="40" y="0"/>
                  </a:cubicBezTo>
                  <a:cubicBezTo>
                    <a:pt x="62" y="0"/>
                    <a:pt x="80" y="18"/>
                    <a:pt x="80" y="40"/>
                  </a:cubicBezTo>
                  <a:cubicBezTo>
                    <a:pt x="80" y="40"/>
                    <a:pt x="80" y="40"/>
                    <a:pt x="80" y="40"/>
                  </a:cubicBezTo>
                  <a:cubicBezTo>
                    <a:pt x="80" y="62"/>
                    <a:pt x="62" y="80"/>
                    <a:pt x="40" y="80"/>
                  </a:cubicBezTo>
                  <a:cubicBezTo>
                    <a:pt x="18" y="80"/>
                    <a:pt x="0" y="62"/>
                    <a:pt x="0" y="40"/>
                  </a:cubicBezTo>
                </a:path>
              </a:pathLst>
            </a:custGeom>
            <a:noFill/>
            <a:ln w="2" cap="rnd">
              <a:solidFill>
                <a:srgbClr val="40404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61" name="Rectangle 429">
              <a:extLst>
                <a:ext uri="{FF2B5EF4-FFF2-40B4-BE49-F238E27FC236}">
                  <a16:creationId xmlns:a16="http://schemas.microsoft.com/office/drawing/2014/main" id="{BA0EC433-0CA3-4FF2-88F0-1FF130B63B7C}"/>
                </a:ext>
              </a:extLst>
            </p:cNvPr>
            <p:cNvSpPr>
              <a:spLocks noChangeArrowheads="1"/>
            </p:cNvSpPr>
            <p:nvPr/>
          </p:nvSpPr>
          <p:spPr bwMode="auto">
            <a:xfrm>
              <a:off x="3311" y="2176"/>
              <a:ext cx="889" cy="499"/>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62" name="Freeform 430">
              <a:extLst>
                <a:ext uri="{FF2B5EF4-FFF2-40B4-BE49-F238E27FC236}">
                  <a16:creationId xmlns:a16="http://schemas.microsoft.com/office/drawing/2014/main" id="{C3FB0954-6265-4076-A58A-03643B451A35}"/>
                </a:ext>
              </a:extLst>
            </p:cNvPr>
            <p:cNvSpPr>
              <a:spLocks/>
            </p:cNvSpPr>
            <p:nvPr/>
          </p:nvSpPr>
          <p:spPr bwMode="auto">
            <a:xfrm>
              <a:off x="3311" y="2176"/>
              <a:ext cx="883" cy="493"/>
            </a:xfrm>
            <a:custGeom>
              <a:avLst/>
              <a:gdLst>
                <a:gd name="T0" fmla="*/ 0 w 883"/>
                <a:gd name="T1" fmla="*/ 250 h 493"/>
                <a:gd name="T2" fmla="*/ 244 w 883"/>
                <a:gd name="T3" fmla="*/ 493 h 493"/>
                <a:gd name="T4" fmla="*/ 244 w 883"/>
                <a:gd name="T5" fmla="*/ 335 h 493"/>
                <a:gd name="T6" fmla="*/ 883 w 883"/>
                <a:gd name="T7" fmla="*/ 335 h 493"/>
                <a:gd name="T8" fmla="*/ 883 w 883"/>
                <a:gd name="T9" fmla="*/ 170 h 493"/>
                <a:gd name="T10" fmla="*/ 244 w 883"/>
                <a:gd name="T11" fmla="*/ 165 h 493"/>
                <a:gd name="T12" fmla="*/ 249 w 883"/>
                <a:gd name="T13" fmla="*/ 0 h 493"/>
                <a:gd name="T14" fmla="*/ 0 w 883"/>
                <a:gd name="T15" fmla="*/ 250 h 493"/>
                <a:gd name="T16" fmla="*/ 0 60000 65536"/>
                <a:gd name="T17" fmla="*/ 0 60000 65536"/>
                <a:gd name="T18" fmla="*/ 0 60000 65536"/>
                <a:gd name="T19" fmla="*/ 0 60000 65536"/>
                <a:gd name="T20" fmla="*/ 0 60000 65536"/>
                <a:gd name="T21" fmla="*/ 0 60000 65536"/>
                <a:gd name="T22" fmla="*/ 0 60000 65536"/>
                <a:gd name="T23" fmla="*/ 0 60000 65536"/>
                <a:gd name="T24" fmla="*/ 0 w 883"/>
                <a:gd name="T25" fmla="*/ 0 h 493"/>
                <a:gd name="T26" fmla="*/ 883 w 883"/>
                <a:gd name="T27" fmla="*/ 493 h 4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3" h="493">
                  <a:moveTo>
                    <a:pt x="0" y="250"/>
                  </a:moveTo>
                  <a:lnTo>
                    <a:pt x="244" y="493"/>
                  </a:lnTo>
                  <a:lnTo>
                    <a:pt x="244" y="335"/>
                  </a:lnTo>
                  <a:lnTo>
                    <a:pt x="883" y="335"/>
                  </a:lnTo>
                  <a:lnTo>
                    <a:pt x="883" y="170"/>
                  </a:lnTo>
                  <a:lnTo>
                    <a:pt x="244" y="165"/>
                  </a:lnTo>
                  <a:lnTo>
                    <a:pt x="249" y="0"/>
                  </a:lnTo>
                  <a:lnTo>
                    <a:pt x="0" y="2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63" name="Rectangle 431">
              <a:extLst>
                <a:ext uri="{FF2B5EF4-FFF2-40B4-BE49-F238E27FC236}">
                  <a16:creationId xmlns:a16="http://schemas.microsoft.com/office/drawing/2014/main" id="{03900173-E90D-4ADD-8998-80AAED44A367}"/>
                </a:ext>
              </a:extLst>
            </p:cNvPr>
            <p:cNvSpPr>
              <a:spLocks noChangeArrowheads="1"/>
            </p:cNvSpPr>
            <p:nvPr/>
          </p:nvSpPr>
          <p:spPr bwMode="auto">
            <a:xfrm>
              <a:off x="3311" y="2176"/>
              <a:ext cx="889" cy="499"/>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64" name="Rectangle 432">
              <a:extLst>
                <a:ext uri="{FF2B5EF4-FFF2-40B4-BE49-F238E27FC236}">
                  <a16:creationId xmlns:a16="http://schemas.microsoft.com/office/drawing/2014/main" id="{B676FAC1-CB11-426C-9BDC-BBDA528098AF}"/>
                </a:ext>
              </a:extLst>
            </p:cNvPr>
            <p:cNvSpPr>
              <a:spLocks noChangeArrowheads="1"/>
            </p:cNvSpPr>
            <p:nvPr/>
          </p:nvSpPr>
          <p:spPr bwMode="auto">
            <a:xfrm>
              <a:off x="3305" y="2171"/>
              <a:ext cx="895" cy="510"/>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sp>
          <p:nvSpPr>
            <p:cNvPr id="65" name="Freeform 433">
              <a:extLst>
                <a:ext uri="{FF2B5EF4-FFF2-40B4-BE49-F238E27FC236}">
                  <a16:creationId xmlns:a16="http://schemas.microsoft.com/office/drawing/2014/main" id="{8A2F7E52-AC0B-4C11-B25B-E3039E0B8518}"/>
                </a:ext>
              </a:extLst>
            </p:cNvPr>
            <p:cNvSpPr>
              <a:spLocks/>
            </p:cNvSpPr>
            <p:nvPr/>
          </p:nvSpPr>
          <p:spPr bwMode="auto">
            <a:xfrm>
              <a:off x="3308" y="2174"/>
              <a:ext cx="889" cy="499"/>
            </a:xfrm>
            <a:custGeom>
              <a:avLst/>
              <a:gdLst>
                <a:gd name="T0" fmla="*/ 0 w 2512"/>
                <a:gd name="T1" fmla="*/ 0 h 1409"/>
                <a:gd name="T2" fmla="*/ 0 w 2512"/>
                <a:gd name="T3" fmla="*/ 0 h 1409"/>
                <a:gd name="T4" fmla="*/ 0 w 2512"/>
                <a:gd name="T5" fmla="*/ 0 h 1409"/>
                <a:gd name="T6" fmla="*/ 0 w 2512"/>
                <a:gd name="T7" fmla="*/ 0 h 1409"/>
                <a:gd name="T8" fmla="*/ 0 w 2512"/>
                <a:gd name="T9" fmla="*/ 0 h 1409"/>
                <a:gd name="T10" fmla="*/ 0 w 2512"/>
                <a:gd name="T11" fmla="*/ 0 h 1409"/>
                <a:gd name="T12" fmla="*/ 0 w 2512"/>
                <a:gd name="T13" fmla="*/ 0 h 1409"/>
                <a:gd name="T14" fmla="*/ 0 w 2512"/>
                <a:gd name="T15" fmla="*/ 0 h 1409"/>
                <a:gd name="T16" fmla="*/ 0 w 2512"/>
                <a:gd name="T17" fmla="*/ 0 h 1409"/>
                <a:gd name="T18" fmla="*/ 0 w 2512"/>
                <a:gd name="T19" fmla="*/ 0 h 1409"/>
                <a:gd name="T20" fmla="*/ 0 w 2512"/>
                <a:gd name="T21" fmla="*/ 0 h 1409"/>
                <a:gd name="T22" fmla="*/ 0 w 2512"/>
                <a:gd name="T23" fmla="*/ 0 h 1409"/>
                <a:gd name="T24" fmla="*/ 0 w 2512"/>
                <a:gd name="T25" fmla="*/ 0 h 1409"/>
                <a:gd name="T26" fmla="*/ 0 w 2512"/>
                <a:gd name="T27" fmla="*/ 0 h 1409"/>
                <a:gd name="T28" fmla="*/ 0 w 2512"/>
                <a:gd name="T29" fmla="*/ 0 h 1409"/>
                <a:gd name="T30" fmla="*/ 0 w 2512"/>
                <a:gd name="T31" fmla="*/ 0 h 1409"/>
                <a:gd name="T32" fmla="*/ 0 w 2512"/>
                <a:gd name="T33" fmla="*/ 0 h 1409"/>
                <a:gd name="T34" fmla="*/ 0 w 2512"/>
                <a:gd name="T35" fmla="*/ 0 h 1409"/>
                <a:gd name="T36" fmla="*/ 0 w 2512"/>
                <a:gd name="T37" fmla="*/ 0 h 1409"/>
                <a:gd name="T38" fmla="*/ 0 w 2512"/>
                <a:gd name="T39" fmla="*/ 0 h 1409"/>
                <a:gd name="T40" fmla="*/ 0 w 2512"/>
                <a:gd name="T41" fmla="*/ 0 h 1409"/>
                <a:gd name="T42" fmla="*/ 0 w 2512"/>
                <a:gd name="T43" fmla="*/ 0 h 1409"/>
                <a:gd name="T44" fmla="*/ 0 w 2512"/>
                <a:gd name="T45" fmla="*/ 0 h 1409"/>
                <a:gd name="T46" fmla="*/ 0 w 2512"/>
                <a:gd name="T47" fmla="*/ 0 h 1409"/>
                <a:gd name="T48" fmla="*/ 0 w 2512"/>
                <a:gd name="T49" fmla="*/ 0 h 1409"/>
                <a:gd name="T50" fmla="*/ 0 w 2512"/>
                <a:gd name="T51" fmla="*/ 0 h 1409"/>
                <a:gd name="T52" fmla="*/ 0 w 2512"/>
                <a:gd name="T53" fmla="*/ 0 h 1409"/>
                <a:gd name="T54" fmla="*/ 0 w 2512"/>
                <a:gd name="T55" fmla="*/ 0 h 1409"/>
                <a:gd name="T56" fmla="*/ 0 w 2512"/>
                <a:gd name="T57" fmla="*/ 0 h 1409"/>
                <a:gd name="T58" fmla="*/ 0 w 2512"/>
                <a:gd name="T59" fmla="*/ 0 h 1409"/>
                <a:gd name="T60" fmla="*/ 0 w 2512"/>
                <a:gd name="T61" fmla="*/ 0 h 1409"/>
                <a:gd name="T62" fmla="*/ 0 w 2512"/>
                <a:gd name="T63" fmla="*/ 0 h 1409"/>
                <a:gd name="T64" fmla="*/ 0 w 2512"/>
                <a:gd name="T65" fmla="*/ 0 h 1409"/>
                <a:gd name="T66" fmla="*/ 0 w 2512"/>
                <a:gd name="T67" fmla="*/ 0 h 140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12"/>
                <a:gd name="T103" fmla="*/ 0 h 1409"/>
                <a:gd name="T104" fmla="*/ 2512 w 2512"/>
                <a:gd name="T105" fmla="*/ 1409 h 140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12" h="1409">
                  <a:moveTo>
                    <a:pt x="14" y="707"/>
                  </a:moveTo>
                  <a:lnTo>
                    <a:pt x="702" y="1395"/>
                  </a:lnTo>
                  <a:lnTo>
                    <a:pt x="688" y="1400"/>
                  </a:lnTo>
                  <a:lnTo>
                    <a:pt x="688" y="952"/>
                  </a:lnTo>
                  <a:cubicBezTo>
                    <a:pt x="688" y="948"/>
                    <a:pt x="692" y="944"/>
                    <a:pt x="696" y="944"/>
                  </a:cubicBezTo>
                  <a:lnTo>
                    <a:pt x="2504" y="944"/>
                  </a:lnTo>
                  <a:lnTo>
                    <a:pt x="2496" y="952"/>
                  </a:lnTo>
                  <a:lnTo>
                    <a:pt x="2496" y="488"/>
                  </a:lnTo>
                  <a:lnTo>
                    <a:pt x="2504" y="496"/>
                  </a:lnTo>
                  <a:lnTo>
                    <a:pt x="696" y="480"/>
                  </a:lnTo>
                  <a:cubicBezTo>
                    <a:pt x="694" y="480"/>
                    <a:pt x="692" y="480"/>
                    <a:pt x="691" y="478"/>
                  </a:cubicBezTo>
                  <a:cubicBezTo>
                    <a:pt x="689" y="476"/>
                    <a:pt x="688" y="474"/>
                    <a:pt x="688" y="472"/>
                  </a:cubicBezTo>
                  <a:lnTo>
                    <a:pt x="704" y="8"/>
                  </a:lnTo>
                  <a:lnTo>
                    <a:pt x="718" y="14"/>
                  </a:lnTo>
                  <a:lnTo>
                    <a:pt x="14" y="718"/>
                  </a:lnTo>
                  <a:cubicBezTo>
                    <a:pt x="11" y="721"/>
                    <a:pt x="6" y="721"/>
                    <a:pt x="3" y="718"/>
                  </a:cubicBezTo>
                  <a:cubicBezTo>
                    <a:pt x="0" y="715"/>
                    <a:pt x="0" y="710"/>
                    <a:pt x="3" y="707"/>
                  </a:cubicBezTo>
                  <a:lnTo>
                    <a:pt x="707" y="3"/>
                  </a:lnTo>
                  <a:cubicBezTo>
                    <a:pt x="709" y="0"/>
                    <a:pt x="713" y="0"/>
                    <a:pt x="716" y="1"/>
                  </a:cubicBezTo>
                  <a:cubicBezTo>
                    <a:pt x="719" y="2"/>
                    <a:pt x="721" y="5"/>
                    <a:pt x="720" y="9"/>
                  </a:cubicBezTo>
                  <a:lnTo>
                    <a:pt x="704" y="473"/>
                  </a:lnTo>
                  <a:lnTo>
                    <a:pt x="697" y="464"/>
                  </a:lnTo>
                  <a:lnTo>
                    <a:pt x="2505" y="480"/>
                  </a:lnTo>
                  <a:cubicBezTo>
                    <a:pt x="2509" y="481"/>
                    <a:pt x="2512" y="484"/>
                    <a:pt x="2512" y="488"/>
                  </a:cubicBezTo>
                  <a:lnTo>
                    <a:pt x="2512" y="952"/>
                  </a:lnTo>
                  <a:cubicBezTo>
                    <a:pt x="2512" y="957"/>
                    <a:pt x="2509" y="960"/>
                    <a:pt x="2504" y="960"/>
                  </a:cubicBezTo>
                  <a:lnTo>
                    <a:pt x="696" y="960"/>
                  </a:lnTo>
                  <a:lnTo>
                    <a:pt x="704" y="952"/>
                  </a:lnTo>
                  <a:lnTo>
                    <a:pt x="704" y="1400"/>
                  </a:lnTo>
                  <a:cubicBezTo>
                    <a:pt x="704" y="1404"/>
                    <a:pt x="703" y="1407"/>
                    <a:pt x="700" y="1408"/>
                  </a:cubicBezTo>
                  <a:cubicBezTo>
                    <a:pt x="697" y="1409"/>
                    <a:pt x="693" y="1408"/>
                    <a:pt x="691" y="1406"/>
                  </a:cubicBezTo>
                  <a:lnTo>
                    <a:pt x="3" y="718"/>
                  </a:lnTo>
                  <a:cubicBezTo>
                    <a:pt x="0" y="715"/>
                    <a:pt x="0" y="710"/>
                    <a:pt x="3" y="707"/>
                  </a:cubicBezTo>
                  <a:cubicBezTo>
                    <a:pt x="6" y="704"/>
                    <a:pt x="11" y="704"/>
                    <a:pt x="14" y="707"/>
                  </a:cubicBezTo>
                  <a:close/>
                </a:path>
              </a:pathLst>
            </a:custGeom>
            <a:solidFill>
              <a:srgbClr val="FFFFFF"/>
            </a:solidFill>
            <a:ln w="0">
              <a:solidFill>
                <a:srgbClr val="000000"/>
              </a:solidFill>
              <a:round/>
              <a:headEnd/>
              <a:tailEnd/>
            </a:ln>
          </p:spPr>
          <p:txBody>
            <a:bodyPr/>
            <a:lstStyle/>
            <a:p>
              <a:endParaRPr lang="zh-CN" altLang="en-US"/>
            </a:p>
          </p:txBody>
        </p:sp>
        <p:sp>
          <p:nvSpPr>
            <p:cNvPr id="66" name="Rectangle 434">
              <a:extLst>
                <a:ext uri="{FF2B5EF4-FFF2-40B4-BE49-F238E27FC236}">
                  <a16:creationId xmlns:a16="http://schemas.microsoft.com/office/drawing/2014/main" id="{74CD5D96-C6E9-4C9F-BBFF-581EC0608949}"/>
                </a:ext>
              </a:extLst>
            </p:cNvPr>
            <p:cNvSpPr>
              <a:spLocks noChangeArrowheads="1"/>
            </p:cNvSpPr>
            <p:nvPr/>
          </p:nvSpPr>
          <p:spPr bwMode="auto">
            <a:xfrm>
              <a:off x="3306" y="2171"/>
              <a:ext cx="894" cy="510"/>
            </a:xfrm>
            <a:prstGeom prst="rect">
              <a:avLst/>
            </a:prstGeom>
            <a:solidFill>
              <a:srgbClr val="CDCDC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endParaRPr lang="zh-CN" altLang="en-US">
                <a:ea typeface="宋体" panose="02010600030101010101" pitchFamily="2" charset="-122"/>
              </a:endParaRPr>
            </a:p>
          </p:txBody>
        </p:sp>
        <p:pic>
          <p:nvPicPr>
            <p:cNvPr id="67" name="Picture 435">
              <a:extLst>
                <a:ext uri="{FF2B5EF4-FFF2-40B4-BE49-F238E27FC236}">
                  <a16:creationId xmlns:a16="http://schemas.microsoft.com/office/drawing/2014/main" id="{D82CB20B-BDF3-41E6-A965-31BAAB345FC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289" y="2159"/>
              <a:ext cx="905" cy="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 name="Freeform 436">
              <a:extLst>
                <a:ext uri="{FF2B5EF4-FFF2-40B4-BE49-F238E27FC236}">
                  <a16:creationId xmlns:a16="http://schemas.microsoft.com/office/drawing/2014/main" id="{1C80E6FF-6E26-4B37-B103-8C95C74056C8}"/>
                </a:ext>
              </a:extLst>
            </p:cNvPr>
            <p:cNvSpPr>
              <a:spLocks/>
            </p:cNvSpPr>
            <p:nvPr/>
          </p:nvSpPr>
          <p:spPr bwMode="auto">
            <a:xfrm>
              <a:off x="3300" y="2165"/>
              <a:ext cx="883" cy="493"/>
            </a:xfrm>
            <a:custGeom>
              <a:avLst/>
              <a:gdLst>
                <a:gd name="T0" fmla="*/ 0 w 883"/>
                <a:gd name="T1" fmla="*/ 249 h 493"/>
                <a:gd name="T2" fmla="*/ 243 w 883"/>
                <a:gd name="T3" fmla="*/ 493 h 493"/>
                <a:gd name="T4" fmla="*/ 243 w 883"/>
                <a:gd name="T5" fmla="*/ 334 h 493"/>
                <a:gd name="T6" fmla="*/ 883 w 883"/>
                <a:gd name="T7" fmla="*/ 334 h 493"/>
                <a:gd name="T8" fmla="*/ 883 w 883"/>
                <a:gd name="T9" fmla="*/ 170 h 493"/>
                <a:gd name="T10" fmla="*/ 243 w 883"/>
                <a:gd name="T11" fmla="*/ 164 h 493"/>
                <a:gd name="T12" fmla="*/ 249 w 883"/>
                <a:gd name="T13" fmla="*/ 0 h 493"/>
                <a:gd name="T14" fmla="*/ 0 w 883"/>
                <a:gd name="T15" fmla="*/ 249 h 493"/>
                <a:gd name="T16" fmla="*/ 0 60000 65536"/>
                <a:gd name="T17" fmla="*/ 0 60000 65536"/>
                <a:gd name="T18" fmla="*/ 0 60000 65536"/>
                <a:gd name="T19" fmla="*/ 0 60000 65536"/>
                <a:gd name="T20" fmla="*/ 0 60000 65536"/>
                <a:gd name="T21" fmla="*/ 0 60000 65536"/>
                <a:gd name="T22" fmla="*/ 0 60000 65536"/>
                <a:gd name="T23" fmla="*/ 0 60000 65536"/>
                <a:gd name="T24" fmla="*/ 0 w 883"/>
                <a:gd name="T25" fmla="*/ 0 h 493"/>
                <a:gd name="T26" fmla="*/ 883 w 883"/>
                <a:gd name="T27" fmla="*/ 493 h 4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3" h="493">
                  <a:moveTo>
                    <a:pt x="0" y="249"/>
                  </a:moveTo>
                  <a:lnTo>
                    <a:pt x="243" y="493"/>
                  </a:lnTo>
                  <a:lnTo>
                    <a:pt x="243" y="334"/>
                  </a:lnTo>
                  <a:lnTo>
                    <a:pt x="883" y="334"/>
                  </a:lnTo>
                  <a:lnTo>
                    <a:pt x="883" y="170"/>
                  </a:lnTo>
                  <a:lnTo>
                    <a:pt x="243" y="164"/>
                  </a:lnTo>
                  <a:lnTo>
                    <a:pt x="249" y="0"/>
                  </a:lnTo>
                  <a:lnTo>
                    <a:pt x="0" y="249"/>
                  </a:lnTo>
                  <a:close/>
                </a:path>
              </a:pathLst>
            </a:custGeom>
            <a:noFill/>
            <a:ln w="2" cap="rnd">
              <a:solidFill>
                <a:srgbClr val="404040"/>
              </a:solidFill>
              <a:round/>
              <a:headEnd/>
              <a:tailE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69" name="Rectangle 437">
              <a:extLst>
                <a:ext uri="{FF2B5EF4-FFF2-40B4-BE49-F238E27FC236}">
                  <a16:creationId xmlns:a16="http://schemas.microsoft.com/office/drawing/2014/main" id="{87C85A3F-0B0B-4943-9266-8F7497223C59}"/>
                </a:ext>
              </a:extLst>
            </p:cNvPr>
            <p:cNvSpPr>
              <a:spLocks noChangeArrowheads="1"/>
            </p:cNvSpPr>
            <p:nvPr/>
          </p:nvSpPr>
          <p:spPr bwMode="auto">
            <a:xfrm>
              <a:off x="3532" y="2312"/>
              <a:ext cx="125"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000000"/>
                  </a:solidFill>
                  <a:latin typeface="微软雅黑" panose="020B0503020204020204" pitchFamily="34" charset="-122"/>
                  <a:ea typeface="宋体" panose="02010600030101010101" pitchFamily="2" charset="-122"/>
                </a:rPr>
                <a:t>产</a:t>
              </a:r>
              <a:endParaRPr lang="zh-CN" altLang="zh-CN">
                <a:ea typeface="宋体" panose="02010600030101010101" pitchFamily="2" charset="-122"/>
              </a:endParaRPr>
            </a:p>
          </p:txBody>
        </p:sp>
        <p:sp>
          <p:nvSpPr>
            <p:cNvPr id="70" name="Rectangle 438">
              <a:extLst>
                <a:ext uri="{FF2B5EF4-FFF2-40B4-BE49-F238E27FC236}">
                  <a16:creationId xmlns:a16="http://schemas.microsoft.com/office/drawing/2014/main" id="{C0138B3C-F5FC-451D-86D0-A8F702129C79}"/>
                </a:ext>
              </a:extLst>
            </p:cNvPr>
            <p:cNvSpPr>
              <a:spLocks noChangeArrowheads="1"/>
            </p:cNvSpPr>
            <p:nvPr/>
          </p:nvSpPr>
          <p:spPr bwMode="auto">
            <a:xfrm>
              <a:off x="3668" y="2312"/>
              <a:ext cx="198"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000000"/>
                  </a:solidFill>
                  <a:latin typeface="微软雅黑" panose="020B0503020204020204" pitchFamily="34" charset="-122"/>
                  <a:ea typeface="宋体" panose="02010600030101010101" pitchFamily="2" charset="-122"/>
                </a:rPr>
                <a:t>品</a:t>
              </a:r>
              <a:endParaRPr lang="zh-CN" altLang="zh-CN">
                <a:ea typeface="宋体" panose="02010600030101010101" pitchFamily="2" charset="-122"/>
              </a:endParaRPr>
            </a:p>
          </p:txBody>
        </p:sp>
        <p:sp>
          <p:nvSpPr>
            <p:cNvPr id="71" name="Rectangle 439">
              <a:extLst>
                <a:ext uri="{FF2B5EF4-FFF2-40B4-BE49-F238E27FC236}">
                  <a16:creationId xmlns:a16="http://schemas.microsoft.com/office/drawing/2014/main" id="{9F4D8C67-B235-4817-81FB-21F6BE9D8E8A}"/>
                </a:ext>
              </a:extLst>
            </p:cNvPr>
            <p:cNvSpPr>
              <a:spLocks noChangeArrowheads="1"/>
            </p:cNvSpPr>
            <p:nvPr/>
          </p:nvSpPr>
          <p:spPr bwMode="auto">
            <a:xfrm>
              <a:off x="3804" y="2312"/>
              <a:ext cx="108"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000000"/>
                  </a:solidFill>
                  <a:latin typeface="微软雅黑" panose="020B0503020204020204" pitchFamily="34" charset="-122"/>
                  <a:ea typeface="宋体" panose="02010600030101010101" pitchFamily="2" charset="-122"/>
                </a:rPr>
                <a:t>I</a:t>
              </a:r>
              <a:endParaRPr lang="zh-CN" altLang="zh-CN">
                <a:ea typeface="宋体" panose="02010600030101010101" pitchFamily="2" charset="-122"/>
              </a:endParaRPr>
            </a:p>
          </p:txBody>
        </p:sp>
        <p:sp>
          <p:nvSpPr>
            <p:cNvPr id="72" name="Rectangle 440">
              <a:extLst>
                <a:ext uri="{FF2B5EF4-FFF2-40B4-BE49-F238E27FC236}">
                  <a16:creationId xmlns:a16="http://schemas.microsoft.com/office/drawing/2014/main" id="{1530A327-6196-4A0D-A0B0-20C9828E08A6}"/>
                </a:ext>
              </a:extLst>
            </p:cNvPr>
            <p:cNvSpPr>
              <a:spLocks noChangeArrowheads="1"/>
            </p:cNvSpPr>
            <p:nvPr/>
          </p:nvSpPr>
          <p:spPr bwMode="auto">
            <a:xfrm>
              <a:off x="3843" y="2312"/>
              <a:ext cx="170"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zh-CN" sz="1700">
                  <a:solidFill>
                    <a:srgbClr val="000000"/>
                  </a:solidFill>
                  <a:latin typeface="微软雅黑" panose="020B0503020204020204" pitchFamily="34" charset="-122"/>
                  <a:ea typeface="宋体" panose="02010600030101010101" pitchFamily="2" charset="-122"/>
                </a:rPr>
                <a:t>D</a:t>
              </a:r>
              <a:endParaRPr lang="zh-CN" altLang="zh-CN">
                <a:ea typeface="宋体" panose="02010600030101010101" pitchFamily="2" charset="-122"/>
              </a:endParaRPr>
            </a:p>
          </p:txBody>
        </p:sp>
      </p:grpSp>
      <p:sp>
        <p:nvSpPr>
          <p:cNvPr id="472" name="文本框 13">
            <a:extLst>
              <a:ext uri="{FF2B5EF4-FFF2-40B4-BE49-F238E27FC236}">
                <a16:creationId xmlns:a16="http://schemas.microsoft.com/office/drawing/2014/main" id="{51697F52-EFE8-423F-B4EE-6EE0BE28731A}"/>
              </a:ext>
            </a:extLst>
          </p:cNvPr>
          <p:cNvSpPr txBox="1">
            <a:spLocks noChangeArrowheads="1"/>
          </p:cNvSpPr>
          <p:nvPr/>
        </p:nvSpPr>
        <p:spPr bwMode="auto">
          <a:xfrm>
            <a:off x="8093903" y="1277282"/>
            <a:ext cx="2068513" cy="708025"/>
          </a:xfrm>
          <a:prstGeom prst="rect">
            <a:avLst/>
          </a:prstGeom>
          <a:ln/>
        </p:spPr>
        <p:style>
          <a:lnRef idx="2">
            <a:schemeClr val="dk1"/>
          </a:lnRef>
          <a:fillRef idx="1">
            <a:schemeClr val="lt1"/>
          </a:fillRef>
          <a:effectRef idx="0">
            <a:schemeClr val="dk1"/>
          </a:effectRef>
          <a:fontRef idx="minor">
            <a:schemeClr val="dk1"/>
          </a:fontRef>
        </p:style>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defRPr/>
            </a:pPr>
            <a:r>
              <a:rPr lang="zh-CN" altLang="en-US" sz="2000" b="1" dirty="0">
                <a:solidFill>
                  <a:srgbClr val="0000CC"/>
                </a:solidFill>
                <a:latin typeface="Times New Roman" panose="02020603050405020304" pitchFamily="18" charset="0"/>
                <a:ea typeface="微软雅黑" panose="020B0503020204020204" pitchFamily="34" charset="-122"/>
                <a:cs typeface="Times New Roman" panose="02020603050405020304" pitchFamily="18" charset="0"/>
              </a:rPr>
              <a:t>全流程可追溯</a:t>
            </a:r>
            <a:endParaRPr lang="en-US" altLang="zh-CN" sz="2000" b="1" dirty="0">
              <a:solidFill>
                <a:srgbClr val="0000CC"/>
              </a:solidFill>
              <a:latin typeface="Times New Roman" panose="02020603050405020304" pitchFamily="18" charset="0"/>
              <a:ea typeface="微软雅黑" panose="020B0503020204020204" pitchFamily="34" charset="-122"/>
              <a:cs typeface="Times New Roman" panose="02020603050405020304" pitchFamily="18" charset="0"/>
            </a:endParaRPr>
          </a:p>
          <a:p>
            <a:pPr>
              <a:spcBef>
                <a:spcPct val="0"/>
              </a:spcBef>
              <a:buFontTx/>
              <a:buNone/>
              <a:defRPr/>
            </a:pPr>
            <a:r>
              <a:rPr lang="zh-CN" altLang="en-US" sz="2000" b="1" dirty="0">
                <a:solidFill>
                  <a:srgbClr val="0000CC"/>
                </a:solidFill>
                <a:latin typeface="Times New Roman" panose="02020603050405020304" pitchFamily="18" charset="0"/>
                <a:ea typeface="微软雅黑" panose="020B0503020204020204" pitchFamily="34" charset="-122"/>
                <a:cs typeface="Times New Roman" panose="02020603050405020304" pitchFamily="18" charset="0"/>
              </a:rPr>
              <a:t>信息软件平台</a:t>
            </a:r>
          </a:p>
        </p:txBody>
      </p:sp>
      <p:sp>
        <p:nvSpPr>
          <p:cNvPr id="474" name="文本框 31">
            <a:extLst>
              <a:ext uri="{FF2B5EF4-FFF2-40B4-BE49-F238E27FC236}">
                <a16:creationId xmlns:a16="http://schemas.microsoft.com/office/drawing/2014/main" id="{2378CA86-A80F-4E28-8695-E04A516986FD}"/>
              </a:ext>
            </a:extLst>
          </p:cNvPr>
          <p:cNvSpPr txBox="1">
            <a:spLocks noChangeArrowheads="1"/>
          </p:cNvSpPr>
          <p:nvPr/>
        </p:nvSpPr>
        <p:spPr bwMode="auto">
          <a:xfrm>
            <a:off x="220964" y="6238876"/>
            <a:ext cx="7288862" cy="400110"/>
          </a:xfrm>
          <a:prstGeom prst="rect">
            <a:avLst/>
          </a:prstGeom>
          <a:solidFill>
            <a:srgbClr val="19668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r>
              <a:rPr lang="zh-CN" altLang="en-US" sz="2000" b="1" dirty="0">
                <a:solidFill>
                  <a:schemeClr val="bg1"/>
                </a:solidFill>
                <a:latin typeface="Times New Roman" panose="02020603050405020304" pitchFamily="18" charset="0"/>
                <a:cs typeface="Times New Roman" panose="02020603050405020304" pitchFamily="18" charset="0"/>
              </a:rPr>
              <a:t>实现基于批次的产品全生命周期信息的完整、高效、准确追溯</a:t>
            </a:r>
            <a:endParaRPr lang="en-US" altLang="zh-CN" sz="2000" b="1"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84657466"/>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7" y="114300"/>
            <a:ext cx="4967067"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zh-CN" altLang="en-US" sz="3300" b="1" dirty="0">
                <a:solidFill>
                  <a:srgbClr val="0070C0"/>
                </a:solidFill>
                <a:latin typeface="+mj-ea"/>
                <a:ea typeface="+mj-ea"/>
              </a:rPr>
              <a:t>人工智能</a:t>
            </a:r>
            <a:r>
              <a:rPr lang="en-US" altLang="zh-CN" sz="3300" b="1" dirty="0">
                <a:solidFill>
                  <a:srgbClr val="0070C0"/>
                </a:solidFill>
                <a:latin typeface="+mj-ea"/>
                <a:ea typeface="+mj-ea"/>
              </a:rPr>
              <a:t>-</a:t>
            </a:r>
            <a:r>
              <a:rPr lang="zh-CN" altLang="en-US" sz="3300" b="1" dirty="0">
                <a:solidFill>
                  <a:srgbClr val="0070C0"/>
                </a:solidFill>
                <a:latin typeface="+mj-ea"/>
                <a:ea typeface="+mj-ea"/>
              </a:rPr>
              <a:t>机器视觉</a:t>
            </a:r>
          </a:p>
        </p:txBody>
      </p:sp>
      <p:sp>
        <p:nvSpPr>
          <p:cNvPr id="21" name="AutoShape 1027">
            <a:hlinkClick r:id="rId5" action="ppaction://hlinksldjump" highlightClick="1"/>
            <a:extLst>
              <a:ext uri="{FF2B5EF4-FFF2-40B4-BE49-F238E27FC236}">
                <a16:creationId xmlns:a16="http://schemas.microsoft.com/office/drawing/2014/main" id="{0A3D2184-4B8B-4D4E-A6CC-363FAC7015D9}"/>
              </a:ext>
            </a:extLst>
          </p:cNvPr>
          <p:cNvSpPr>
            <a:spLocks noChangeArrowheads="1"/>
          </p:cNvSpPr>
          <p:nvPr/>
        </p:nvSpPr>
        <p:spPr bwMode="auto">
          <a:xfrm>
            <a:off x="1969812" y="691045"/>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2" name="AutoShape 1036">
            <a:hlinkClick r:id="rId5" action="ppaction://hlinksldjump" highlightClick="1"/>
            <a:extLst>
              <a:ext uri="{FF2B5EF4-FFF2-40B4-BE49-F238E27FC236}">
                <a16:creationId xmlns:a16="http://schemas.microsoft.com/office/drawing/2014/main" id="{A3D8E68E-993B-4AA1-9057-0BF98253ED7C}"/>
              </a:ext>
            </a:extLst>
          </p:cNvPr>
          <p:cNvSpPr>
            <a:spLocks noChangeArrowheads="1"/>
          </p:cNvSpPr>
          <p:nvPr/>
        </p:nvSpPr>
        <p:spPr bwMode="auto">
          <a:xfrm>
            <a:off x="5779812" y="691045"/>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pic>
        <p:nvPicPr>
          <p:cNvPr id="473" name="图片 472">
            <a:extLst>
              <a:ext uri="{FF2B5EF4-FFF2-40B4-BE49-F238E27FC236}">
                <a16:creationId xmlns:a16="http://schemas.microsoft.com/office/drawing/2014/main" id="{3139952F-2AA2-4152-9EB9-EB2241BD7DEA}"/>
              </a:ext>
            </a:extLst>
          </p:cNvPr>
          <p:cNvPicPr>
            <a:picLocks noChangeAspect="1"/>
          </p:cNvPicPr>
          <p:nvPr/>
        </p:nvPicPr>
        <p:blipFill>
          <a:blip r:embed="rId6" cstate="print"/>
          <a:stretch>
            <a:fillRect/>
          </a:stretch>
        </p:blipFill>
        <p:spPr>
          <a:xfrm>
            <a:off x="7943728" y="2998375"/>
            <a:ext cx="985019" cy="766166"/>
          </a:xfrm>
          <a:prstGeom prst="rect">
            <a:avLst/>
          </a:prstGeom>
        </p:spPr>
      </p:pic>
      <p:pic>
        <p:nvPicPr>
          <p:cNvPr id="474" name="图片 473">
            <a:extLst>
              <a:ext uri="{FF2B5EF4-FFF2-40B4-BE49-F238E27FC236}">
                <a16:creationId xmlns:a16="http://schemas.microsoft.com/office/drawing/2014/main" id="{8FA4F91E-3037-4379-BEBB-A1FD93A73742}"/>
              </a:ext>
            </a:extLst>
          </p:cNvPr>
          <p:cNvPicPr>
            <a:picLocks noChangeAspect="1"/>
          </p:cNvPicPr>
          <p:nvPr/>
        </p:nvPicPr>
        <p:blipFill rotWithShape="1">
          <a:blip r:embed="rId7">
            <a:extLst>
              <a:ext uri="{28A0092B-C50C-407E-A947-70E740481C1C}">
                <a14:useLocalDpi xmlns:a14="http://schemas.microsoft.com/office/drawing/2010/main" val="0"/>
              </a:ext>
            </a:extLst>
          </a:blip>
          <a:srcRect l="13550" r="13550"/>
          <a:stretch/>
        </p:blipFill>
        <p:spPr>
          <a:xfrm>
            <a:off x="7845381" y="1799468"/>
            <a:ext cx="1135494" cy="895711"/>
          </a:xfrm>
          <a:prstGeom prst="rect">
            <a:avLst/>
          </a:prstGeom>
          <a:ln>
            <a:noFill/>
          </a:ln>
          <a:effectLst/>
        </p:spPr>
      </p:pic>
      <p:sp>
        <p:nvSpPr>
          <p:cNvPr id="475" name="矩形 39">
            <a:extLst>
              <a:ext uri="{FF2B5EF4-FFF2-40B4-BE49-F238E27FC236}">
                <a16:creationId xmlns:a16="http://schemas.microsoft.com/office/drawing/2014/main" id="{C4875693-5916-4700-8605-69CA0C9E564B}"/>
              </a:ext>
            </a:extLst>
          </p:cNvPr>
          <p:cNvSpPr>
            <a:spLocks noChangeArrowheads="1"/>
          </p:cNvSpPr>
          <p:nvPr/>
        </p:nvSpPr>
        <p:spPr bwMode="auto">
          <a:xfrm>
            <a:off x="1113751" y="1856095"/>
            <a:ext cx="434749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spcBef>
                <a:spcPts val="600"/>
              </a:spcBef>
            </a:pPr>
            <a:r>
              <a:rPr lang="zh-CN" altLang="en-US" sz="2400" b="1" dirty="0">
                <a:solidFill>
                  <a:srgbClr val="000066"/>
                </a:solidFill>
                <a:latin typeface="Times New Roman" panose="02020603050405020304" pitchFamily="18" charset="0"/>
                <a:ea typeface="微软雅黑" panose="020B0503020204020204" pitchFamily="34" charset="-122"/>
                <a:cs typeface="Times New Roman" panose="02020603050405020304" pitchFamily="18" charset="0"/>
              </a:rPr>
              <a:t>视觉检测</a:t>
            </a:r>
          </a:p>
        </p:txBody>
      </p:sp>
      <p:sp>
        <p:nvSpPr>
          <p:cNvPr id="476" name="文本框 475">
            <a:extLst>
              <a:ext uri="{FF2B5EF4-FFF2-40B4-BE49-F238E27FC236}">
                <a16:creationId xmlns:a16="http://schemas.microsoft.com/office/drawing/2014/main" id="{A5A97517-9071-40BF-807C-F3D97C793287}"/>
              </a:ext>
            </a:extLst>
          </p:cNvPr>
          <p:cNvSpPr txBox="1"/>
          <p:nvPr/>
        </p:nvSpPr>
        <p:spPr>
          <a:xfrm>
            <a:off x="7784537" y="2682488"/>
            <a:ext cx="1444449" cy="338554"/>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a:spAutoFit/>
          </a:bodyPr>
          <a:lstStyle>
            <a:defPPr>
              <a:defRPr lang="zh-CN"/>
            </a:defPPr>
            <a:lvl1pPr algn="ctr">
              <a:defRPr sz="1600" b="1">
                <a:solidFill>
                  <a:srgbClr val="000066"/>
                </a:solidFill>
                <a:latin typeface="Times New Roman" panose="02020603050405020304" pitchFamily="18" charset="0"/>
                <a:ea typeface="微软雅黑" pitchFamily="34" charset="-122"/>
                <a:cs typeface="Times New Roman" panose="02020603050405020304" pitchFamily="18" charset="0"/>
              </a:defRPr>
            </a:lvl1pPr>
          </a:lstStyle>
          <a:p>
            <a:r>
              <a:rPr lang="zh-CN" altLang="en-US" dirty="0">
                <a:sym typeface="Arial" pitchFamily="34" charset="0"/>
              </a:rPr>
              <a:t>安瓿水针</a:t>
            </a:r>
            <a:endParaRPr lang="zh-CN" altLang="en-US" dirty="0"/>
          </a:p>
        </p:txBody>
      </p:sp>
      <p:sp>
        <p:nvSpPr>
          <p:cNvPr id="477" name="文本框 476">
            <a:extLst>
              <a:ext uri="{FF2B5EF4-FFF2-40B4-BE49-F238E27FC236}">
                <a16:creationId xmlns:a16="http://schemas.microsoft.com/office/drawing/2014/main" id="{A1725543-CCA2-4C89-A556-EF1DC63D90C7}"/>
              </a:ext>
            </a:extLst>
          </p:cNvPr>
          <p:cNvSpPr txBox="1"/>
          <p:nvPr/>
        </p:nvSpPr>
        <p:spPr>
          <a:xfrm>
            <a:off x="7798448" y="3773197"/>
            <a:ext cx="1679737" cy="338554"/>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a:spAutoFit/>
          </a:bodyPr>
          <a:lstStyle/>
          <a:p>
            <a:pPr algn="ctr">
              <a:defRPr/>
            </a:pPr>
            <a:r>
              <a:rPr lang="zh-CN" altLang="en-US" sz="1600" b="1" dirty="0">
                <a:solidFill>
                  <a:srgbClr val="000066"/>
                </a:solidFill>
                <a:latin typeface="Times New Roman" panose="02020603050405020304" pitchFamily="18" charset="0"/>
                <a:ea typeface="微软雅黑" pitchFamily="34" charset="-122"/>
                <a:cs typeface="Times New Roman" panose="02020603050405020304" pitchFamily="18" charset="0"/>
              </a:rPr>
              <a:t>冻干分针</a:t>
            </a:r>
          </a:p>
        </p:txBody>
      </p:sp>
      <p:sp>
        <p:nvSpPr>
          <p:cNvPr id="478" name="圆角矩形 21">
            <a:extLst>
              <a:ext uri="{FF2B5EF4-FFF2-40B4-BE49-F238E27FC236}">
                <a16:creationId xmlns:a16="http://schemas.microsoft.com/office/drawing/2014/main" id="{1BE2EA1A-DD8C-43E1-89FC-A87A61B9E7DA}"/>
              </a:ext>
            </a:extLst>
          </p:cNvPr>
          <p:cNvSpPr/>
          <p:nvPr/>
        </p:nvSpPr>
        <p:spPr>
          <a:xfrm>
            <a:off x="925623" y="1799468"/>
            <a:ext cx="8655699" cy="2272072"/>
          </a:xfrm>
          <a:prstGeom prst="roundRect">
            <a:avLst>
              <a:gd name="adj" fmla="val 8332"/>
            </a:avLst>
          </a:prstGeom>
          <a:noFill/>
          <a:ln w="19050">
            <a:solidFill>
              <a:srgbClr val="00006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479" name="矩形 20">
            <a:extLst>
              <a:ext uri="{FF2B5EF4-FFF2-40B4-BE49-F238E27FC236}">
                <a16:creationId xmlns:a16="http://schemas.microsoft.com/office/drawing/2014/main" id="{33B74362-3DA7-46F9-BA74-9F424C22E92C}"/>
              </a:ext>
            </a:extLst>
          </p:cNvPr>
          <p:cNvSpPr>
            <a:spLocks noChangeArrowheads="1"/>
          </p:cNvSpPr>
          <p:nvPr/>
        </p:nvSpPr>
        <p:spPr bwMode="auto">
          <a:xfrm>
            <a:off x="4394070" y="3736135"/>
            <a:ext cx="2808000" cy="397032"/>
          </a:xfrm>
          <a:prstGeom prst="rect">
            <a:avLst/>
          </a:prstGeom>
          <a:noFill/>
          <a:ln w="25400">
            <a:noFill/>
          </a:ln>
          <a:extLst/>
        </p:spPr>
        <p:txBody>
          <a:bodyPr wrap="square">
            <a:spAutoFit/>
          </a:bodyPr>
          <a:lstStyle/>
          <a:p>
            <a:pPr algn="ctr" defTabSz="395288" eaLnBrk="1" hangingPunct="1">
              <a:lnSpc>
                <a:spcPct val="110000"/>
              </a:lnSpc>
            </a:pPr>
            <a:r>
              <a:rPr lang="zh-CN" altLang="en-US" b="1" dirty="0">
                <a:solidFill>
                  <a:srgbClr val="000066"/>
                </a:solidFill>
                <a:latin typeface="Times New Roman" panose="02020603050405020304" pitchFamily="18" charset="0"/>
                <a:ea typeface="微软雅黑" panose="020B0503020204020204" pitchFamily="34" charset="-122"/>
                <a:cs typeface="Times New Roman" panose="02020603050405020304" pitchFamily="18" charset="0"/>
                <a:sym typeface="+mn-lt"/>
              </a:rPr>
              <a:t>视觉面阵成像装置</a:t>
            </a:r>
            <a:endParaRPr lang="en-US" altLang="zh-CN" b="1" dirty="0">
              <a:solidFill>
                <a:srgbClr val="000066"/>
              </a:solidFill>
              <a:latin typeface="Times New Roman" panose="02020603050405020304" pitchFamily="18" charset="0"/>
              <a:ea typeface="微软雅黑" panose="020B0503020204020204" pitchFamily="34" charset="-122"/>
              <a:cs typeface="Times New Roman" panose="02020603050405020304" pitchFamily="18" charset="0"/>
              <a:sym typeface="+mn-lt"/>
            </a:endParaRPr>
          </a:p>
        </p:txBody>
      </p:sp>
      <p:pic>
        <p:nvPicPr>
          <p:cNvPr id="480" name="图片 479">
            <a:extLst>
              <a:ext uri="{FF2B5EF4-FFF2-40B4-BE49-F238E27FC236}">
                <a16:creationId xmlns:a16="http://schemas.microsoft.com/office/drawing/2014/main" id="{B578C60B-ED9A-46B1-B5EC-32CF8254C520}"/>
              </a:ext>
            </a:extLst>
          </p:cNvPr>
          <p:cNvPicPr>
            <a:picLocks noChangeAspect="1"/>
          </p:cNvPicPr>
          <p:nvPr/>
        </p:nvPicPr>
        <p:blipFill>
          <a:blip r:embed="rId8"/>
          <a:stretch>
            <a:fillRect/>
          </a:stretch>
        </p:blipFill>
        <p:spPr>
          <a:xfrm>
            <a:off x="1626732" y="2292618"/>
            <a:ext cx="1680254" cy="1400366"/>
          </a:xfrm>
          <a:prstGeom prst="rect">
            <a:avLst/>
          </a:prstGeom>
        </p:spPr>
      </p:pic>
      <p:sp>
        <p:nvSpPr>
          <p:cNvPr id="481" name="矩形 20">
            <a:extLst>
              <a:ext uri="{FF2B5EF4-FFF2-40B4-BE49-F238E27FC236}">
                <a16:creationId xmlns:a16="http://schemas.microsoft.com/office/drawing/2014/main" id="{9C6B88C7-FC21-4D27-A5F0-A808AC823DDD}"/>
              </a:ext>
            </a:extLst>
          </p:cNvPr>
          <p:cNvSpPr>
            <a:spLocks noChangeArrowheads="1"/>
          </p:cNvSpPr>
          <p:nvPr/>
        </p:nvSpPr>
        <p:spPr bwMode="auto">
          <a:xfrm>
            <a:off x="1305903" y="3736135"/>
            <a:ext cx="2404202" cy="375616"/>
          </a:xfrm>
          <a:prstGeom prst="rect">
            <a:avLst/>
          </a:prstGeom>
          <a:noFill/>
          <a:ln w="25400">
            <a:noFill/>
          </a:ln>
          <a:extLst/>
        </p:spPr>
        <p:txBody>
          <a:bodyPr wrap="square">
            <a:spAutoFit/>
          </a:bodyPr>
          <a:lstStyle/>
          <a:p>
            <a:pPr algn="ctr" defTabSz="395288" eaLnBrk="1" hangingPunct="1">
              <a:lnSpc>
                <a:spcPct val="110000"/>
              </a:lnSpc>
            </a:pPr>
            <a:r>
              <a:rPr lang="zh-CN" altLang="en-US" b="1" dirty="0">
                <a:solidFill>
                  <a:srgbClr val="000066"/>
                </a:solidFill>
                <a:latin typeface="Times New Roman" panose="02020603050405020304" pitchFamily="18" charset="0"/>
                <a:ea typeface="微软雅黑" panose="020B0503020204020204" pitchFamily="34" charset="-122"/>
                <a:cs typeface="Times New Roman" panose="02020603050405020304" pitchFamily="18" charset="0"/>
                <a:sym typeface="+mn-lt"/>
              </a:rPr>
              <a:t>视觉反射成像</a:t>
            </a:r>
            <a:endParaRPr lang="en-US" altLang="zh-CN" b="1" dirty="0">
              <a:solidFill>
                <a:srgbClr val="000066"/>
              </a:solidFill>
              <a:latin typeface="Times New Roman" panose="02020603050405020304" pitchFamily="18" charset="0"/>
              <a:ea typeface="微软雅黑" panose="020B0503020204020204" pitchFamily="34" charset="-122"/>
              <a:cs typeface="Times New Roman" panose="02020603050405020304" pitchFamily="18" charset="0"/>
              <a:sym typeface="+mn-lt"/>
            </a:endParaRPr>
          </a:p>
        </p:txBody>
      </p:sp>
      <p:pic>
        <p:nvPicPr>
          <p:cNvPr id="482" name="图片 481">
            <a:extLst>
              <a:ext uri="{FF2B5EF4-FFF2-40B4-BE49-F238E27FC236}">
                <a16:creationId xmlns:a16="http://schemas.microsoft.com/office/drawing/2014/main" id="{3800368F-093B-4C22-850E-F9279E325FE6}"/>
              </a:ext>
            </a:extLst>
          </p:cNvPr>
          <p:cNvPicPr>
            <a:picLocks noChangeAspect="1"/>
          </p:cNvPicPr>
          <p:nvPr/>
        </p:nvPicPr>
        <p:blipFill>
          <a:blip r:embed="rId9" cstate="print"/>
          <a:stretch>
            <a:fillRect/>
          </a:stretch>
        </p:blipFill>
        <p:spPr>
          <a:xfrm>
            <a:off x="1172940" y="2720330"/>
            <a:ext cx="304796" cy="548924"/>
          </a:xfrm>
          <a:prstGeom prst="rect">
            <a:avLst/>
          </a:prstGeom>
        </p:spPr>
      </p:pic>
      <p:cxnSp>
        <p:nvCxnSpPr>
          <p:cNvPr id="483" name="直接箭头连接符 482">
            <a:extLst>
              <a:ext uri="{FF2B5EF4-FFF2-40B4-BE49-F238E27FC236}">
                <a16:creationId xmlns:a16="http://schemas.microsoft.com/office/drawing/2014/main" id="{A1D9AD6F-8F7E-432E-8AA4-E82103B22993}"/>
              </a:ext>
            </a:extLst>
          </p:cNvPr>
          <p:cNvCxnSpPr/>
          <p:nvPr/>
        </p:nvCxnSpPr>
        <p:spPr>
          <a:xfrm flipH="1">
            <a:off x="1498796" y="2994792"/>
            <a:ext cx="306583" cy="0"/>
          </a:xfrm>
          <a:prstGeom prst="straightConnector1">
            <a:avLst/>
          </a:prstGeom>
          <a:ln>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4" name="直接箭头连接符 483">
            <a:extLst>
              <a:ext uri="{FF2B5EF4-FFF2-40B4-BE49-F238E27FC236}">
                <a16:creationId xmlns:a16="http://schemas.microsoft.com/office/drawing/2014/main" id="{B9F43956-9468-43DA-84A2-3F51DAEDB8F9}"/>
              </a:ext>
            </a:extLst>
          </p:cNvPr>
          <p:cNvCxnSpPr/>
          <p:nvPr/>
        </p:nvCxnSpPr>
        <p:spPr>
          <a:xfrm>
            <a:off x="1501687" y="3205173"/>
            <a:ext cx="290045" cy="0"/>
          </a:xfrm>
          <a:prstGeom prst="straightConnector1">
            <a:avLst/>
          </a:prstGeom>
          <a:ln>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485" name="图片 484">
            <a:extLst>
              <a:ext uri="{FF2B5EF4-FFF2-40B4-BE49-F238E27FC236}">
                <a16:creationId xmlns:a16="http://schemas.microsoft.com/office/drawing/2014/main" id="{B0233ECE-AC9D-450A-98DA-EB386E77D86A}"/>
              </a:ext>
            </a:extLst>
          </p:cNvPr>
          <p:cNvPicPr>
            <a:picLocks noChangeAspect="1"/>
          </p:cNvPicPr>
          <p:nvPr/>
        </p:nvPicPr>
        <p:blipFill>
          <a:blip r:embed="rId10" cstate="print"/>
          <a:stretch>
            <a:fillRect/>
          </a:stretch>
        </p:blipFill>
        <p:spPr>
          <a:xfrm rot="16200000">
            <a:off x="3291889" y="2287096"/>
            <a:ext cx="517532" cy="394578"/>
          </a:xfrm>
          <a:prstGeom prst="rect">
            <a:avLst/>
          </a:prstGeom>
          <a:ln>
            <a:solidFill>
              <a:schemeClr val="tx1">
                <a:lumMod val="50000"/>
                <a:lumOff val="50000"/>
              </a:schemeClr>
            </a:solidFill>
          </a:ln>
        </p:spPr>
      </p:pic>
      <p:sp>
        <p:nvSpPr>
          <p:cNvPr id="486" name="等腰三角形 485">
            <a:extLst>
              <a:ext uri="{FF2B5EF4-FFF2-40B4-BE49-F238E27FC236}">
                <a16:creationId xmlns:a16="http://schemas.microsoft.com/office/drawing/2014/main" id="{01EBDEDC-45C0-4FE7-BEB9-D8BCCEDDE210}"/>
              </a:ext>
            </a:extLst>
          </p:cNvPr>
          <p:cNvSpPr/>
          <p:nvPr/>
        </p:nvSpPr>
        <p:spPr>
          <a:xfrm rot="16200000" flipV="1">
            <a:off x="6560979" y="2668977"/>
            <a:ext cx="2064285" cy="382830"/>
          </a:xfrm>
          <a:prstGeom prst="triangle">
            <a:avLst>
              <a:gd name="adj" fmla="val 49981"/>
            </a:avLst>
          </a:prstGeom>
          <a:gradFill>
            <a:gsLst>
              <a:gs pos="0">
                <a:srgbClr val="002060"/>
              </a:gs>
              <a:gs pos="100000">
                <a:schemeClr val="accent1">
                  <a:lumMod val="20000"/>
                  <a:lumOff val="80000"/>
                </a:schemeClr>
              </a:gs>
            </a:gsLst>
            <a:lin ang="5400000" scaled="1"/>
          </a:gra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zh-CN" altLang="en-US">
              <a:solidFill>
                <a:prstClr val="white"/>
              </a:solidFill>
            </a:endParaRPr>
          </a:p>
        </p:txBody>
      </p:sp>
      <p:sp>
        <p:nvSpPr>
          <p:cNvPr id="487" name="燕尾形箭头 39">
            <a:extLst>
              <a:ext uri="{FF2B5EF4-FFF2-40B4-BE49-F238E27FC236}">
                <a16:creationId xmlns:a16="http://schemas.microsoft.com/office/drawing/2014/main" id="{1D5D9855-D33A-440C-B748-0F91340FEF07}"/>
              </a:ext>
            </a:extLst>
          </p:cNvPr>
          <p:cNvSpPr/>
          <p:nvPr/>
        </p:nvSpPr>
        <p:spPr>
          <a:xfrm>
            <a:off x="3841629" y="2320164"/>
            <a:ext cx="383381" cy="1337860"/>
          </a:xfrm>
          <a:prstGeom prst="notchedRightArrow">
            <a:avLst>
              <a:gd name="adj1" fmla="val 48150"/>
              <a:gd name="adj2" fmla="val 33502"/>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pic>
        <p:nvPicPr>
          <p:cNvPr id="488" name="P24-1视觉面阵成像装置.wmv">
            <a:hlinkClick r:id="" action="ppaction://media"/>
            <a:extLst>
              <a:ext uri="{FF2B5EF4-FFF2-40B4-BE49-F238E27FC236}">
                <a16:creationId xmlns:a16="http://schemas.microsoft.com/office/drawing/2014/main" id="{D0CE44DF-D1AC-499A-8B51-150A7D4ED76B}"/>
              </a:ext>
            </a:extLst>
          </p:cNvPr>
          <p:cNvPicPr>
            <a:picLocks/>
          </p:cNvPicPr>
          <p:nvPr>
            <a:videoFile r:link="rId2"/>
            <p:extLst>
              <p:ext uri="{DAA4B4D4-6D71-4841-9C94-3DE7FCFB9230}">
                <p14:media xmlns:p14="http://schemas.microsoft.com/office/powerpoint/2010/main" r:embed="rId1"/>
              </p:ext>
            </p:extLst>
          </p:nvPr>
        </p:nvPicPr>
        <p:blipFill>
          <a:blip r:embed="rId11"/>
          <a:stretch>
            <a:fillRect/>
          </a:stretch>
        </p:blipFill>
        <p:spPr>
          <a:xfrm>
            <a:off x="4394070" y="1912357"/>
            <a:ext cx="2808000" cy="1823778"/>
          </a:xfrm>
          <a:prstGeom prst="rect">
            <a:avLst/>
          </a:prstGeom>
        </p:spPr>
      </p:pic>
      <p:sp>
        <p:nvSpPr>
          <p:cNvPr id="489" name="矩形 488">
            <a:extLst>
              <a:ext uri="{FF2B5EF4-FFF2-40B4-BE49-F238E27FC236}">
                <a16:creationId xmlns:a16="http://schemas.microsoft.com/office/drawing/2014/main" id="{9C92E582-5D09-487F-B3C7-87F250CA1C49}"/>
              </a:ext>
            </a:extLst>
          </p:cNvPr>
          <p:cNvSpPr/>
          <p:nvPr/>
        </p:nvSpPr>
        <p:spPr>
          <a:xfrm>
            <a:off x="793629" y="4724367"/>
            <a:ext cx="9516562" cy="745653"/>
          </a:xfrm>
          <a:prstGeom prst="rect">
            <a:avLst/>
          </a:prstGeom>
        </p:spPr>
        <p:txBody>
          <a:bodyPr wrap="square">
            <a:spAutoFit/>
          </a:bodyPr>
          <a:lstStyle/>
          <a:p>
            <a:pPr marL="285750" indent="-285750">
              <a:lnSpc>
                <a:spcPct val="110000"/>
              </a:lnSpc>
              <a:buFont typeface="Wingdings" panose="05000000000000000000" pitchFamily="2" charset="2"/>
              <a:buChar char="Ø"/>
            </a:pPr>
            <a:r>
              <a:rPr lang="zh-CN" altLang="en-US" sz="2000" b="1" dirty="0">
                <a:solidFill>
                  <a:srgbClr val="000066"/>
                </a:solidFill>
                <a:latin typeface="Times New Roman" panose="02020603050405020304" pitchFamily="18" charset="0"/>
                <a:cs typeface="Times New Roman" panose="02020603050405020304" pitchFamily="18" charset="0"/>
              </a:rPr>
              <a:t>基于视觉识别的多视角图像合成技术的微细异物快速精密检测方法，实现全自动化灯检检漏一体化</a:t>
            </a:r>
            <a:endParaRPr lang="zh-CN" altLang="en-US" sz="2000" b="1" dirty="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1902802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8046" fill="hold"/>
                                        <p:tgtEl>
                                          <p:spTgt spid="488"/>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88"/>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withEffect">
                                  <p:stCondLst>
                                    <p:cond delay="0"/>
                                  </p:stCondLst>
                                  <p:childTnLst>
                                    <p:cmd type="call" cmd="togglePause">
                                      <p:cBhvr>
                                        <p:cTn id="11" dur="1" fill="hold"/>
                                        <p:tgtEl>
                                          <p:spTgt spid="488"/>
                                        </p:tgtEl>
                                      </p:cBhvr>
                                    </p:cmd>
                                  </p:childTnLst>
                                </p:cTn>
                              </p:par>
                            </p:childTnLst>
                          </p:cTn>
                        </p:par>
                      </p:childTnLst>
                    </p:cTn>
                  </p:par>
                </p:childTnLst>
              </p:cTn>
              <p:nextCondLst>
                <p:cond evt="onClick" delay="0">
                  <p:tgtEl>
                    <p:spTgt spid="488"/>
                  </p:tgtEl>
                </p:cond>
              </p:nextCondLst>
            </p:seq>
            <p:video>
              <p:cMediaNode vol="80000" mute="1">
                <p:cTn id="12" repeatCount="indefinite" fill="remove" display="0">
                  <p:stCondLst>
                    <p:cond delay="indefinite"/>
                  </p:stCondLst>
                </p:cTn>
                <p:tgtEl>
                  <p:spTgt spid="488"/>
                </p:tgtEl>
              </p:cMediaNode>
            </p:video>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6" y="114300"/>
            <a:ext cx="7567669"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fontScale="92500"/>
          </a:bodyPr>
          <a:lstStyle/>
          <a:p>
            <a:pPr marL="177800">
              <a:lnSpc>
                <a:spcPts val="2600"/>
              </a:lnSpc>
              <a:defRPr/>
            </a:pPr>
            <a:r>
              <a:rPr lang="zh-CN" altLang="en-US" sz="3300" b="1" dirty="0">
                <a:solidFill>
                  <a:srgbClr val="0070C0"/>
                </a:solidFill>
                <a:latin typeface="+mj-ea"/>
                <a:ea typeface="+mj-ea"/>
              </a:rPr>
              <a:t>柔性化生产（小批量多批次生产适应能力）</a:t>
            </a:r>
          </a:p>
        </p:txBody>
      </p:sp>
      <p:cxnSp>
        <p:nvCxnSpPr>
          <p:cNvPr id="134" name="直接连接符 133">
            <a:extLst>
              <a:ext uri="{FF2B5EF4-FFF2-40B4-BE49-F238E27FC236}">
                <a16:creationId xmlns:a16="http://schemas.microsoft.com/office/drawing/2014/main" id="{571ED268-0156-4774-A8D8-9FBFB6427241}"/>
              </a:ext>
            </a:extLst>
          </p:cNvPr>
          <p:cNvCxnSpPr/>
          <p:nvPr/>
        </p:nvCxnSpPr>
        <p:spPr>
          <a:xfrm flipV="1">
            <a:off x="3511550" y="825500"/>
            <a:ext cx="5121275" cy="254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AutoShape 1027">
            <a:hlinkClick r:id="rId3" action="ppaction://hlinksldjump" highlightClick="1"/>
            <a:extLst>
              <a:ext uri="{FF2B5EF4-FFF2-40B4-BE49-F238E27FC236}">
                <a16:creationId xmlns:a16="http://schemas.microsoft.com/office/drawing/2014/main" id="{0A3D2184-4B8B-4D4E-A6CC-363FAC7015D9}"/>
              </a:ext>
            </a:extLst>
          </p:cNvPr>
          <p:cNvSpPr>
            <a:spLocks noChangeArrowheads="1"/>
          </p:cNvSpPr>
          <p:nvPr/>
        </p:nvSpPr>
        <p:spPr bwMode="auto">
          <a:xfrm>
            <a:off x="1969812" y="691045"/>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2" name="AutoShape 1036">
            <a:hlinkClick r:id="rId3" action="ppaction://hlinksldjump" highlightClick="1"/>
            <a:extLst>
              <a:ext uri="{FF2B5EF4-FFF2-40B4-BE49-F238E27FC236}">
                <a16:creationId xmlns:a16="http://schemas.microsoft.com/office/drawing/2014/main" id="{A3D8E68E-993B-4AA1-9057-0BF98253ED7C}"/>
              </a:ext>
            </a:extLst>
          </p:cNvPr>
          <p:cNvSpPr>
            <a:spLocks noChangeArrowheads="1"/>
          </p:cNvSpPr>
          <p:nvPr/>
        </p:nvSpPr>
        <p:spPr bwMode="auto">
          <a:xfrm>
            <a:off x="5779812" y="691045"/>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3" name="AutoShape 1037">
            <a:hlinkClick r:id="rId3" action="ppaction://hlinksldjump" highlightClick="1"/>
            <a:extLst>
              <a:ext uri="{FF2B5EF4-FFF2-40B4-BE49-F238E27FC236}">
                <a16:creationId xmlns:a16="http://schemas.microsoft.com/office/drawing/2014/main" id="{749E2BEA-BB43-462C-A5CE-1AE52EC315B7}"/>
              </a:ext>
            </a:extLst>
          </p:cNvPr>
          <p:cNvSpPr>
            <a:spLocks noChangeArrowheads="1"/>
          </p:cNvSpPr>
          <p:nvPr/>
        </p:nvSpPr>
        <p:spPr bwMode="auto">
          <a:xfrm>
            <a:off x="5509937" y="1097445"/>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4" name="矩形 9">
            <a:extLst>
              <a:ext uri="{FF2B5EF4-FFF2-40B4-BE49-F238E27FC236}">
                <a16:creationId xmlns:a16="http://schemas.microsoft.com/office/drawing/2014/main" id="{7A19EBA2-0C28-45F4-807E-4E7105ECCC96}"/>
              </a:ext>
            </a:extLst>
          </p:cNvPr>
          <p:cNvSpPr>
            <a:spLocks noChangeArrowheads="1"/>
          </p:cNvSpPr>
          <p:nvPr/>
        </p:nvSpPr>
        <p:spPr bwMode="auto">
          <a:xfrm>
            <a:off x="3489049" y="1902308"/>
            <a:ext cx="4286250" cy="3286125"/>
          </a:xfrm>
          <a:prstGeom prst="rect">
            <a:avLst/>
          </a:prstGeom>
          <a:solidFill>
            <a:srgbClr val="FFFF99"/>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5" name="圆角矩形 10">
            <a:extLst>
              <a:ext uri="{FF2B5EF4-FFF2-40B4-BE49-F238E27FC236}">
                <a16:creationId xmlns:a16="http://schemas.microsoft.com/office/drawing/2014/main" id="{0D13B0C9-2128-4E96-BC5A-D785E0C2812A}"/>
              </a:ext>
            </a:extLst>
          </p:cNvPr>
          <p:cNvSpPr/>
          <p:nvPr/>
        </p:nvSpPr>
        <p:spPr bwMode="auto">
          <a:xfrm>
            <a:off x="3989112" y="3545370"/>
            <a:ext cx="3000375" cy="642938"/>
          </a:xfrm>
          <a:prstGeom prst="roundRect">
            <a:avLst/>
          </a:prstGeom>
          <a:gradFill>
            <a:gsLst>
              <a:gs pos="0">
                <a:srgbClr val="5E9EFF"/>
              </a:gs>
              <a:gs pos="39999">
                <a:srgbClr val="85C2FF"/>
              </a:gs>
              <a:gs pos="70000">
                <a:srgbClr val="C4D6EB"/>
              </a:gs>
              <a:gs pos="100000">
                <a:srgbClr val="FFEBFA"/>
              </a:gs>
            </a:gsLst>
            <a:lin ang="5400000" scaled="0"/>
          </a:gradFill>
          <a:ln w="34925" cap="flat" cmpd="sng" algn="ctr">
            <a:noFill/>
            <a:prstDash val="solid"/>
            <a:round/>
            <a:headEnd type="none" w="med" len="med"/>
            <a:tailEnd type="none" w="med" len="med"/>
          </a:ln>
          <a:effectLst/>
        </p:spPr>
        <p:txBody>
          <a:bodyPr/>
          <a:lstStyle/>
          <a:p>
            <a:pPr algn="ctr" eaLnBrk="1" hangingPunct="1">
              <a:defRPr/>
            </a:pPr>
            <a:r>
              <a:rPr lang="zh-CN" altLang="en-US" sz="2400" dirty="0">
                <a:solidFill>
                  <a:schemeClr val="accent3"/>
                </a:solidFill>
                <a:latin typeface="Arial" charset="0"/>
              </a:rPr>
              <a:t>智能生产管理</a:t>
            </a:r>
          </a:p>
        </p:txBody>
      </p:sp>
      <p:sp>
        <p:nvSpPr>
          <p:cNvPr id="26" name="圆角矩形 12">
            <a:extLst>
              <a:ext uri="{FF2B5EF4-FFF2-40B4-BE49-F238E27FC236}">
                <a16:creationId xmlns:a16="http://schemas.microsoft.com/office/drawing/2014/main" id="{FBF39481-331D-496F-883A-FB44EE15D4C2}"/>
              </a:ext>
            </a:extLst>
          </p:cNvPr>
          <p:cNvSpPr/>
          <p:nvPr/>
        </p:nvSpPr>
        <p:spPr bwMode="auto">
          <a:xfrm>
            <a:off x="3989112" y="4188308"/>
            <a:ext cx="3000375" cy="642937"/>
          </a:xfrm>
          <a:prstGeom prst="roundRect">
            <a:avLst/>
          </a:prstGeom>
          <a:gradFill>
            <a:gsLst>
              <a:gs pos="0">
                <a:srgbClr val="DDEBCF"/>
              </a:gs>
              <a:gs pos="50000">
                <a:srgbClr val="9CB86E"/>
              </a:gs>
              <a:gs pos="100000">
                <a:srgbClr val="156B13"/>
              </a:gs>
            </a:gsLst>
            <a:lin ang="5400000" scaled="0"/>
          </a:gradFill>
          <a:ln w="34925" cap="flat" cmpd="sng" algn="ctr">
            <a:noFill/>
            <a:prstDash val="solid"/>
            <a:round/>
            <a:headEnd type="none" w="med" len="med"/>
            <a:tailEnd type="none" w="med" len="med"/>
          </a:ln>
          <a:effectLst/>
        </p:spPr>
        <p:txBody>
          <a:bodyPr/>
          <a:lstStyle/>
          <a:p>
            <a:pPr algn="ctr" eaLnBrk="1" hangingPunct="1">
              <a:defRPr/>
            </a:pPr>
            <a:r>
              <a:rPr lang="zh-CN" altLang="en-US" sz="2400" dirty="0">
                <a:solidFill>
                  <a:schemeClr val="accent3"/>
                </a:solidFill>
                <a:latin typeface="Arial" charset="0"/>
              </a:rPr>
              <a:t>智能生产设备</a:t>
            </a:r>
          </a:p>
        </p:txBody>
      </p:sp>
      <p:sp>
        <p:nvSpPr>
          <p:cNvPr id="27" name="TextBox 13">
            <a:extLst>
              <a:ext uri="{FF2B5EF4-FFF2-40B4-BE49-F238E27FC236}">
                <a16:creationId xmlns:a16="http://schemas.microsoft.com/office/drawing/2014/main" id="{E15E5869-C3B0-4EBB-9352-C4099AEF00B9}"/>
              </a:ext>
            </a:extLst>
          </p:cNvPr>
          <p:cNvSpPr txBox="1">
            <a:spLocks noChangeArrowheads="1"/>
          </p:cNvSpPr>
          <p:nvPr/>
        </p:nvSpPr>
        <p:spPr bwMode="auto">
          <a:xfrm>
            <a:off x="4632049" y="1616558"/>
            <a:ext cx="11430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a:t>智能药厂</a:t>
            </a:r>
          </a:p>
        </p:txBody>
      </p:sp>
      <p:sp>
        <p:nvSpPr>
          <p:cNvPr id="28" name="矩形 19">
            <a:extLst>
              <a:ext uri="{FF2B5EF4-FFF2-40B4-BE49-F238E27FC236}">
                <a16:creationId xmlns:a16="http://schemas.microsoft.com/office/drawing/2014/main" id="{CF05A565-3425-4ED1-8A7A-D7900FEC7783}"/>
              </a:ext>
            </a:extLst>
          </p:cNvPr>
          <p:cNvSpPr>
            <a:spLocks noChangeArrowheads="1"/>
          </p:cNvSpPr>
          <p:nvPr/>
        </p:nvSpPr>
        <p:spPr bwMode="auto">
          <a:xfrm>
            <a:off x="1417362" y="3616808"/>
            <a:ext cx="1500187" cy="1357312"/>
          </a:xfrm>
          <a:prstGeom prst="rect">
            <a:avLst/>
          </a:prstGeom>
          <a:gradFill rotWithShape="0">
            <a:gsLst>
              <a:gs pos="0">
                <a:srgbClr val="DDEBCF"/>
              </a:gs>
              <a:gs pos="50000">
                <a:srgbClr val="9CB86E"/>
              </a:gs>
              <a:gs pos="100000">
                <a:srgbClr val="156B13"/>
              </a:gs>
            </a:gsLst>
            <a:lin ang="16200000"/>
          </a:gra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5" name="圆角矩形 21">
            <a:extLst>
              <a:ext uri="{FF2B5EF4-FFF2-40B4-BE49-F238E27FC236}">
                <a16:creationId xmlns:a16="http://schemas.microsoft.com/office/drawing/2014/main" id="{40CE460D-679C-4983-A102-C0AADC7C0F1A}"/>
              </a:ext>
            </a:extLst>
          </p:cNvPr>
          <p:cNvSpPr/>
          <p:nvPr/>
        </p:nvSpPr>
        <p:spPr bwMode="auto">
          <a:xfrm>
            <a:off x="3989112" y="2902433"/>
            <a:ext cx="3000375" cy="642937"/>
          </a:xfrm>
          <a:prstGeom prst="roundRect">
            <a:avLst/>
          </a:prstGeom>
          <a:gradFill>
            <a:gsLst>
              <a:gs pos="0">
                <a:srgbClr val="DDEBCF"/>
              </a:gs>
              <a:gs pos="50000">
                <a:srgbClr val="9CB86E"/>
              </a:gs>
              <a:gs pos="100000">
                <a:srgbClr val="156B13"/>
              </a:gs>
            </a:gsLst>
            <a:lin ang="5400000" scaled="0"/>
          </a:gradFill>
          <a:ln w="34925" cap="flat" cmpd="sng" algn="ctr">
            <a:noFill/>
            <a:prstDash val="solid"/>
            <a:round/>
            <a:headEnd type="none" w="med" len="med"/>
            <a:tailEnd type="none" w="med" len="med"/>
          </a:ln>
          <a:effectLst/>
        </p:spPr>
        <p:txBody>
          <a:bodyPr/>
          <a:lstStyle/>
          <a:p>
            <a:pPr algn="ctr" eaLnBrk="1" hangingPunct="1">
              <a:defRPr/>
            </a:pPr>
            <a:r>
              <a:rPr lang="zh-CN" altLang="en-US" sz="2400" dirty="0">
                <a:solidFill>
                  <a:schemeClr val="accent3"/>
                </a:solidFill>
                <a:latin typeface="Arial" charset="0"/>
              </a:rPr>
              <a:t>企业智能管理</a:t>
            </a:r>
          </a:p>
        </p:txBody>
      </p:sp>
      <p:sp>
        <p:nvSpPr>
          <p:cNvPr id="46" name="右箭头 22">
            <a:extLst>
              <a:ext uri="{FF2B5EF4-FFF2-40B4-BE49-F238E27FC236}">
                <a16:creationId xmlns:a16="http://schemas.microsoft.com/office/drawing/2014/main" id="{DC101BE7-0483-483D-A48E-744C55F93E70}"/>
              </a:ext>
            </a:extLst>
          </p:cNvPr>
          <p:cNvSpPr>
            <a:spLocks noChangeArrowheads="1"/>
          </p:cNvSpPr>
          <p:nvPr/>
        </p:nvSpPr>
        <p:spPr bwMode="auto">
          <a:xfrm>
            <a:off x="2917549" y="4116870"/>
            <a:ext cx="571500" cy="428625"/>
          </a:xfrm>
          <a:prstGeom prst="rightArrow">
            <a:avLst>
              <a:gd name="adj1" fmla="val 50000"/>
              <a:gd name="adj2" fmla="val 50000"/>
            </a:avLst>
          </a:prstGeom>
          <a:solidFill>
            <a:schemeClr val="accent1"/>
          </a:solidFill>
          <a:ln w="9525" algn="ctr">
            <a:solidFill>
              <a:schemeClr val="tx1"/>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7" name="圆角矩形 23">
            <a:extLst>
              <a:ext uri="{FF2B5EF4-FFF2-40B4-BE49-F238E27FC236}">
                <a16:creationId xmlns:a16="http://schemas.microsoft.com/office/drawing/2014/main" id="{3DF82AD7-59AB-4C61-926D-44CD004BDB16}"/>
              </a:ext>
            </a:extLst>
          </p:cNvPr>
          <p:cNvSpPr/>
          <p:nvPr/>
        </p:nvSpPr>
        <p:spPr bwMode="auto">
          <a:xfrm>
            <a:off x="3989112" y="2188058"/>
            <a:ext cx="3000375" cy="642937"/>
          </a:xfrm>
          <a:prstGeom prst="roundRect">
            <a:avLst/>
          </a:prstGeom>
          <a:gradFill>
            <a:gsLst>
              <a:gs pos="0">
                <a:srgbClr val="FFEFD1"/>
              </a:gs>
              <a:gs pos="64999">
                <a:srgbClr val="F0EBD5"/>
              </a:gs>
              <a:gs pos="100000">
                <a:srgbClr val="D1C39F"/>
              </a:gs>
            </a:gsLst>
            <a:lin ang="5400000" scaled="0"/>
          </a:gradFill>
          <a:ln w="34925" cap="flat" cmpd="sng" algn="ctr">
            <a:noFill/>
            <a:prstDash val="solid"/>
            <a:round/>
            <a:headEnd type="none" w="med" len="med"/>
            <a:tailEnd type="none" w="med" len="med"/>
          </a:ln>
          <a:effectLst/>
        </p:spPr>
        <p:txBody>
          <a:bodyPr/>
          <a:lstStyle/>
          <a:p>
            <a:pPr algn="ctr" eaLnBrk="1" hangingPunct="1">
              <a:defRPr/>
            </a:pPr>
            <a:r>
              <a:rPr lang="zh-CN" altLang="en-US" sz="2400" dirty="0">
                <a:solidFill>
                  <a:schemeClr val="accent3"/>
                </a:solidFill>
                <a:latin typeface="Arial" charset="0"/>
              </a:rPr>
              <a:t>服务互联网</a:t>
            </a:r>
          </a:p>
        </p:txBody>
      </p:sp>
      <p:sp>
        <p:nvSpPr>
          <p:cNvPr id="48" name="TextBox 24">
            <a:extLst>
              <a:ext uri="{FF2B5EF4-FFF2-40B4-BE49-F238E27FC236}">
                <a16:creationId xmlns:a16="http://schemas.microsoft.com/office/drawing/2014/main" id="{C0B117F9-4DD0-42CE-8175-1329333F4130}"/>
              </a:ext>
            </a:extLst>
          </p:cNvPr>
          <p:cNvSpPr txBox="1">
            <a:spLocks noChangeArrowheads="1"/>
          </p:cNvSpPr>
          <p:nvPr/>
        </p:nvSpPr>
        <p:spPr bwMode="auto">
          <a:xfrm>
            <a:off x="1488799" y="3759683"/>
            <a:ext cx="128587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a:t>物料</a:t>
            </a:r>
            <a:r>
              <a:rPr lang="en-US" altLang="zh-CN"/>
              <a:t>A</a:t>
            </a:r>
          </a:p>
          <a:p>
            <a:r>
              <a:rPr lang="zh-CN" altLang="en-US"/>
              <a:t>物料</a:t>
            </a:r>
            <a:r>
              <a:rPr lang="en-US" altLang="zh-CN"/>
              <a:t>B</a:t>
            </a:r>
          </a:p>
          <a:p>
            <a:r>
              <a:rPr lang="en-US" altLang="zh-CN"/>
              <a:t>………</a:t>
            </a:r>
          </a:p>
        </p:txBody>
      </p:sp>
      <p:sp>
        <p:nvSpPr>
          <p:cNvPr id="49" name="矩形 25">
            <a:extLst>
              <a:ext uri="{FF2B5EF4-FFF2-40B4-BE49-F238E27FC236}">
                <a16:creationId xmlns:a16="http://schemas.microsoft.com/office/drawing/2014/main" id="{D9DE1B6F-2B9A-4030-AA46-5A436B3B66A6}"/>
              </a:ext>
            </a:extLst>
          </p:cNvPr>
          <p:cNvSpPr>
            <a:spLocks noChangeArrowheads="1"/>
          </p:cNvSpPr>
          <p:nvPr/>
        </p:nvSpPr>
        <p:spPr bwMode="auto">
          <a:xfrm>
            <a:off x="1417362" y="2116620"/>
            <a:ext cx="1500187" cy="1500188"/>
          </a:xfrm>
          <a:prstGeom prst="rect">
            <a:avLst/>
          </a:prstGeom>
          <a:gradFill rotWithShape="0">
            <a:gsLst>
              <a:gs pos="0">
                <a:srgbClr val="FFFFFF"/>
              </a:gs>
              <a:gs pos="7001">
                <a:srgbClr val="E6E6E6"/>
              </a:gs>
              <a:gs pos="32001">
                <a:srgbClr val="7D8496"/>
              </a:gs>
              <a:gs pos="47000">
                <a:srgbClr val="E6E6E6"/>
              </a:gs>
              <a:gs pos="85001">
                <a:srgbClr val="7D8496"/>
              </a:gs>
              <a:gs pos="100000">
                <a:srgbClr val="E6E6E6"/>
              </a:gs>
            </a:gsLst>
            <a:lin ang="16200000"/>
          </a:gra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50" name="TextBox 26">
            <a:extLst>
              <a:ext uri="{FF2B5EF4-FFF2-40B4-BE49-F238E27FC236}">
                <a16:creationId xmlns:a16="http://schemas.microsoft.com/office/drawing/2014/main" id="{9A4AF626-03F6-4780-A895-8FE2F50CDCD2}"/>
              </a:ext>
            </a:extLst>
          </p:cNvPr>
          <p:cNvSpPr txBox="1">
            <a:spLocks noChangeArrowheads="1"/>
          </p:cNvSpPr>
          <p:nvPr/>
        </p:nvSpPr>
        <p:spPr bwMode="auto">
          <a:xfrm>
            <a:off x="1631674" y="2407133"/>
            <a:ext cx="1071563"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a:t>工艺</a:t>
            </a:r>
            <a:r>
              <a:rPr lang="en-US" altLang="zh-CN"/>
              <a:t>A</a:t>
            </a:r>
          </a:p>
          <a:p>
            <a:r>
              <a:rPr lang="zh-CN" altLang="en-US"/>
              <a:t>工艺</a:t>
            </a:r>
            <a:r>
              <a:rPr lang="en-US" altLang="zh-CN"/>
              <a:t>B</a:t>
            </a:r>
          </a:p>
          <a:p>
            <a:r>
              <a:rPr lang="en-US" altLang="zh-CN"/>
              <a:t>………</a:t>
            </a:r>
          </a:p>
        </p:txBody>
      </p:sp>
      <p:sp>
        <p:nvSpPr>
          <p:cNvPr id="51" name="右箭头 27">
            <a:extLst>
              <a:ext uri="{FF2B5EF4-FFF2-40B4-BE49-F238E27FC236}">
                <a16:creationId xmlns:a16="http://schemas.microsoft.com/office/drawing/2014/main" id="{9D593B4E-988F-4CD1-9E37-DDB4A2D8438B}"/>
              </a:ext>
            </a:extLst>
          </p:cNvPr>
          <p:cNvSpPr>
            <a:spLocks noChangeArrowheads="1"/>
          </p:cNvSpPr>
          <p:nvPr/>
        </p:nvSpPr>
        <p:spPr bwMode="auto">
          <a:xfrm>
            <a:off x="2917549" y="2688120"/>
            <a:ext cx="571500" cy="428625"/>
          </a:xfrm>
          <a:prstGeom prst="rightArrow">
            <a:avLst>
              <a:gd name="adj1" fmla="val 50000"/>
              <a:gd name="adj2" fmla="val 50000"/>
            </a:avLst>
          </a:prstGeom>
          <a:solidFill>
            <a:schemeClr val="accent1"/>
          </a:solidFill>
          <a:ln w="9525" algn="ctr">
            <a:solidFill>
              <a:schemeClr val="tx1"/>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52" name="右箭头 29">
            <a:extLst>
              <a:ext uri="{FF2B5EF4-FFF2-40B4-BE49-F238E27FC236}">
                <a16:creationId xmlns:a16="http://schemas.microsoft.com/office/drawing/2014/main" id="{69168309-60D0-4C0E-A051-4CFD64749CD5}"/>
              </a:ext>
            </a:extLst>
          </p:cNvPr>
          <p:cNvSpPr/>
          <p:nvPr/>
        </p:nvSpPr>
        <p:spPr bwMode="auto">
          <a:xfrm>
            <a:off x="7775299" y="3259620"/>
            <a:ext cx="571500" cy="428625"/>
          </a:xfrm>
          <a:prstGeom prst="rightArrow">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lstStyle/>
          <a:p>
            <a:pPr eaLnBrk="1" hangingPunct="1">
              <a:defRPr/>
            </a:pPr>
            <a:endParaRPr lang="zh-CN" altLang="en-US">
              <a:latin typeface="Arial" charset="0"/>
            </a:endParaRPr>
          </a:p>
        </p:txBody>
      </p:sp>
      <p:sp>
        <p:nvSpPr>
          <p:cNvPr id="53" name="矩形 31">
            <a:extLst>
              <a:ext uri="{FF2B5EF4-FFF2-40B4-BE49-F238E27FC236}">
                <a16:creationId xmlns:a16="http://schemas.microsoft.com/office/drawing/2014/main" id="{9165C2B8-5182-448F-B166-E6B5A4E0DDCE}"/>
              </a:ext>
            </a:extLst>
          </p:cNvPr>
          <p:cNvSpPr>
            <a:spLocks noChangeArrowheads="1"/>
          </p:cNvSpPr>
          <p:nvPr/>
        </p:nvSpPr>
        <p:spPr bwMode="auto">
          <a:xfrm>
            <a:off x="8346799" y="2830995"/>
            <a:ext cx="1643063" cy="1214438"/>
          </a:xfrm>
          <a:prstGeom prst="rect">
            <a:avLst/>
          </a:prstGeom>
          <a:gradFill rotWithShape="0">
            <a:gsLst>
              <a:gs pos="0">
                <a:srgbClr val="FFEFD1"/>
              </a:gs>
              <a:gs pos="64999">
                <a:srgbClr val="F0EBD5"/>
              </a:gs>
              <a:gs pos="100000">
                <a:srgbClr val="D1C39F"/>
              </a:gs>
            </a:gsLst>
            <a:lin ang="16200000"/>
          </a:gra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r>
              <a:rPr lang="zh-CN" altLang="en-US"/>
              <a:t>智能产品</a:t>
            </a:r>
            <a:r>
              <a:rPr lang="en-US" altLang="zh-CN"/>
              <a:t>A</a:t>
            </a:r>
          </a:p>
          <a:p>
            <a:pPr eaLnBrk="1" hangingPunct="1"/>
            <a:r>
              <a:rPr lang="zh-CN" altLang="en-US"/>
              <a:t>智能产品</a:t>
            </a:r>
            <a:r>
              <a:rPr lang="en-US" altLang="zh-CN"/>
              <a:t>B</a:t>
            </a:r>
            <a:endParaRPr lang="zh-CN" altLang="en-US"/>
          </a:p>
          <a:p>
            <a:pPr eaLnBrk="1" hangingPunct="1"/>
            <a:r>
              <a:rPr lang="zh-CN" altLang="en-US"/>
              <a:t>智能产品</a:t>
            </a:r>
            <a:r>
              <a:rPr lang="en-US" altLang="zh-CN"/>
              <a:t>C</a:t>
            </a:r>
            <a:endParaRPr lang="zh-CN" altLang="en-US"/>
          </a:p>
          <a:p>
            <a:pPr eaLnBrk="1" hangingPunct="1"/>
            <a:r>
              <a:rPr lang="en-US" altLang="zh-CN"/>
              <a:t>…………...</a:t>
            </a:r>
            <a:endParaRPr lang="zh-CN" altLang="en-US"/>
          </a:p>
        </p:txBody>
      </p:sp>
      <p:pic>
        <p:nvPicPr>
          <p:cNvPr id="54" name="Picture 46" descr="E:\11产品照片\22 冻干机 进出料系统\新建文件夹 (2)\冻干工艺过程示意图.jpg">
            <a:extLst>
              <a:ext uri="{FF2B5EF4-FFF2-40B4-BE49-F238E27FC236}">
                <a16:creationId xmlns:a16="http://schemas.microsoft.com/office/drawing/2014/main" id="{3B890CEB-5646-42E3-833D-29B47FACD43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60174" y="5297970"/>
            <a:ext cx="9072563"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矩形标注 34">
            <a:extLst>
              <a:ext uri="{FF2B5EF4-FFF2-40B4-BE49-F238E27FC236}">
                <a16:creationId xmlns:a16="http://schemas.microsoft.com/office/drawing/2014/main" id="{AB57EF6B-B0B0-4875-8E5E-653DC7A92E63}"/>
              </a:ext>
            </a:extLst>
          </p:cNvPr>
          <p:cNvSpPr>
            <a:spLocks noChangeArrowheads="1"/>
          </p:cNvSpPr>
          <p:nvPr/>
        </p:nvSpPr>
        <p:spPr bwMode="auto">
          <a:xfrm>
            <a:off x="7846737" y="973620"/>
            <a:ext cx="2286000" cy="1143000"/>
          </a:xfrm>
          <a:prstGeom prst="wedgeRectCallout">
            <a:avLst>
              <a:gd name="adj1" fmla="val -54051"/>
              <a:gd name="adj2" fmla="val 72838"/>
            </a:avLst>
          </a:prstGeom>
          <a:solidFill>
            <a:schemeClr val="accent1"/>
          </a:solidFill>
          <a:ln w="9525" algn="ctr">
            <a:solidFill>
              <a:schemeClr val="tx1"/>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r>
              <a:rPr lang="zh-CN" altLang="en-US"/>
              <a:t>根据客户需求</a:t>
            </a:r>
            <a:r>
              <a:rPr lang="en-US" altLang="zh-CN"/>
              <a:t>/</a:t>
            </a:r>
            <a:r>
              <a:rPr lang="zh-CN" altLang="en-US"/>
              <a:t>工艺要求，自动调整生产运行模式，从原料到生产过程自动整定</a:t>
            </a:r>
          </a:p>
        </p:txBody>
      </p:sp>
    </p:spTree>
    <p:extLst>
      <p:ext uri="{BB962C8B-B14F-4D97-AF65-F5344CB8AC3E}">
        <p14:creationId xmlns:p14="http://schemas.microsoft.com/office/powerpoint/2010/main" val="1221112628"/>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7" y="114300"/>
            <a:ext cx="6905060"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zh-CN" altLang="en-US" sz="3300" b="1" dirty="0">
                <a:solidFill>
                  <a:srgbClr val="0070C0"/>
                </a:solidFill>
                <a:latin typeface="+mj-ea"/>
                <a:ea typeface="+mj-ea"/>
              </a:rPr>
              <a:t>人工智能</a:t>
            </a:r>
            <a:r>
              <a:rPr lang="en-US" altLang="zh-CN" sz="3300" b="1" dirty="0">
                <a:solidFill>
                  <a:srgbClr val="0070C0"/>
                </a:solidFill>
                <a:latin typeface="+mj-ea"/>
                <a:ea typeface="+mj-ea"/>
              </a:rPr>
              <a:t>-</a:t>
            </a:r>
            <a:r>
              <a:rPr lang="zh-CN" altLang="zh-CN" sz="3300" b="1" dirty="0">
                <a:solidFill>
                  <a:srgbClr val="0070C0"/>
                </a:solidFill>
                <a:latin typeface="+mj-ea"/>
                <a:ea typeface="+mj-ea"/>
              </a:rPr>
              <a:t>神经元网络</a:t>
            </a:r>
            <a:r>
              <a:rPr lang="zh-CN" altLang="en-US" sz="3300" b="1" dirty="0">
                <a:solidFill>
                  <a:srgbClr val="0070C0"/>
                </a:solidFill>
                <a:latin typeface="+mj-ea"/>
                <a:ea typeface="+mj-ea"/>
              </a:rPr>
              <a:t>智能输运</a:t>
            </a:r>
          </a:p>
        </p:txBody>
      </p:sp>
      <p:sp>
        <p:nvSpPr>
          <p:cNvPr id="21" name="AutoShape 1027">
            <a:hlinkClick r:id="rId3" action="ppaction://hlinksldjump" highlightClick="1"/>
            <a:extLst>
              <a:ext uri="{FF2B5EF4-FFF2-40B4-BE49-F238E27FC236}">
                <a16:creationId xmlns:a16="http://schemas.microsoft.com/office/drawing/2014/main" id="{0A3D2184-4B8B-4D4E-A6CC-363FAC7015D9}"/>
              </a:ext>
            </a:extLst>
          </p:cNvPr>
          <p:cNvSpPr>
            <a:spLocks noChangeArrowheads="1"/>
          </p:cNvSpPr>
          <p:nvPr/>
        </p:nvSpPr>
        <p:spPr bwMode="auto">
          <a:xfrm>
            <a:off x="1969812" y="691045"/>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2" name="AutoShape 1036">
            <a:hlinkClick r:id="rId3" action="ppaction://hlinksldjump" highlightClick="1"/>
            <a:extLst>
              <a:ext uri="{FF2B5EF4-FFF2-40B4-BE49-F238E27FC236}">
                <a16:creationId xmlns:a16="http://schemas.microsoft.com/office/drawing/2014/main" id="{A3D8E68E-993B-4AA1-9057-0BF98253ED7C}"/>
              </a:ext>
            </a:extLst>
          </p:cNvPr>
          <p:cNvSpPr>
            <a:spLocks noChangeArrowheads="1"/>
          </p:cNvSpPr>
          <p:nvPr/>
        </p:nvSpPr>
        <p:spPr bwMode="auto">
          <a:xfrm>
            <a:off x="5779812" y="691045"/>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3" name="矩形 22">
            <a:extLst>
              <a:ext uri="{FF2B5EF4-FFF2-40B4-BE49-F238E27FC236}">
                <a16:creationId xmlns:a16="http://schemas.microsoft.com/office/drawing/2014/main" id="{7CF1D378-2A98-4941-96F1-026668374E7C}"/>
              </a:ext>
            </a:extLst>
          </p:cNvPr>
          <p:cNvSpPr/>
          <p:nvPr/>
        </p:nvSpPr>
        <p:spPr>
          <a:xfrm>
            <a:off x="486987" y="4414224"/>
            <a:ext cx="10910417" cy="1692066"/>
          </a:xfrm>
          <a:prstGeom prst="rect">
            <a:avLst/>
          </a:prstGeom>
        </p:spPr>
        <p:txBody>
          <a:bodyPr wrap="square">
            <a:spAutoFit/>
          </a:bodyPr>
          <a:lstStyle/>
          <a:p>
            <a:pPr marL="285750" indent="-285750" algn="just">
              <a:lnSpc>
                <a:spcPct val="150000"/>
              </a:lnSpc>
              <a:spcBef>
                <a:spcPts val="600"/>
              </a:spcBef>
              <a:spcAft>
                <a:spcPts val="0"/>
              </a:spcAft>
              <a:buFont typeface="Wingdings" panose="05000000000000000000" pitchFamily="2" charset="2"/>
              <a:buChar char="Ø"/>
            </a:pPr>
            <a:r>
              <a:rPr lang="zh-CN" altLang="zh-CN" b="1" dirty="0">
                <a:solidFill>
                  <a:srgbClr val="000066"/>
                </a:solidFill>
                <a:latin typeface="Times New Roman" panose="02020603050405020304" pitchFamily="18" charset="0"/>
                <a:cs typeface="Times New Roman" panose="02020603050405020304" pitchFamily="18" charset="0"/>
              </a:rPr>
              <a:t>各生产工位串联以及多线并联易出现工位速度不一致、工位故障等问题，会影响连续化生产和生产效率。</a:t>
            </a:r>
            <a:r>
              <a:rPr lang="zh-CN" altLang="en-US" b="1" dirty="0">
                <a:solidFill>
                  <a:srgbClr val="000066"/>
                </a:solidFill>
                <a:latin typeface="Times New Roman" panose="02020603050405020304" pitchFamily="18" charset="0"/>
                <a:cs typeface="Times New Roman" panose="02020603050405020304" pitchFamily="18" charset="0"/>
              </a:rPr>
              <a:t>在</a:t>
            </a:r>
            <a:r>
              <a:rPr lang="zh-CN" altLang="zh-CN" b="1" dirty="0">
                <a:solidFill>
                  <a:srgbClr val="000066"/>
                </a:solidFill>
                <a:latin typeface="Times New Roman" panose="02020603050405020304" pitchFamily="18" charset="0"/>
                <a:cs typeface="Times New Roman" panose="02020603050405020304" pitchFamily="18" charset="0"/>
              </a:rPr>
              <a:t>生产设备组网结构及协议的基础上，整合各生产设备的产线状况监测功能，组建</a:t>
            </a:r>
            <a:r>
              <a:rPr lang="zh-CN" altLang="zh-CN" b="1" dirty="0">
                <a:solidFill>
                  <a:srgbClr val="FF0000"/>
                </a:solidFill>
                <a:latin typeface="Times New Roman" panose="02020603050405020304" pitchFamily="18" charset="0"/>
                <a:cs typeface="Times New Roman" panose="02020603050405020304" pitchFamily="18" charset="0"/>
              </a:rPr>
              <a:t>全流程神经元网络</a:t>
            </a:r>
            <a:r>
              <a:rPr lang="zh-CN" altLang="zh-CN" b="1" dirty="0">
                <a:solidFill>
                  <a:srgbClr val="000066"/>
                </a:solidFill>
                <a:latin typeface="Times New Roman" panose="02020603050405020304" pitchFamily="18" charset="0"/>
                <a:cs typeface="Times New Roman" panose="02020603050405020304" pitchFamily="18" charset="0"/>
              </a:rPr>
              <a:t>，实现设备之间的互通、互懂，进而根据设备状态、工位速度、生产规格等实时生产状况，</a:t>
            </a:r>
            <a:r>
              <a:rPr lang="zh-CN" altLang="zh-CN" b="1" dirty="0">
                <a:solidFill>
                  <a:srgbClr val="FF0000"/>
                </a:solidFill>
                <a:latin typeface="Times New Roman" panose="02020603050405020304" pitchFamily="18" charset="0"/>
                <a:cs typeface="Times New Roman" panose="02020603050405020304" pitchFamily="18" charset="0"/>
              </a:rPr>
              <a:t>形成柔性输送策略，对产品输送线路和速度进行自主调整，确保整线生产平稳和连续化生产。</a:t>
            </a:r>
          </a:p>
        </p:txBody>
      </p:sp>
      <p:pic>
        <p:nvPicPr>
          <p:cNvPr id="24" name="图片 23">
            <a:extLst>
              <a:ext uri="{FF2B5EF4-FFF2-40B4-BE49-F238E27FC236}">
                <a16:creationId xmlns:a16="http://schemas.microsoft.com/office/drawing/2014/main" id="{FF9018DA-B4A2-440F-9CB7-D13B207261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3536" y="1414945"/>
            <a:ext cx="10632551" cy="2970703"/>
          </a:xfrm>
          <a:prstGeom prst="rect">
            <a:avLst/>
          </a:prstGeom>
        </p:spPr>
      </p:pic>
    </p:spTree>
    <p:extLst>
      <p:ext uri="{BB962C8B-B14F-4D97-AF65-F5344CB8AC3E}">
        <p14:creationId xmlns:p14="http://schemas.microsoft.com/office/powerpoint/2010/main" val="4000513792"/>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7" y="114300"/>
            <a:ext cx="4784711"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zh-CN" altLang="en-US" sz="3300" b="1" dirty="0">
                <a:solidFill>
                  <a:srgbClr val="0070C0"/>
                </a:solidFill>
                <a:latin typeface="+mj-ea"/>
                <a:ea typeface="+mj-ea"/>
              </a:rPr>
              <a:t>远程维护（服务型制造）</a:t>
            </a:r>
          </a:p>
        </p:txBody>
      </p:sp>
      <p:cxnSp>
        <p:nvCxnSpPr>
          <p:cNvPr id="134" name="直接连接符 133">
            <a:extLst>
              <a:ext uri="{FF2B5EF4-FFF2-40B4-BE49-F238E27FC236}">
                <a16:creationId xmlns:a16="http://schemas.microsoft.com/office/drawing/2014/main" id="{571ED268-0156-4774-A8D8-9FBFB6427241}"/>
              </a:ext>
            </a:extLst>
          </p:cNvPr>
          <p:cNvCxnSpPr/>
          <p:nvPr/>
        </p:nvCxnSpPr>
        <p:spPr>
          <a:xfrm flipV="1">
            <a:off x="3511550" y="825500"/>
            <a:ext cx="5121275" cy="254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AutoShape 1037">
            <a:hlinkClick r:id="rId3" action="ppaction://hlinksldjump" highlightClick="1"/>
            <a:extLst>
              <a:ext uri="{FF2B5EF4-FFF2-40B4-BE49-F238E27FC236}">
                <a16:creationId xmlns:a16="http://schemas.microsoft.com/office/drawing/2014/main" id="{2E1B1622-C998-4E8C-B900-FEF83AD0F34A}"/>
              </a:ext>
            </a:extLst>
          </p:cNvPr>
          <p:cNvSpPr>
            <a:spLocks noChangeArrowheads="1"/>
          </p:cNvSpPr>
          <p:nvPr/>
        </p:nvSpPr>
        <p:spPr bwMode="auto">
          <a:xfrm>
            <a:off x="5987018" y="1123950"/>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grpSp>
        <p:nvGrpSpPr>
          <p:cNvPr id="29" name="组合 33">
            <a:extLst>
              <a:ext uri="{FF2B5EF4-FFF2-40B4-BE49-F238E27FC236}">
                <a16:creationId xmlns:a16="http://schemas.microsoft.com/office/drawing/2014/main" id="{77968122-6EBD-45CF-A947-2DC9367D7162}"/>
              </a:ext>
            </a:extLst>
          </p:cNvPr>
          <p:cNvGrpSpPr>
            <a:grpSpLocks/>
          </p:cNvGrpSpPr>
          <p:nvPr/>
        </p:nvGrpSpPr>
        <p:grpSpPr bwMode="auto">
          <a:xfrm>
            <a:off x="3835955" y="2286000"/>
            <a:ext cx="6416675" cy="3857625"/>
            <a:chOff x="2727569" y="2285992"/>
            <a:chExt cx="6416431" cy="3857652"/>
          </a:xfrm>
        </p:grpSpPr>
        <p:pic>
          <p:nvPicPr>
            <p:cNvPr id="30" name="Picture 4">
              <a:extLst>
                <a:ext uri="{FF2B5EF4-FFF2-40B4-BE49-F238E27FC236}">
                  <a16:creationId xmlns:a16="http://schemas.microsoft.com/office/drawing/2014/main" id="{4D0083A8-E98C-4FD4-AB4E-E16F4B9318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27569" y="2428868"/>
              <a:ext cx="6416431" cy="371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云形 30">
              <a:extLst>
                <a:ext uri="{FF2B5EF4-FFF2-40B4-BE49-F238E27FC236}">
                  <a16:creationId xmlns:a16="http://schemas.microsoft.com/office/drawing/2014/main" id="{E4BB59C5-F68D-4BD5-8260-F52E05738784}"/>
                </a:ext>
              </a:extLst>
            </p:cNvPr>
            <p:cNvSpPr/>
            <p:nvPr/>
          </p:nvSpPr>
          <p:spPr bwMode="auto">
            <a:xfrm>
              <a:off x="3857826" y="2285992"/>
              <a:ext cx="3043122" cy="1857388"/>
            </a:xfrm>
            <a:prstGeom prst="cloud">
              <a:avLst/>
            </a:prstGeom>
            <a:gradFill>
              <a:gsLst>
                <a:gs pos="0">
                  <a:srgbClr val="DDEBCF"/>
                </a:gs>
                <a:gs pos="50000">
                  <a:srgbClr val="9CB86E"/>
                </a:gs>
                <a:gs pos="100000">
                  <a:srgbClr val="156B13"/>
                </a:gs>
              </a:gsLst>
              <a:lin ang="16200000" scaled="0"/>
            </a:gradFill>
            <a:ln w="9525" cap="flat" cmpd="sng" algn="ctr">
              <a:solidFill>
                <a:schemeClr val="tx1"/>
              </a:solidFill>
              <a:prstDash val="solid"/>
              <a:round/>
              <a:headEnd type="none" w="med" len="med"/>
              <a:tailEnd type="none" w="med" len="med"/>
            </a:ln>
            <a:effectLst/>
          </p:spPr>
          <p:txBody>
            <a:bodyPr/>
            <a:lstStyle/>
            <a:p>
              <a:pPr eaLnBrk="1" hangingPunct="1">
                <a:defRPr/>
              </a:pPr>
              <a:endParaRPr lang="en-US" altLang="zh-CN" dirty="0">
                <a:latin typeface="Arial" charset="0"/>
              </a:endParaRPr>
            </a:p>
            <a:p>
              <a:pPr eaLnBrk="1" hangingPunct="1">
                <a:defRPr/>
              </a:pPr>
              <a:r>
                <a:rPr lang="zh-CN" altLang="en-US" dirty="0">
                  <a:latin typeface="Arial" charset="0"/>
                </a:rPr>
                <a:t>   </a:t>
              </a:r>
              <a:endParaRPr lang="en-US" altLang="zh-CN" sz="1600" dirty="0">
                <a:latin typeface="Arial" charset="0"/>
              </a:endParaRPr>
            </a:p>
          </p:txBody>
        </p:sp>
      </p:grpSp>
      <p:pic>
        <p:nvPicPr>
          <p:cNvPr id="32" name="Picture 3">
            <a:extLst>
              <a:ext uri="{FF2B5EF4-FFF2-40B4-BE49-F238E27FC236}">
                <a16:creationId xmlns:a16="http://schemas.microsoft.com/office/drawing/2014/main" id="{7805A38A-33CC-495F-B49C-475B4DE4150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65943" y="2143125"/>
            <a:ext cx="1714500" cy="125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6">
            <a:extLst>
              <a:ext uri="{FF2B5EF4-FFF2-40B4-BE49-F238E27FC236}">
                <a16:creationId xmlns:a16="http://schemas.microsoft.com/office/drawing/2014/main" id="{1CA7F16A-A89A-42E8-9326-CCD34B9C9B6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51630" y="3500438"/>
            <a:ext cx="2076450" cy="99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TextBox 28">
            <a:extLst>
              <a:ext uri="{FF2B5EF4-FFF2-40B4-BE49-F238E27FC236}">
                <a16:creationId xmlns:a16="http://schemas.microsoft.com/office/drawing/2014/main" id="{5DA3A9CE-7EC6-4BAF-84AB-E9A2EA84F7AF}"/>
              </a:ext>
            </a:extLst>
          </p:cNvPr>
          <p:cNvSpPr txBox="1">
            <a:spLocks noChangeArrowheads="1"/>
          </p:cNvSpPr>
          <p:nvPr/>
        </p:nvSpPr>
        <p:spPr bwMode="auto">
          <a:xfrm>
            <a:off x="8823880" y="2500313"/>
            <a:ext cx="15716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algn="ctr"/>
            <a:r>
              <a:rPr lang="zh-CN" altLang="en-US" sz="1400"/>
              <a:t>设备远程服务中心</a:t>
            </a:r>
          </a:p>
        </p:txBody>
      </p:sp>
      <p:pic>
        <p:nvPicPr>
          <p:cNvPr id="35" name="Picture 9">
            <a:extLst>
              <a:ext uri="{FF2B5EF4-FFF2-40B4-BE49-F238E27FC236}">
                <a16:creationId xmlns:a16="http://schemas.microsoft.com/office/drawing/2014/main" id="{9D4B2234-1B70-482E-9DCF-EAF1B961B2C1}"/>
              </a:ext>
            </a:extLst>
          </p:cNvPr>
          <p:cNvPicPr>
            <a:picLocks noChangeAspect="1" noChangeArrowheads="1"/>
          </p:cNvPicPr>
          <p:nvPr/>
        </p:nvPicPr>
        <p:blipFill>
          <a:blip r:embed="rId7"/>
          <a:srcRect/>
          <a:stretch>
            <a:fillRect/>
          </a:stretch>
        </p:blipFill>
        <p:spPr bwMode="auto">
          <a:xfrm>
            <a:off x="3894693" y="1500188"/>
            <a:ext cx="1285875" cy="1060450"/>
          </a:xfrm>
          <a:prstGeom prst="rect">
            <a:avLst/>
          </a:prstGeom>
          <a:noFill/>
          <a:ln w="9525">
            <a:noFill/>
            <a:miter lim="800000"/>
            <a:headEnd/>
            <a:tailEnd/>
          </a:ln>
          <a:effectLst>
            <a:prstShdw prst="shdw17" dist="17961" dir="2700000">
              <a:schemeClr val="accent1">
                <a:gamma/>
                <a:shade val="60000"/>
                <a:invGamma/>
              </a:schemeClr>
            </a:prstShdw>
          </a:effectLst>
        </p:spPr>
      </p:pic>
      <p:sp>
        <p:nvSpPr>
          <p:cNvPr id="36" name="矩形 32">
            <a:extLst>
              <a:ext uri="{FF2B5EF4-FFF2-40B4-BE49-F238E27FC236}">
                <a16:creationId xmlns:a16="http://schemas.microsoft.com/office/drawing/2014/main" id="{51CF958F-5F4A-4554-B14E-0D2CD57C1B33}"/>
              </a:ext>
            </a:extLst>
          </p:cNvPr>
          <p:cNvSpPr>
            <a:spLocks noChangeArrowheads="1"/>
          </p:cNvSpPr>
          <p:nvPr/>
        </p:nvSpPr>
        <p:spPr bwMode="auto">
          <a:xfrm>
            <a:off x="5180568" y="2786063"/>
            <a:ext cx="257175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algn="ctr" eaLnBrk="1" hangingPunct="1"/>
            <a:r>
              <a:rPr lang="en-US" altLang="zh-CN" dirty="0">
                <a:solidFill>
                  <a:schemeClr val="bg1"/>
                </a:solidFill>
              </a:rPr>
              <a:t>(</a:t>
            </a:r>
            <a:r>
              <a:rPr lang="zh-CN" altLang="en-US" dirty="0">
                <a:solidFill>
                  <a:schemeClr val="bg1"/>
                </a:solidFill>
              </a:rPr>
              <a:t>设备数据中心</a:t>
            </a:r>
            <a:r>
              <a:rPr lang="en-US" altLang="zh-CN" dirty="0">
                <a:solidFill>
                  <a:schemeClr val="bg1"/>
                </a:solidFill>
              </a:rPr>
              <a:t>/</a:t>
            </a:r>
          </a:p>
          <a:p>
            <a:pPr algn="ctr" eaLnBrk="1" hangingPunct="1"/>
            <a:r>
              <a:rPr lang="zh-CN" altLang="en-US" dirty="0">
                <a:solidFill>
                  <a:schemeClr val="bg1"/>
                </a:solidFill>
              </a:rPr>
              <a:t>管理系统）</a:t>
            </a:r>
            <a:endParaRPr lang="en-US" altLang="zh-CN" dirty="0">
              <a:solidFill>
                <a:schemeClr val="bg1"/>
              </a:solidFill>
            </a:endParaRPr>
          </a:p>
        </p:txBody>
      </p:sp>
      <p:pic>
        <p:nvPicPr>
          <p:cNvPr id="37" name="Picture 10">
            <a:extLst>
              <a:ext uri="{FF2B5EF4-FFF2-40B4-BE49-F238E27FC236}">
                <a16:creationId xmlns:a16="http://schemas.microsoft.com/office/drawing/2014/main" id="{F80E665D-6F45-492A-AF39-FD72C0A83BE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37255" y="4786313"/>
            <a:ext cx="1571625" cy="109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TextBox 36">
            <a:extLst>
              <a:ext uri="{FF2B5EF4-FFF2-40B4-BE49-F238E27FC236}">
                <a16:creationId xmlns:a16="http://schemas.microsoft.com/office/drawing/2014/main" id="{A8B40B62-A15D-482F-8B56-3E0653E3EDF6}"/>
              </a:ext>
            </a:extLst>
          </p:cNvPr>
          <p:cNvSpPr txBox="1">
            <a:spLocks noChangeArrowheads="1"/>
          </p:cNvSpPr>
          <p:nvPr/>
        </p:nvSpPr>
        <p:spPr bwMode="auto">
          <a:xfrm>
            <a:off x="1894443" y="5643563"/>
            <a:ext cx="7858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sz="1400"/>
              <a:t>产品</a:t>
            </a:r>
          </a:p>
        </p:txBody>
      </p:sp>
      <p:pic>
        <p:nvPicPr>
          <p:cNvPr id="39" name="Picture 12">
            <a:extLst>
              <a:ext uri="{FF2B5EF4-FFF2-40B4-BE49-F238E27FC236}">
                <a16:creationId xmlns:a16="http://schemas.microsoft.com/office/drawing/2014/main" id="{7A44FC94-8B0C-4B7B-A49F-AA33831320F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70893" y="2857500"/>
            <a:ext cx="995362" cy="928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11">
            <a:extLst>
              <a:ext uri="{FF2B5EF4-FFF2-40B4-BE49-F238E27FC236}">
                <a16:creationId xmlns:a16="http://schemas.microsoft.com/office/drawing/2014/main" id="{1F3438B8-46A8-45B7-A139-A2F2053B0D6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80318" y="4714875"/>
            <a:ext cx="85725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13">
            <a:extLst>
              <a:ext uri="{FF2B5EF4-FFF2-40B4-BE49-F238E27FC236}">
                <a16:creationId xmlns:a16="http://schemas.microsoft.com/office/drawing/2014/main" id="{7CBE3A54-EF75-4C6E-A515-3FE82898901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80568" y="2143125"/>
            <a:ext cx="566737"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新月形 46">
            <a:extLst>
              <a:ext uri="{FF2B5EF4-FFF2-40B4-BE49-F238E27FC236}">
                <a16:creationId xmlns:a16="http://schemas.microsoft.com/office/drawing/2014/main" id="{0D67040A-2F20-48D0-9950-F5F9A22EC174}"/>
              </a:ext>
            </a:extLst>
          </p:cNvPr>
          <p:cNvSpPr>
            <a:spLocks noChangeArrowheads="1"/>
          </p:cNvSpPr>
          <p:nvPr/>
        </p:nvSpPr>
        <p:spPr bwMode="auto">
          <a:xfrm rot="1200000">
            <a:off x="1910318" y="1200150"/>
            <a:ext cx="1306512" cy="2520950"/>
          </a:xfrm>
          <a:prstGeom prst="moon">
            <a:avLst>
              <a:gd name="adj" fmla="val 5000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r>
              <a:rPr lang="zh-CN" altLang="en-US"/>
              <a:t>生产设备</a:t>
            </a:r>
          </a:p>
        </p:txBody>
      </p:sp>
      <p:pic>
        <p:nvPicPr>
          <p:cNvPr id="43" name="Picture 14">
            <a:extLst>
              <a:ext uri="{FF2B5EF4-FFF2-40B4-BE49-F238E27FC236}">
                <a16:creationId xmlns:a16="http://schemas.microsoft.com/office/drawing/2014/main" id="{6D010E40-7504-47E9-A92B-C3E7CB195C8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09443" y="1714500"/>
            <a:ext cx="757237"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8">
            <a:extLst>
              <a:ext uri="{FF2B5EF4-FFF2-40B4-BE49-F238E27FC236}">
                <a16:creationId xmlns:a16="http://schemas.microsoft.com/office/drawing/2014/main" id="{F4F95DD5-DEF5-417C-BC3D-D0457B65B16D}"/>
              </a:ext>
            </a:extLst>
          </p:cNvPr>
          <p:cNvPicPr>
            <a:picLocks noChangeAspect="1" noChangeArrowheads="1"/>
          </p:cNvPicPr>
          <p:nvPr/>
        </p:nvPicPr>
        <p:blipFill>
          <a:blip r:embed="rId12"/>
          <a:srcRect/>
          <a:stretch>
            <a:fillRect/>
          </a:stretch>
        </p:blipFill>
        <p:spPr bwMode="auto">
          <a:xfrm>
            <a:off x="8252380" y="928688"/>
            <a:ext cx="2214563" cy="1493837"/>
          </a:xfrm>
          <a:prstGeom prst="rect">
            <a:avLst/>
          </a:prstGeom>
          <a:noFill/>
          <a:ln w="9525">
            <a:noFill/>
            <a:miter lim="800000"/>
            <a:headEnd/>
            <a:tailEnd/>
          </a:ln>
          <a:effectLst>
            <a:prstShdw prst="shdw17" dist="17961" dir="2700000">
              <a:schemeClr val="accent1">
                <a:gamma/>
                <a:shade val="60000"/>
                <a:invGamma/>
              </a:schemeClr>
            </a:prstShdw>
          </a:effectLst>
        </p:spPr>
      </p:pic>
    </p:spTree>
    <p:extLst>
      <p:ext uri="{BB962C8B-B14F-4D97-AF65-F5344CB8AC3E}">
        <p14:creationId xmlns:p14="http://schemas.microsoft.com/office/powerpoint/2010/main" val="1861444309"/>
      </p:ext>
    </p:extLst>
  </p:cSld>
  <p:clrMapOvr>
    <a:masterClrMapping/>
  </p:clrMapOvr>
  <p:transition spd="slow">
    <p:wip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8" y="114300"/>
            <a:ext cx="3644472"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zh-CN" altLang="en-US" sz="3300" b="1" dirty="0">
                <a:solidFill>
                  <a:srgbClr val="0070C0"/>
                </a:solidFill>
                <a:latin typeface="+mj-ea"/>
                <a:ea typeface="+mj-ea"/>
              </a:rPr>
              <a:t>网络协同制造</a:t>
            </a:r>
          </a:p>
        </p:txBody>
      </p:sp>
      <p:cxnSp>
        <p:nvCxnSpPr>
          <p:cNvPr id="134" name="直接连接符 133">
            <a:extLst>
              <a:ext uri="{FF2B5EF4-FFF2-40B4-BE49-F238E27FC236}">
                <a16:creationId xmlns:a16="http://schemas.microsoft.com/office/drawing/2014/main" id="{571ED268-0156-4774-A8D8-9FBFB6427241}"/>
              </a:ext>
            </a:extLst>
          </p:cNvPr>
          <p:cNvCxnSpPr/>
          <p:nvPr/>
        </p:nvCxnSpPr>
        <p:spPr>
          <a:xfrm flipV="1">
            <a:off x="3511550" y="825500"/>
            <a:ext cx="5121275" cy="254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7" name="组合 22">
            <a:extLst>
              <a:ext uri="{FF2B5EF4-FFF2-40B4-BE49-F238E27FC236}">
                <a16:creationId xmlns:a16="http://schemas.microsoft.com/office/drawing/2014/main" id="{D93859E6-4FCD-4311-9600-3F8946BF682A}"/>
              </a:ext>
            </a:extLst>
          </p:cNvPr>
          <p:cNvGrpSpPr>
            <a:grpSpLocks/>
          </p:cNvGrpSpPr>
          <p:nvPr/>
        </p:nvGrpSpPr>
        <p:grpSpPr bwMode="auto">
          <a:xfrm>
            <a:off x="1345407" y="779463"/>
            <a:ext cx="9197008" cy="4997450"/>
            <a:chOff x="246297" y="1643050"/>
            <a:chExt cx="8897703" cy="4286280"/>
          </a:xfrm>
        </p:grpSpPr>
        <p:pic>
          <p:nvPicPr>
            <p:cNvPr id="18" name="Picture 7">
              <a:extLst>
                <a:ext uri="{FF2B5EF4-FFF2-40B4-BE49-F238E27FC236}">
                  <a16:creationId xmlns:a16="http://schemas.microsoft.com/office/drawing/2014/main" id="{BBE52FFD-8E25-46AA-82F9-C69D4ABC7D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6297" y="1643050"/>
              <a:ext cx="8897703" cy="4030683"/>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9" name="TextBox 8">
              <a:extLst>
                <a:ext uri="{FF2B5EF4-FFF2-40B4-BE49-F238E27FC236}">
                  <a16:creationId xmlns:a16="http://schemas.microsoft.com/office/drawing/2014/main" id="{9A03D2A5-B331-4BE1-9E51-B873E4387955}"/>
                </a:ext>
              </a:extLst>
            </p:cNvPr>
            <p:cNvSpPr txBox="1">
              <a:spLocks noChangeArrowheads="1"/>
            </p:cNvSpPr>
            <p:nvPr/>
          </p:nvSpPr>
          <p:spPr bwMode="auto">
            <a:xfrm>
              <a:off x="5429224" y="5500702"/>
              <a:ext cx="3000396" cy="369332"/>
            </a:xfrm>
            <a:prstGeom prst="rect">
              <a:avLst/>
            </a:prstGeom>
            <a:gradFill rotWithShape="0">
              <a:gsLst>
                <a:gs pos="0">
                  <a:srgbClr val="5E9EFF"/>
                </a:gs>
                <a:gs pos="39999">
                  <a:srgbClr val="85C2FF"/>
                </a:gs>
                <a:gs pos="70000">
                  <a:srgbClr val="C4D6EB"/>
                </a:gs>
                <a:gs pos="100000">
                  <a:srgbClr val="FFEBFA"/>
                </a:gs>
              </a:gsLst>
              <a:lin ang="16200000"/>
            </a:gra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dirty="0"/>
                <a:t>制剂生产工厂</a:t>
              </a:r>
            </a:p>
          </p:txBody>
        </p:sp>
        <p:sp>
          <p:nvSpPr>
            <p:cNvPr id="20" name="TextBox 9">
              <a:extLst>
                <a:ext uri="{FF2B5EF4-FFF2-40B4-BE49-F238E27FC236}">
                  <a16:creationId xmlns:a16="http://schemas.microsoft.com/office/drawing/2014/main" id="{7B82D3BB-423D-43B7-83B0-EA4B2664345B}"/>
                </a:ext>
              </a:extLst>
            </p:cNvPr>
            <p:cNvSpPr txBox="1">
              <a:spLocks noChangeArrowheads="1"/>
            </p:cNvSpPr>
            <p:nvPr/>
          </p:nvSpPr>
          <p:spPr bwMode="auto">
            <a:xfrm>
              <a:off x="357158" y="5559998"/>
              <a:ext cx="3000396" cy="369332"/>
            </a:xfrm>
            <a:prstGeom prst="rect">
              <a:avLst/>
            </a:prstGeom>
            <a:gradFill rotWithShape="0">
              <a:gsLst>
                <a:gs pos="0">
                  <a:srgbClr val="5E9EFF"/>
                </a:gs>
                <a:gs pos="39999">
                  <a:srgbClr val="85C2FF"/>
                </a:gs>
                <a:gs pos="70000">
                  <a:srgbClr val="C4D6EB"/>
                </a:gs>
                <a:gs pos="100000">
                  <a:srgbClr val="FFEBFA"/>
                </a:gs>
              </a:gsLst>
              <a:lin ang="16200000"/>
            </a:gra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dirty="0"/>
                <a:t>原料生产工厂</a:t>
              </a:r>
            </a:p>
          </p:txBody>
        </p:sp>
        <p:sp>
          <p:nvSpPr>
            <p:cNvPr id="21" name="左箭头 13">
              <a:extLst>
                <a:ext uri="{FF2B5EF4-FFF2-40B4-BE49-F238E27FC236}">
                  <a16:creationId xmlns:a16="http://schemas.microsoft.com/office/drawing/2014/main" id="{CADE212C-65D6-4CD5-9F46-30690B168E71}"/>
                </a:ext>
              </a:extLst>
            </p:cNvPr>
            <p:cNvSpPr>
              <a:spLocks noChangeArrowheads="1"/>
            </p:cNvSpPr>
            <p:nvPr/>
          </p:nvSpPr>
          <p:spPr bwMode="auto">
            <a:xfrm>
              <a:off x="4000496" y="2714620"/>
              <a:ext cx="1285884" cy="500066"/>
            </a:xfrm>
            <a:prstGeom prst="leftArrow">
              <a:avLst>
                <a:gd name="adj1" fmla="val 50000"/>
                <a:gd name="adj2" fmla="val 50000"/>
              </a:avLst>
            </a:prstGeom>
            <a:solidFill>
              <a:schemeClr val="accent1"/>
            </a:solidFill>
            <a:ln w="9525" algn="ctr">
              <a:solidFill>
                <a:schemeClr val="tx1"/>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2" name="左箭头 14">
              <a:extLst>
                <a:ext uri="{FF2B5EF4-FFF2-40B4-BE49-F238E27FC236}">
                  <a16:creationId xmlns:a16="http://schemas.microsoft.com/office/drawing/2014/main" id="{C39772F0-8022-4A35-8481-BE9C918384E2}"/>
                </a:ext>
              </a:extLst>
            </p:cNvPr>
            <p:cNvSpPr>
              <a:spLocks noChangeArrowheads="1"/>
            </p:cNvSpPr>
            <p:nvPr/>
          </p:nvSpPr>
          <p:spPr bwMode="auto">
            <a:xfrm rot="10800000">
              <a:off x="4032345" y="4429131"/>
              <a:ext cx="1285884" cy="500067"/>
            </a:xfrm>
            <a:prstGeom prst="leftArrow">
              <a:avLst>
                <a:gd name="adj1" fmla="val 50000"/>
                <a:gd name="adj2" fmla="val 50000"/>
              </a:avLst>
            </a:prstGeom>
            <a:solidFill>
              <a:schemeClr val="accent1"/>
            </a:solidFill>
            <a:ln w="9525" algn="ctr">
              <a:solidFill>
                <a:schemeClr val="tx1"/>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3" name="云形 22">
              <a:extLst>
                <a:ext uri="{FF2B5EF4-FFF2-40B4-BE49-F238E27FC236}">
                  <a16:creationId xmlns:a16="http://schemas.microsoft.com/office/drawing/2014/main" id="{55311C05-4979-4E1F-AC63-CCBF09253394}"/>
                </a:ext>
              </a:extLst>
            </p:cNvPr>
            <p:cNvSpPr/>
            <p:nvPr/>
          </p:nvSpPr>
          <p:spPr bwMode="auto">
            <a:xfrm>
              <a:off x="2643359" y="3357562"/>
              <a:ext cx="1285841" cy="714380"/>
            </a:xfrm>
            <a:prstGeom prst="cloud">
              <a:avLst/>
            </a:prstGeom>
            <a:gradFill>
              <a:gsLst>
                <a:gs pos="0">
                  <a:srgbClr val="5E9EFF"/>
                </a:gs>
                <a:gs pos="39999">
                  <a:srgbClr val="85C2FF"/>
                </a:gs>
                <a:gs pos="70000">
                  <a:srgbClr val="C4D6EB"/>
                </a:gs>
                <a:gs pos="100000">
                  <a:srgbClr val="FFEBFA"/>
                </a:gs>
              </a:gsLst>
              <a:lin ang="16200000" scaled="0"/>
            </a:gradFill>
            <a:ln w="9525" cap="flat" cmpd="sng" algn="ctr">
              <a:solidFill>
                <a:schemeClr val="tx1"/>
              </a:solidFill>
              <a:prstDash val="solid"/>
              <a:round/>
              <a:headEnd type="none" w="med" len="med"/>
              <a:tailEnd type="none" w="med" len="med"/>
            </a:ln>
            <a:effectLst/>
          </p:spPr>
          <p:txBody>
            <a:bodyPr/>
            <a:lstStyle/>
            <a:p>
              <a:pPr eaLnBrk="1" hangingPunct="1">
                <a:defRPr/>
              </a:pPr>
              <a:endParaRPr lang="zh-CN" altLang="en-US">
                <a:latin typeface="Arial" charset="0"/>
              </a:endParaRPr>
            </a:p>
          </p:txBody>
        </p:sp>
        <p:sp>
          <p:nvSpPr>
            <p:cNvPr id="24" name="云形 23">
              <a:extLst>
                <a:ext uri="{FF2B5EF4-FFF2-40B4-BE49-F238E27FC236}">
                  <a16:creationId xmlns:a16="http://schemas.microsoft.com/office/drawing/2014/main" id="{B347FCE5-73C6-459D-89BF-3A781BC8C349}"/>
                </a:ext>
              </a:extLst>
            </p:cNvPr>
            <p:cNvSpPr/>
            <p:nvPr/>
          </p:nvSpPr>
          <p:spPr bwMode="auto">
            <a:xfrm>
              <a:off x="5429348" y="3429001"/>
              <a:ext cx="1357276" cy="714380"/>
            </a:xfrm>
            <a:prstGeom prst="cloud">
              <a:avLst/>
            </a:prstGeom>
            <a:gradFill>
              <a:gsLst>
                <a:gs pos="0">
                  <a:srgbClr val="5E9EFF"/>
                </a:gs>
                <a:gs pos="39999">
                  <a:srgbClr val="85C2FF"/>
                </a:gs>
                <a:gs pos="70000">
                  <a:srgbClr val="C4D6EB"/>
                </a:gs>
                <a:gs pos="100000">
                  <a:srgbClr val="FFEBFA"/>
                </a:gs>
              </a:gsLst>
              <a:lin ang="16200000" scaled="0"/>
            </a:gradFill>
            <a:ln w="9525" cap="flat" cmpd="sng" algn="ctr">
              <a:solidFill>
                <a:schemeClr val="tx1"/>
              </a:solidFill>
              <a:prstDash val="solid"/>
              <a:round/>
              <a:headEnd type="none" w="med" len="med"/>
              <a:tailEnd type="none" w="med" len="med"/>
            </a:ln>
            <a:effectLst/>
          </p:spPr>
          <p:txBody>
            <a:bodyPr/>
            <a:lstStyle/>
            <a:p>
              <a:pPr eaLnBrk="1" hangingPunct="1">
                <a:defRPr/>
              </a:pPr>
              <a:endParaRPr lang="zh-CN" altLang="en-US">
                <a:latin typeface="Arial" charset="0"/>
              </a:endParaRPr>
            </a:p>
          </p:txBody>
        </p:sp>
        <p:sp>
          <p:nvSpPr>
            <p:cNvPr id="25" name="TextBox 20">
              <a:extLst>
                <a:ext uri="{FF2B5EF4-FFF2-40B4-BE49-F238E27FC236}">
                  <a16:creationId xmlns:a16="http://schemas.microsoft.com/office/drawing/2014/main" id="{68E8F311-1A7C-4A6C-8F7B-14A0F17CA217}"/>
                </a:ext>
              </a:extLst>
            </p:cNvPr>
            <p:cNvSpPr txBox="1">
              <a:spLocks noChangeArrowheads="1"/>
            </p:cNvSpPr>
            <p:nvPr/>
          </p:nvSpPr>
          <p:spPr bwMode="auto">
            <a:xfrm>
              <a:off x="4214810" y="2549719"/>
              <a:ext cx="142876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sz="1400"/>
                <a:t>定制化需求</a:t>
              </a:r>
            </a:p>
          </p:txBody>
        </p:sp>
        <p:sp>
          <p:nvSpPr>
            <p:cNvPr id="26" name="TextBox 21">
              <a:extLst>
                <a:ext uri="{FF2B5EF4-FFF2-40B4-BE49-F238E27FC236}">
                  <a16:creationId xmlns:a16="http://schemas.microsoft.com/office/drawing/2014/main" id="{CE8D3766-7ABA-4243-AC6C-960A2F05C6AE}"/>
                </a:ext>
              </a:extLst>
            </p:cNvPr>
            <p:cNvSpPr txBox="1">
              <a:spLocks noChangeArrowheads="1"/>
            </p:cNvSpPr>
            <p:nvPr/>
          </p:nvSpPr>
          <p:spPr bwMode="auto">
            <a:xfrm>
              <a:off x="4000496" y="4214818"/>
              <a:ext cx="142876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sz="1400"/>
                <a:t>原料信息</a:t>
              </a:r>
            </a:p>
          </p:txBody>
        </p:sp>
      </p:grpSp>
      <p:sp>
        <p:nvSpPr>
          <p:cNvPr id="27" name="左右箭头 24">
            <a:extLst>
              <a:ext uri="{FF2B5EF4-FFF2-40B4-BE49-F238E27FC236}">
                <a16:creationId xmlns:a16="http://schemas.microsoft.com/office/drawing/2014/main" id="{81F88E24-04B2-4BE3-ADD8-8C9D9A7A990E}"/>
              </a:ext>
            </a:extLst>
          </p:cNvPr>
          <p:cNvSpPr>
            <a:spLocks noChangeArrowheads="1"/>
          </p:cNvSpPr>
          <p:nvPr/>
        </p:nvSpPr>
        <p:spPr bwMode="auto">
          <a:xfrm>
            <a:off x="5265255" y="5491163"/>
            <a:ext cx="1357313" cy="285750"/>
          </a:xfrm>
          <a:prstGeom prst="leftRightArrow">
            <a:avLst>
              <a:gd name="adj1" fmla="val 50000"/>
              <a:gd name="adj2" fmla="val 50007"/>
            </a:avLst>
          </a:prstGeom>
          <a:solidFill>
            <a:schemeClr val="accent1"/>
          </a:solidFill>
          <a:ln w="9525" algn="ctr">
            <a:solidFill>
              <a:schemeClr val="tx1"/>
            </a:solidFill>
            <a:round/>
            <a:headEnd/>
            <a:tailEnd/>
          </a:ln>
        </p:spPr>
        <p:txBody>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8" name="TextBox 20">
            <a:extLst>
              <a:ext uri="{FF2B5EF4-FFF2-40B4-BE49-F238E27FC236}">
                <a16:creationId xmlns:a16="http://schemas.microsoft.com/office/drawing/2014/main" id="{13590050-8C55-441F-8264-CCA06551C307}"/>
              </a:ext>
            </a:extLst>
          </p:cNvPr>
          <p:cNvSpPr txBox="1">
            <a:spLocks noChangeArrowheads="1"/>
          </p:cNvSpPr>
          <p:nvPr/>
        </p:nvSpPr>
        <p:spPr bwMode="auto">
          <a:xfrm>
            <a:off x="5495486" y="2219519"/>
            <a:ext cx="14287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sz="1400" dirty="0"/>
              <a:t>智能物流</a:t>
            </a:r>
          </a:p>
        </p:txBody>
      </p:sp>
    </p:spTree>
    <p:extLst>
      <p:ext uri="{BB962C8B-B14F-4D97-AF65-F5344CB8AC3E}">
        <p14:creationId xmlns:p14="http://schemas.microsoft.com/office/powerpoint/2010/main" val="2882794874"/>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文本框 14"/>
          <p:cNvSpPr txBox="1">
            <a:spLocks noChangeArrowheads="1"/>
          </p:cNvSpPr>
          <p:nvPr/>
        </p:nvSpPr>
        <p:spPr bwMode="auto">
          <a:xfrm>
            <a:off x="1073150" y="-63500"/>
            <a:ext cx="908050" cy="830263"/>
          </a:xfrm>
          <a:prstGeom prst="rect">
            <a:avLst/>
          </a:prstGeom>
          <a:noFill/>
          <a:ln w="9525">
            <a:noFill/>
            <a:miter lim="800000"/>
            <a:headEnd/>
            <a:tailEnd/>
          </a:ln>
        </p:spPr>
        <p:txBody>
          <a:bodyPr>
            <a:spAutoFit/>
          </a:bodyPr>
          <a:lstStyle/>
          <a:p>
            <a:r>
              <a:rPr lang="en-US" altLang="zh-CN" sz="4800" b="1">
                <a:solidFill>
                  <a:schemeClr val="bg1"/>
                </a:solidFill>
                <a:latin typeface="微软雅黑" pitchFamily="34" charset="-122"/>
                <a:ea typeface="微软雅黑" pitchFamily="34" charset="-122"/>
              </a:rPr>
              <a:t>1</a:t>
            </a:r>
            <a:endParaRPr lang="zh-CN" altLang="en-US" sz="4800" b="1">
              <a:solidFill>
                <a:schemeClr val="bg1"/>
              </a:solidFill>
              <a:latin typeface="微软雅黑" pitchFamily="34" charset="-122"/>
              <a:ea typeface="微软雅黑" pitchFamily="34" charset="-122"/>
            </a:endParaRPr>
          </a:p>
        </p:txBody>
      </p:sp>
      <p:sp>
        <p:nvSpPr>
          <p:cNvPr id="10" name="TextBox 13">
            <a:extLst>
              <a:ext uri="{FF2B5EF4-FFF2-40B4-BE49-F238E27FC236}">
                <a16:creationId xmlns:a16="http://schemas.microsoft.com/office/drawing/2014/main" id="{3148199D-256C-4C55-B1E2-42F49BBF65CB}"/>
              </a:ext>
            </a:extLst>
          </p:cNvPr>
          <p:cNvSpPr txBox="1">
            <a:spLocks noChangeArrowheads="1"/>
          </p:cNvSpPr>
          <p:nvPr/>
        </p:nvSpPr>
        <p:spPr bwMode="auto">
          <a:xfrm>
            <a:off x="300065" y="28465"/>
            <a:ext cx="503359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algn="ctr">
              <a:defRPr/>
            </a:pPr>
            <a:r>
              <a:rPr lang="zh-CN" altLang="en-US" sz="3600" dirty="0">
                <a:solidFill>
                  <a:srgbClr val="0070C0"/>
                </a:solidFill>
                <a:latin typeface="+mj-ea"/>
                <a:ea typeface="+mj-ea"/>
              </a:rPr>
              <a:t>流程型</a:t>
            </a:r>
            <a:r>
              <a:rPr lang="en-US" altLang="zh-CN" sz="3600" dirty="0">
                <a:solidFill>
                  <a:srgbClr val="0070C0"/>
                </a:solidFill>
                <a:latin typeface="+mj-ea"/>
                <a:ea typeface="+mj-ea"/>
              </a:rPr>
              <a:t>&amp;&amp;</a:t>
            </a:r>
            <a:r>
              <a:rPr lang="zh-CN" altLang="en-US" sz="3600" dirty="0">
                <a:solidFill>
                  <a:srgbClr val="0070C0"/>
                </a:solidFill>
                <a:latin typeface="+mj-ea"/>
                <a:ea typeface="+mj-ea"/>
              </a:rPr>
              <a:t>离散型</a:t>
            </a:r>
          </a:p>
        </p:txBody>
      </p:sp>
      <p:pic>
        <p:nvPicPr>
          <p:cNvPr id="8" name="图片 2">
            <a:extLst>
              <a:ext uri="{FF2B5EF4-FFF2-40B4-BE49-F238E27FC236}">
                <a16:creationId xmlns:a16="http://schemas.microsoft.com/office/drawing/2014/main" id="{946CD659-8F2F-46C8-B885-CA1029A0EE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7248" y="1494302"/>
            <a:ext cx="4588398" cy="2873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13">
            <a:extLst>
              <a:ext uri="{FF2B5EF4-FFF2-40B4-BE49-F238E27FC236}">
                <a16:creationId xmlns:a16="http://schemas.microsoft.com/office/drawing/2014/main" id="{44CD732A-3F63-4A83-9D02-CBEFE1275A74}"/>
              </a:ext>
            </a:extLst>
          </p:cNvPr>
          <p:cNvSpPr txBox="1">
            <a:spLocks noChangeArrowheads="1"/>
          </p:cNvSpPr>
          <p:nvPr/>
        </p:nvSpPr>
        <p:spPr bwMode="auto">
          <a:xfrm>
            <a:off x="1239838" y="4549906"/>
            <a:ext cx="37020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r>
              <a:rPr lang="zh-CN" altLang="en-US" sz="1800" b="1" dirty="0">
                <a:solidFill>
                  <a:srgbClr val="0070C0"/>
                </a:solidFill>
              </a:rPr>
              <a:t>生物发酵、中药提取、原料药等</a:t>
            </a:r>
            <a:endParaRPr lang="en-US" altLang="zh-CN" sz="1800" b="1" dirty="0">
              <a:solidFill>
                <a:srgbClr val="0070C0"/>
              </a:solidFill>
            </a:endParaRPr>
          </a:p>
        </p:txBody>
      </p:sp>
      <p:sp>
        <p:nvSpPr>
          <p:cNvPr id="15" name="TextBox 13">
            <a:extLst>
              <a:ext uri="{FF2B5EF4-FFF2-40B4-BE49-F238E27FC236}">
                <a16:creationId xmlns:a16="http://schemas.microsoft.com/office/drawing/2014/main" id="{63C69A0B-6A6D-4BCA-9FC9-BA71486A261B}"/>
              </a:ext>
            </a:extLst>
          </p:cNvPr>
          <p:cNvSpPr txBox="1">
            <a:spLocks noChangeArrowheads="1"/>
          </p:cNvSpPr>
          <p:nvPr/>
        </p:nvSpPr>
        <p:spPr bwMode="auto">
          <a:xfrm>
            <a:off x="7353204" y="4529082"/>
            <a:ext cx="372586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r>
              <a:rPr lang="zh-CN" altLang="en-US" sz="1800" b="1" dirty="0">
                <a:solidFill>
                  <a:srgbClr val="0070C0"/>
                </a:solidFill>
              </a:rPr>
              <a:t>灌装、压片、颗粒分装、后包装等</a:t>
            </a:r>
            <a:endParaRPr lang="en-US" altLang="zh-CN" sz="1800" b="1" dirty="0">
              <a:solidFill>
                <a:srgbClr val="0070C0"/>
              </a:solidFill>
            </a:endParaRPr>
          </a:p>
        </p:txBody>
      </p:sp>
      <p:sp>
        <p:nvSpPr>
          <p:cNvPr id="16" name="Text Box 9">
            <a:extLst>
              <a:ext uri="{FF2B5EF4-FFF2-40B4-BE49-F238E27FC236}">
                <a16:creationId xmlns:a16="http://schemas.microsoft.com/office/drawing/2014/main" id="{89A9158D-C014-4E59-928D-35BB2F3939D3}"/>
              </a:ext>
            </a:extLst>
          </p:cNvPr>
          <p:cNvSpPr txBox="1">
            <a:spLocks noChangeArrowheads="1"/>
          </p:cNvSpPr>
          <p:nvPr/>
        </p:nvSpPr>
        <p:spPr bwMode="auto">
          <a:xfrm>
            <a:off x="917248" y="5363698"/>
            <a:ext cx="10161818" cy="1055687"/>
          </a:xfrm>
          <a:prstGeom prst="rect">
            <a:avLst/>
          </a:prstGeom>
          <a:solidFill>
            <a:srgbClr val="144592">
              <a:alpha val="9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457200" indent="-457200" eaLnBrk="1" hangingPunct="1">
              <a:spcBef>
                <a:spcPts val="0"/>
              </a:spcBef>
              <a:buClr>
                <a:srgbClr val="000000"/>
              </a:buClr>
              <a:buFont typeface="Arial" panose="020B0604020202020204" pitchFamily="34" charset="0"/>
              <a:buNone/>
              <a:defRPr sz="2200" b="1" ker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indent="0">
              <a:lnSpc>
                <a:spcPct val="130000"/>
              </a:lnSpc>
              <a:spcBef>
                <a:spcPts val="600"/>
              </a:spcBef>
              <a:spcAft>
                <a:spcPts val="600"/>
              </a:spcAft>
              <a:defRPr/>
            </a:pPr>
            <a:r>
              <a:rPr lang="zh-CN" altLang="en-US" dirty="0">
                <a:solidFill>
                  <a:prstClr val="white"/>
                </a:solidFill>
              </a:rPr>
              <a:t>医药行业兼具流程与离散制造的双重属性，因此智能制造顶层设计充分考虑两种模式的融合与协同。</a:t>
            </a:r>
          </a:p>
        </p:txBody>
      </p:sp>
      <p:pic>
        <p:nvPicPr>
          <p:cNvPr id="17" name="图片 9">
            <a:extLst>
              <a:ext uri="{FF2B5EF4-FFF2-40B4-BE49-F238E27FC236}">
                <a16:creationId xmlns:a16="http://schemas.microsoft.com/office/drawing/2014/main" id="{73D9AFDA-D58E-4B5E-8C5F-D1889ED964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83304" y="1457655"/>
            <a:ext cx="4195762" cy="2909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94240098"/>
      </p:ext>
    </p:extLst>
  </p:cSld>
  <p:clrMapOvr>
    <a:masterClrMapping/>
  </p:clrMapOvr>
  <p:transition spd="slow">
    <p:wip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8" y="114300"/>
            <a:ext cx="3644472"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fontScale="92500"/>
          </a:bodyPr>
          <a:lstStyle/>
          <a:p>
            <a:pPr marL="177800">
              <a:lnSpc>
                <a:spcPts val="2600"/>
              </a:lnSpc>
              <a:defRPr/>
            </a:pPr>
            <a:r>
              <a:rPr lang="zh-CN" altLang="en-US" sz="3300" b="1" dirty="0">
                <a:solidFill>
                  <a:srgbClr val="0070C0"/>
                </a:solidFill>
                <a:latin typeface="+mj-ea"/>
                <a:ea typeface="+mj-ea"/>
              </a:rPr>
              <a:t>智能制造生态构建</a:t>
            </a:r>
          </a:p>
        </p:txBody>
      </p:sp>
      <p:cxnSp>
        <p:nvCxnSpPr>
          <p:cNvPr id="134" name="直接连接符 133">
            <a:extLst>
              <a:ext uri="{FF2B5EF4-FFF2-40B4-BE49-F238E27FC236}">
                <a16:creationId xmlns:a16="http://schemas.microsoft.com/office/drawing/2014/main" id="{571ED268-0156-4774-A8D8-9FBFB6427241}"/>
              </a:ext>
            </a:extLst>
          </p:cNvPr>
          <p:cNvCxnSpPr/>
          <p:nvPr/>
        </p:nvCxnSpPr>
        <p:spPr>
          <a:xfrm flipV="1">
            <a:off x="3511550" y="825500"/>
            <a:ext cx="5121275" cy="254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AutoShape 1027">
            <a:hlinkClick r:id="rId3" action="ppaction://hlinksldjump" highlightClick="1"/>
            <a:extLst>
              <a:ext uri="{FF2B5EF4-FFF2-40B4-BE49-F238E27FC236}">
                <a16:creationId xmlns:a16="http://schemas.microsoft.com/office/drawing/2014/main" id="{8D9FF80E-8C17-47FD-8B3A-2C60D9175897}"/>
              </a:ext>
            </a:extLst>
          </p:cNvPr>
          <p:cNvSpPr>
            <a:spLocks noChangeArrowheads="1"/>
          </p:cNvSpPr>
          <p:nvPr/>
        </p:nvSpPr>
        <p:spPr bwMode="auto">
          <a:xfrm>
            <a:off x="2097958" y="823911"/>
            <a:ext cx="45719" cy="45719"/>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30" name="AutoShape 1036">
            <a:hlinkClick r:id="rId3" action="ppaction://hlinksldjump" highlightClick="1"/>
            <a:extLst>
              <a:ext uri="{FF2B5EF4-FFF2-40B4-BE49-F238E27FC236}">
                <a16:creationId xmlns:a16="http://schemas.microsoft.com/office/drawing/2014/main" id="{F063496D-C940-4EA6-A8D5-C0B2EE210EF5}"/>
              </a:ext>
            </a:extLst>
          </p:cNvPr>
          <p:cNvSpPr>
            <a:spLocks noChangeArrowheads="1"/>
          </p:cNvSpPr>
          <p:nvPr/>
        </p:nvSpPr>
        <p:spPr bwMode="auto">
          <a:xfrm>
            <a:off x="5907958" y="823911"/>
            <a:ext cx="45719" cy="45719"/>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grpSp>
        <p:nvGrpSpPr>
          <p:cNvPr id="31" name="组合 17">
            <a:extLst>
              <a:ext uri="{FF2B5EF4-FFF2-40B4-BE49-F238E27FC236}">
                <a16:creationId xmlns:a16="http://schemas.microsoft.com/office/drawing/2014/main" id="{AE003F80-B185-4A38-9DA8-1CCE1DDB0A37}"/>
              </a:ext>
            </a:extLst>
          </p:cNvPr>
          <p:cNvGrpSpPr>
            <a:grpSpLocks/>
          </p:cNvGrpSpPr>
          <p:nvPr/>
        </p:nvGrpSpPr>
        <p:grpSpPr bwMode="auto">
          <a:xfrm>
            <a:off x="1811725" y="869630"/>
            <a:ext cx="8192466" cy="5347322"/>
            <a:chOff x="500034" y="1000108"/>
            <a:chExt cx="8050849" cy="5183424"/>
          </a:xfrm>
        </p:grpSpPr>
        <p:sp>
          <p:nvSpPr>
            <p:cNvPr id="32" name="AutoShape 1037">
              <a:hlinkClick r:id="rId3" action="ppaction://hlinksldjump" highlightClick="1"/>
              <a:extLst>
                <a:ext uri="{FF2B5EF4-FFF2-40B4-BE49-F238E27FC236}">
                  <a16:creationId xmlns:a16="http://schemas.microsoft.com/office/drawing/2014/main" id="{34A6617C-F3EF-4D2F-8FA9-4751EF3EE3AD}"/>
                </a:ext>
              </a:extLst>
            </p:cNvPr>
            <p:cNvSpPr>
              <a:spLocks noChangeArrowheads="1"/>
            </p:cNvSpPr>
            <p:nvPr/>
          </p:nvSpPr>
          <p:spPr bwMode="auto">
            <a:xfrm>
              <a:off x="4449763" y="1123950"/>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33" name="TextBox 13">
              <a:extLst>
                <a:ext uri="{FF2B5EF4-FFF2-40B4-BE49-F238E27FC236}">
                  <a16:creationId xmlns:a16="http://schemas.microsoft.com/office/drawing/2014/main" id="{F57D2FCC-A0FA-47AD-95B4-89068DA43186}"/>
                </a:ext>
              </a:extLst>
            </p:cNvPr>
            <p:cNvSpPr txBox="1"/>
            <p:nvPr/>
          </p:nvSpPr>
          <p:spPr>
            <a:xfrm>
              <a:off x="1143022" y="1928838"/>
              <a:ext cx="1357420" cy="246073"/>
            </a:xfrm>
            <a:prstGeom prst="rect">
              <a:avLst/>
            </a:prstGeom>
            <a:noFill/>
          </p:spPr>
          <p:txBody>
            <a:bodyPr>
              <a:spAutoFit/>
            </a:bodyPr>
            <a:lstStyle/>
            <a:p>
              <a:pPr>
                <a:defRPr/>
              </a:pPr>
              <a:r>
                <a:rPr lang="zh-CN" altLang="en-US" sz="1000" i="1" dirty="0">
                  <a:solidFill>
                    <a:schemeClr val="accent5">
                      <a:lumMod val="50000"/>
                    </a:schemeClr>
                  </a:solidFill>
                  <a:latin typeface="Arial" charset="0"/>
                </a:rPr>
                <a:t>远程监控</a:t>
              </a:r>
            </a:p>
          </p:txBody>
        </p:sp>
        <p:grpSp>
          <p:nvGrpSpPr>
            <p:cNvPr id="34" name="组合 18">
              <a:extLst>
                <a:ext uri="{FF2B5EF4-FFF2-40B4-BE49-F238E27FC236}">
                  <a16:creationId xmlns:a16="http://schemas.microsoft.com/office/drawing/2014/main" id="{B5A69A26-7592-42AE-B7B9-783637CB653C}"/>
                </a:ext>
              </a:extLst>
            </p:cNvPr>
            <p:cNvGrpSpPr>
              <a:grpSpLocks/>
            </p:cNvGrpSpPr>
            <p:nvPr/>
          </p:nvGrpSpPr>
          <p:grpSpPr bwMode="auto">
            <a:xfrm>
              <a:off x="500034" y="1000108"/>
              <a:ext cx="8050849" cy="5183424"/>
              <a:chOff x="357158" y="928670"/>
              <a:chExt cx="8050849" cy="5183424"/>
            </a:xfrm>
          </p:grpSpPr>
          <p:grpSp>
            <p:nvGrpSpPr>
              <p:cNvPr id="38" name="组合 16">
                <a:extLst>
                  <a:ext uri="{FF2B5EF4-FFF2-40B4-BE49-F238E27FC236}">
                    <a16:creationId xmlns:a16="http://schemas.microsoft.com/office/drawing/2014/main" id="{2D71AE35-41BB-44BC-9533-4BBF1A99A970}"/>
                  </a:ext>
                </a:extLst>
              </p:cNvPr>
              <p:cNvGrpSpPr>
                <a:grpSpLocks/>
              </p:cNvGrpSpPr>
              <p:nvPr/>
            </p:nvGrpSpPr>
            <p:grpSpPr bwMode="auto">
              <a:xfrm>
                <a:off x="357158" y="928670"/>
                <a:ext cx="8050849" cy="5183424"/>
                <a:chOff x="357158" y="928670"/>
                <a:chExt cx="8050849" cy="5183424"/>
              </a:xfrm>
            </p:grpSpPr>
            <p:pic>
              <p:nvPicPr>
                <p:cNvPr id="40" name="Picture 10">
                  <a:extLst>
                    <a:ext uri="{FF2B5EF4-FFF2-40B4-BE49-F238E27FC236}">
                      <a16:creationId xmlns:a16="http://schemas.microsoft.com/office/drawing/2014/main" id="{6F2FE658-5C71-44AF-80A0-83E31F801A17}"/>
                    </a:ext>
                  </a:extLst>
                </p:cNvPr>
                <p:cNvPicPr>
                  <a:picLocks noChangeAspect="1" noChangeArrowheads="1"/>
                </p:cNvPicPr>
                <p:nvPr/>
              </p:nvPicPr>
              <p:blipFill>
                <a:blip r:embed="rId4"/>
                <a:srcRect/>
                <a:stretch>
                  <a:fillRect/>
                </a:stretch>
              </p:blipFill>
              <p:spPr bwMode="auto">
                <a:xfrm>
                  <a:off x="357158" y="928670"/>
                  <a:ext cx="8050849" cy="5183424"/>
                </a:xfrm>
                <a:prstGeom prst="rect">
                  <a:avLst/>
                </a:prstGeom>
                <a:noFill/>
                <a:ln w="9525">
                  <a:noFill/>
                  <a:miter lim="800000"/>
                  <a:headEnd/>
                  <a:tailEnd/>
                </a:ln>
                <a:effectLst>
                  <a:prstShdw prst="shdw17" dist="17961" dir="2700000">
                    <a:schemeClr val="accent1">
                      <a:gamma/>
                      <a:shade val="60000"/>
                      <a:invGamma/>
                    </a:schemeClr>
                  </a:prstShdw>
                </a:effectLst>
              </p:spPr>
            </p:pic>
            <p:sp>
              <p:nvSpPr>
                <p:cNvPr id="41" name="云形 40">
                  <a:extLst>
                    <a:ext uri="{FF2B5EF4-FFF2-40B4-BE49-F238E27FC236}">
                      <a16:creationId xmlns:a16="http://schemas.microsoft.com/office/drawing/2014/main" id="{6E92F65A-868F-4232-B407-7864CD0CB0D5}"/>
                    </a:ext>
                  </a:extLst>
                </p:cNvPr>
                <p:cNvSpPr/>
                <p:nvPr/>
              </p:nvSpPr>
              <p:spPr bwMode="auto">
                <a:xfrm>
                  <a:off x="3572099" y="2714689"/>
                  <a:ext cx="1928966" cy="1285934"/>
                </a:xfrm>
                <a:prstGeom prst="cloud">
                  <a:avLst/>
                </a:prstGeom>
                <a:gradFill>
                  <a:gsLst>
                    <a:gs pos="0">
                      <a:srgbClr val="DDEBCF"/>
                    </a:gs>
                    <a:gs pos="50000">
                      <a:srgbClr val="9CB86E"/>
                    </a:gs>
                    <a:gs pos="100000">
                      <a:srgbClr val="156B13"/>
                    </a:gs>
                  </a:gsLst>
                  <a:lin ang="16200000" scaled="0"/>
                </a:gradFill>
                <a:ln w="9525" cap="flat" cmpd="sng" algn="ctr">
                  <a:noFill/>
                  <a:prstDash val="solid"/>
                  <a:round/>
                  <a:headEnd type="none" w="med" len="med"/>
                  <a:tailEnd type="none" w="med" len="med"/>
                </a:ln>
                <a:effectLst/>
              </p:spPr>
              <p:txBody>
                <a:bodyPr/>
                <a:lstStyle/>
                <a:p>
                  <a:pPr eaLnBrk="1" hangingPunct="1">
                    <a:defRPr/>
                  </a:pPr>
                  <a:endParaRPr lang="en-US" altLang="zh-CN" dirty="0">
                    <a:latin typeface="Arial" charset="0"/>
                  </a:endParaRPr>
                </a:p>
              </p:txBody>
            </p:sp>
            <p:pic>
              <p:nvPicPr>
                <p:cNvPr id="42" name="Picture 55">
                  <a:extLst>
                    <a:ext uri="{FF2B5EF4-FFF2-40B4-BE49-F238E27FC236}">
                      <a16:creationId xmlns:a16="http://schemas.microsoft.com/office/drawing/2014/main" id="{3B30C9A9-F095-43A4-9972-0D7F5946840B}"/>
                    </a:ext>
                  </a:extLst>
                </p:cNvPr>
                <p:cNvPicPr>
                  <a:picLocks noChangeAspect="1" noChangeArrowheads="1"/>
                </p:cNvPicPr>
                <p:nvPr/>
              </p:nvPicPr>
              <p:blipFill>
                <a:blip r:embed="rId5"/>
                <a:srcRect/>
                <a:stretch>
                  <a:fillRect/>
                </a:stretch>
              </p:blipFill>
              <p:spPr bwMode="auto">
                <a:xfrm>
                  <a:off x="1143032" y="1233484"/>
                  <a:ext cx="1065297" cy="695357"/>
                </a:xfrm>
                <a:prstGeom prst="rect">
                  <a:avLst/>
                </a:prstGeom>
                <a:noFill/>
                <a:ln w="9525">
                  <a:noFill/>
                  <a:miter lim="800000"/>
                  <a:headEnd/>
                  <a:tailEnd/>
                </a:ln>
                <a:effectLst>
                  <a:prstShdw prst="shdw17" dist="17961" dir="2700000">
                    <a:schemeClr val="accent1">
                      <a:gamma/>
                      <a:shade val="60000"/>
                      <a:invGamma/>
                    </a:schemeClr>
                  </a:prstShdw>
                </a:effectLst>
              </p:spPr>
            </p:pic>
          </p:grpSp>
          <p:pic>
            <p:nvPicPr>
              <p:cNvPr id="39" name="Picture 11">
                <a:extLst>
                  <a:ext uri="{FF2B5EF4-FFF2-40B4-BE49-F238E27FC236}">
                    <a16:creationId xmlns:a16="http://schemas.microsoft.com/office/drawing/2014/main" id="{0C9FD507-7DBD-4203-AC0A-176A964FF30A}"/>
                  </a:ext>
                </a:extLst>
              </p:cNvPr>
              <p:cNvPicPr>
                <a:picLocks noChangeAspect="1" noChangeArrowheads="1"/>
              </p:cNvPicPr>
              <p:nvPr/>
            </p:nvPicPr>
            <p:blipFill>
              <a:blip r:embed="rId6"/>
              <a:srcRect/>
              <a:stretch>
                <a:fillRect/>
              </a:stretch>
            </p:blipFill>
            <p:spPr bwMode="auto">
              <a:xfrm>
                <a:off x="6358383" y="1071552"/>
                <a:ext cx="1643192" cy="857289"/>
              </a:xfrm>
              <a:prstGeom prst="rect">
                <a:avLst/>
              </a:prstGeom>
              <a:noFill/>
              <a:ln w="9525">
                <a:noFill/>
                <a:miter lim="800000"/>
                <a:headEnd/>
                <a:tailEnd/>
              </a:ln>
              <a:effectLst>
                <a:prstShdw prst="shdw17" dist="17961" dir="2700000">
                  <a:schemeClr val="accent1">
                    <a:gamma/>
                    <a:shade val="60000"/>
                    <a:invGamma/>
                  </a:schemeClr>
                </a:prstShdw>
              </a:effectLst>
            </p:spPr>
          </p:pic>
        </p:grpSp>
        <p:sp>
          <p:nvSpPr>
            <p:cNvPr id="35" name="TextBox 14">
              <a:extLst>
                <a:ext uri="{FF2B5EF4-FFF2-40B4-BE49-F238E27FC236}">
                  <a16:creationId xmlns:a16="http://schemas.microsoft.com/office/drawing/2014/main" id="{5EBE0357-D852-4A37-A22A-058E89AD87D6}"/>
                </a:ext>
              </a:extLst>
            </p:cNvPr>
            <p:cNvSpPr txBox="1">
              <a:spLocks noChangeArrowheads="1"/>
            </p:cNvSpPr>
            <p:nvPr/>
          </p:nvSpPr>
          <p:spPr bwMode="auto">
            <a:xfrm>
              <a:off x="3786182" y="3143248"/>
              <a:ext cx="164307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algn="ctr" eaLnBrk="1" hangingPunct="1"/>
              <a:r>
                <a:rPr lang="zh-CN" altLang="en-US">
                  <a:solidFill>
                    <a:srgbClr val="0066CC"/>
                  </a:solidFill>
                </a:rPr>
                <a:t>企业云</a:t>
              </a:r>
              <a:endParaRPr lang="en-US" altLang="zh-CN">
                <a:solidFill>
                  <a:srgbClr val="0066CC"/>
                </a:solidFill>
              </a:endParaRPr>
            </a:p>
          </p:txBody>
        </p:sp>
        <p:pic>
          <p:nvPicPr>
            <p:cNvPr id="36" name="Picture 2">
              <a:extLst>
                <a:ext uri="{FF2B5EF4-FFF2-40B4-BE49-F238E27FC236}">
                  <a16:creationId xmlns:a16="http://schemas.microsoft.com/office/drawing/2014/main" id="{3D18B1DC-C03A-4A9A-A84E-4475990AA27D}"/>
                </a:ext>
              </a:extLst>
            </p:cNvPr>
            <p:cNvPicPr>
              <a:picLocks noChangeAspect="1" noChangeArrowheads="1"/>
            </p:cNvPicPr>
            <p:nvPr/>
          </p:nvPicPr>
          <p:blipFill>
            <a:blip r:embed="rId7"/>
            <a:srcRect/>
            <a:stretch>
              <a:fillRect/>
            </a:stretch>
          </p:blipFill>
          <p:spPr bwMode="auto">
            <a:xfrm>
              <a:off x="5801115" y="5243689"/>
              <a:ext cx="1200245" cy="828713"/>
            </a:xfrm>
            <a:prstGeom prst="rect">
              <a:avLst/>
            </a:prstGeom>
            <a:noFill/>
            <a:ln w="9525">
              <a:noFill/>
              <a:miter lim="800000"/>
              <a:headEnd/>
              <a:tailEnd/>
            </a:ln>
            <a:effectLst>
              <a:prstShdw prst="shdw17" dist="17961" dir="2700000">
                <a:schemeClr val="accent1">
                  <a:gamma/>
                  <a:shade val="60000"/>
                  <a:invGamma/>
                </a:schemeClr>
              </a:prstShdw>
            </a:effectLst>
          </p:spPr>
        </p:pic>
        <p:sp>
          <p:nvSpPr>
            <p:cNvPr id="37" name="燕尾形箭头 16">
              <a:extLst>
                <a:ext uri="{FF2B5EF4-FFF2-40B4-BE49-F238E27FC236}">
                  <a16:creationId xmlns:a16="http://schemas.microsoft.com/office/drawing/2014/main" id="{5A498005-DE01-4EF1-8747-58C19FECDA0A}"/>
                </a:ext>
              </a:extLst>
            </p:cNvPr>
            <p:cNvSpPr/>
            <p:nvPr/>
          </p:nvSpPr>
          <p:spPr bwMode="auto">
            <a:xfrm rot="3600000">
              <a:off x="5454233" y="4644371"/>
              <a:ext cx="774735" cy="503277"/>
            </a:xfrm>
            <a:prstGeom prst="notchedRightArrow">
              <a:avLst/>
            </a:prstGeom>
            <a:solidFill>
              <a:schemeClr val="accent3">
                <a:lumMod val="85000"/>
              </a:schemeClr>
            </a:solidFill>
            <a:ln w="9525" cap="flat" cmpd="sng" algn="ctr">
              <a:solidFill>
                <a:schemeClr val="tx1"/>
              </a:solidFill>
              <a:prstDash val="solid"/>
              <a:round/>
              <a:headEnd type="none" w="med" len="med"/>
              <a:tailEnd type="none" w="med" len="med"/>
            </a:ln>
            <a:effectLst/>
          </p:spPr>
          <p:txBody>
            <a:bodyPr/>
            <a:lstStyle/>
            <a:p>
              <a:pPr eaLnBrk="1" hangingPunct="1">
                <a:defRPr/>
              </a:pPr>
              <a:endParaRPr lang="zh-CN" altLang="en-US">
                <a:latin typeface="Arial" charset="0"/>
              </a:endParaRPr>
            </a:p>
          </p:txBody>
        </p:sp>
      </p:grpSp>
      <p:sp>
        <p:nvSpPr>
          <p:cNvPr id="43" name="TextBox 17">
            <a:extLst>
              <a:ext uri="{FF2B5EF4-FFF2-40B4-BE49-F238E27FC236}">
                <a16:creationId xmlns:a16="http://schemas.microsoft.com/office/drawing/2014/main" id="{4DDBF100-DDD9-4DC5-B8F4-9982D0301CFE}"/>
              </a:ext>
            </a:extLst>
          </p:cNvPr>
          <p:cNvSpPr txBox="1">
            <a:spLocks noChangeArrowheads="1"/>
          </p:cNvSpPr>
          <p:nvPr/>
        </p:nvSpPr>
        <p:spPr bwMode="auto">
          <a:xfrm>
            <a:off x="4993393" y="5749925"/>
            <a:ext cx="1453997" cy="381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r>
              <a:rPr lang="zh-CN" altLang="en-US"/>
              <a:t>企业间集成</a:t>
            </a:r>
          </a:p>
        </p:txBody>
      </p:sp>
      <p:sp>
        <p:nvSpPr>
          <p:cNvPr id="44" name="文本框 43">
            <a:extLst>
              <a:ext uri="{FF2B5EF4-FFF2-40B4-BE49-F238E27FC236}">
                <a16:creationId xmlns:a16="http://schemas.microsoft.com/office/drawing/2014/main" id="{F5B86176-CA67-4C77-976B-E1287E6643FA}"/>
              </a:ext>
            </a:extLst>
          </p:cNvPr>
          <p:cNvSpPr txBox="1"/>
          <p:nvPr/>
        </p:nvSpPr>
        <p:spPr>
          <a:xfrm>
            <a:off x="1746008" y="6346738"/>
            <a:ext cx="8415338" cy="369332"/>
          </a:xfrm>
          <a:prstGeom prst="rect">
            <a:avLst/>
          </a:prstGeom>
          <a:noFill/>
        </p:spPr>
        <p:txBody>
          <a:bodyPr wrap="square" rtlCol="0">
            <a:spAutoFit/>
          </a:bodyPr>
          <a:lstStyle/>
          <a:p>
            <a:r>
              <a:rPr lang="zh-CN" altLang="en-US" b="1" dirty="0">
                <a:latin typeface="+mn-ea"/>
                <a:ea typeface="+mn-ea"/>
              </a:rPr>
              <a:t>包含原辅料供应商、设备软件集成商、物流、客户于一体的智能制造生态的构建</a:t>
            </a:r>
          </a:p>
        </p:txBody>
      </p:sp>
    </p:spTree>
    <p:extLst>
      <p:ext uri="{BB962C8B-B14F-4D97-AF65-F5344CB8AC3E}">
        <p14:creationId xmlns:p14="http://schemas.microsoft.com/office/powerpoint/2010/main" val="2820191751"/>
      </p:ext>
    </p:extLst>
  </p:cSld>
  <p:clrMapOvr>
    <a:masterClrMapping/>
  </p:clrMapOvr>
  <p:transition spd="slow">
    <p:wip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等腰三角形 19"/>
          <p:cNvSpPr/>
          <p:nvPr/>
        </p:nvSpPr>
        <p:spPr bwMode="auto">
          <a:xfrm rot="5400000">
            <a:off x="754856" y="-754856"/>
            <a:ext cx="3297238" cy="4806950"/>
          </a:xfrm>
          <a:prstGeom prst="triangle">
            <a:avLst>
              <a:gd name="adj" fmla="val 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5603" name="文本框 6"/>
          <p:cNvSpPr txBox="1">
            <a:spLocks noChangeArrowheads="1"/>
          </p:cNvSpPr>
          <p:nvPr/>
        </p:nvSpPr>
        <p:spPr bwMode="auto">
          <a:xfrm rot="-1997781">
            <a:off x="227013" y="481013"/>
            <a:ext cx="2057400" cy="1016000"/>
          </a:xfrm>
          <a:prstGeom prst="rect">
            <a:avLst/>
          </a:prstGeom>
          <a:noFill/>
          <a:ln w="9525">
            <a:noFill/>
            <a:miter lim="800000"/>
            <a:headEnd/>
            <a:tailEnd/>
          </a:ln>
        </p:spPr>
        <p:txBody>
          <a:bodyPr>
            <a:spAutoFit/>
          </a:bodyPr>
          <a:lstStyle/>
          <a:p>
            <a:r>
              <a:rPr lang="zh-CN" altLang="en-US" sz="6000" b="1">
                <a:solidFill>
                  <a:schemeClr val="bg1"/>
                </a:solidFill>
                <a:latin typeface="微软雅黑" pitchFamily="34" charset="-122"/>
                <a:ea typeface="微软雅黑" pitchFamily="34" charset="-122"/>
              </a:rPr>
              <a:t>目录</a:t>
            </a:r>
          </a:p>
        </p:txBody>
      </p:sp>
      <p:sp>
        <p:nvSpPr>
          <p:cNvPr id="25604" name="文本框 7"/>
          <p:cNvSpPr txBox="1">
            <a:spLocks noChangeArrowheads="1"/>
          </p:cNvSpPr>
          <p:nvPr/>
        </p:nvSpPr>
        <p:spPr bwMode="auto">
          <a:xfrm rot="-2010208">
            <a:off x="-142875" y="979488"/>
            <a:ext cx="4573588" cy="769937"/>
          </a:xfrm>
          <a:prstGeom prst="rect">
            <a:avLst/>
          </a:prstGeom>
          <a:noFill/>
          <a:ln w="9525">
            <a:noFill/>
            <a:miter lim="800000"/>
            <a:headEnd/>
            <a:tailEnd/>
          </a:ln>
        </p:spPr>
        <p:txBody>
          <a:bodyPr>
            <a:spAutoFit/>
          </a:bodyPr>
          <a:lstStyle/>
          <a:p>
            <a:r>
              <a:rPr lang="en-US" altLang="zh-CN" sz="4400">
                <a:solidFill>
                  <a:schemeClr val="bg1"/>
                </a:solidFill>
                <a:latin typeface="微软雅黑" pitchFamily="34" charset="-122"/>
                <a:ea typeface="微软雅黑" pitchFamily="34" charset="-122"/>
              </a:rPr>
              <a:t>CONTENTS</a:t>
            </a:r>
            <a:endParaRPr lang="zh-CN" altLang="en-US" sz="4400">
              <a:solidFill>
                <a:schemeClr val="bg1"/>
              </a:solidFill>
              <a:latin typeface="微软雅黑" pitchFamily="34" charset="-122"/>
              <a:ea typeface="微软雅黑" pitchFamily="34" charset="-122"/>
            </a:endParaRPr>
          </a:p>
        </p:txBody>
      </p:sp>
      <p:pic>
        <p:nvPicPr>
          <p:cNvPr id="25605" name="Picture 2" descr="C:\Documents and Settings\Administrator\桌面\图形10.png"/>
          <p:cNvPicPr>
            <a:picLocks noChangeAspect="1" noChangeArrowheads="1"/>
          </p:cNvPicPr>
          <p:nvPr/>
        </p:nvPicPr>
        <p:blipFill>
          <a:blip r:embed="rId3"/>
          <a:srcRect/>
          <a:stretch>
            <a:fillRect/>
          </a:stretch>
        </p:blipFill>
        <p:spPr bwMode="auto">
          <a:xfrm>
            <a:off x="0" y="6735763"/>
            <a:ext cx="12192000" cy="122237"/>
          </a:xfrm>
          <a:prstGeom prst="rect">
            <a:avLst/>
          </a:prstGeom>
          <a:noFill/>
          <a:ln w="9525">
            <a:noFill/>
            <a:miter lim="800000"/>
            <a:headEnd/>
            <a:tailEnd/>
          </a:ln>
        </p:spPr>
      </p:pic>
      <p:pic>
        <p:nvPicPr>
          <p:cNvPr id="25606" name="Picture 20" descr="辅助条纹"/>
          <p:cNvPicPr>
            <a:picLocks noChangeAspect="1" noChangeArrowheads="1"/>
          </p:cNvPicPr>
          <p:nvPr/>
        </p:nvPicPr>
        <p:blipFill>
          <a:blip r:embed="rId4"/>
          <a:srcRect/>
          <a:stretch>
            <a:fillRect/>
          </a:stretch>
        </p:blipFill>
        <p:spPr bwMode="auto">
          <a:xfrm>
            <a:off x="9326563" y="6735763"/>
            <a:ext cx="2865437" cy="122237"/>
          </a:xfrm>
          <a:prstGeom prst="rect">
            <a:avLst/>
          </a:prstGeom>
          <a:noFill/>
          <a:ln w="9525">
            <a:noFill/>
            <a:miter lim="800000"/>
            <a:headEnd/>
            <a:tailEnd/>
          </a:ln>
        </p:spPr>
      </p:pic>
      <p:sp>
        <p:nvSpPr>
          <p:cNvPr id="28" name="Rectangle 11"/>
          <p:cNvSpPr/>
          <p:nvPr/>
        </p:nvSpPr>
        <p:spPr bwMode="auto">
          <a:xfrm>
            <a:off x="3213528" y="2108200"/>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1. </a:t>
            </a:r>
            <a:r>
              <a:rPr lang="zh-CN" altLang="en-US" sz="2400" b="1" dirty="0">
                <a:solidFill>
                  <a:schemeClr val="tx1">
                    <a:lumMod val="65000"/>
                    <a:lumOff val="35000"/>
                  </a:schemeClr>
                </a:solidFill>
              </a:rPr>
              <a:t>背景</a:t>
            </a:r>
          </a:p>
        </p:txBody>
      </p:sp>
      <p:sp>
        <p:nvSpPr>
          <p:cNvPr id="29" name="Rectangle 8"/>
          <p:cNvSpPr/>
          <p:nvPr/>
        </p:nvSpPr>
        <p:spPr bwMode="auto">
          <a:xfrm>
            <a:off x="3213528" y="2634614"/>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2.</a:t>
            </a:r>
            <a:r>
              <a:rPr lang="zh-CN" altLang="en-US" sz="2400" b="1" dirty="0">
                <a:solidFill>
                  <a:schemeClr val="tx1">
                    <a:lumMod val="65000"/>
                    <a:lumOff val="35000"/>
                  </a:schemeClr>
                </a:solidFill>
              </a:rPr>
              <a:t>自动化广泛应用</a:t>
            </a:r>
            <a:endParaRPr lang="en-US" altLang="zh-CN" sz="2400" b="1" dirty="0">
              <a:solidFill>
                <a:schemeClr val="tx1">
                  <a:lumMod val="65000"/>
                  <a:lumOff val="35000"/>
                </a:schemeClr>
              </a:solidFill>
            </a:endParaRPr>
          </a:p>
        </p:txBody>
      </p:sp>
      <p:sp>
        <p:nvSpPr>
          <p:cNvPr id="31" name="Rectangle 12"/>
          <p:cNvSpPr/>
          <p:nvPr/>
        </p:nvSpPr>
        <p:spPr bwMode="auto">
          <a:xfrm>
            <a:off x="3213528" y="3161028"/>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3. </a:t>
            </a:r>
            <a:r>
              <a:rPr lang="zh-CN" altLang="en-US" sz="2400" b="1" dirty="0">
                <a:solidFill>
                  <a:schemeClr val="tx1">
                    <a:lumMod val="65000"/>
                    <a:lumOff val="35000"/>
                  </a:schemeClr>
                </a:solidFill>
              </a:rPr>
              <a:t>数字化在路上</a:t>
            </a:r>
            <a:endParaRPr lang="en-US" sz="2400" b="1" dirty="0">
              <a:solidFill>
                <a:schemeClr val="tx1">
                  <a:lumMod val="65000"/>
                  <a:lumOff val="35000"/>
                </a:schemeClr>
              </a:solidFill>
            </a:endParaRPr>
          </a:p>
        </p:txBody>
      </p:sp>
      <p:sp>
        <p:nvSpPr>
          <p:cNvPr id="13" name="Rectangle 13"/>
          <p:cNvSpPr/>
          <p:nvPr/>
        </p:nvSpPr>
        <p:spPr bwMode="auto">
          <a:xfrm>
            <a:off x="3213528" y="4213856"/>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rgbClr val="006EBC"/>
                </a:solidFill>
              </a:rPr>
              <a:t>5.</a:t>
            </a:r>
            <a:r>
              <a:rPr lang="zh-CN" altLang="en-US" sz="2400" b="1" dirty="0">
                <a:solidFill>
                  <a:srgbClr val="006EBC"/>
                </a:solidFill>
              </a:rPr>
              <a:t> 实例分享</a:t>
            </a:r>
            <a:endParaRPr lang="en-US" sz="2400" b="1" dirty="0">
              <a:solidFill>
                <a:srgbClr val="006EBC"/>
              </a:solidFill>
            </a:endParaRPr>
          </a:p>
        </p:txBody>
      </p:sp>
      <p:sp>
        <p:nvSpPr>
          <p:cNvPr id="17" name="Rectangle 12"/>
          <p:cNvSpPr/>
          <p:nvPr/>
        </p:nvSpPr>
        <p:spPr bwMode="auto">
          <a:xfrm>
            <a:off x="3213528" y="3687442"/>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t>4. </a:t>
            </a:r>
            <a:r>
              <a:rPr lang="zh-CN" altLang="en-US" sz="2400" b="1" dirty="0"/>
              <a:t>智能化在探索</a:t>
            </a:r>
            <a:endParaRPr lang="en-US" sz="2400" b="1" dirty="0"/>
          </a:p>
        </p:txBody>
      </p:sp>
    </p:spTree>
    <p:extLst>
      <p:ext uri="{BB962C8B-B14F-4D97-AF65-F5344CB8AC3E}">
        <p14:creationId xmlns:p14="http://schemas.microsoft.com/office/powerpoint/2010/main" val="1490100562"/>
      </p:ext>
    </p:extLst>
  </p:cSld>
  <p:clrMapOvr>
    <a:masterClrMapping/>
  </p:clrMapOvr>
  <p:transition spd="slow" advTm="0">
    <p:wip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7" y="114300"/>
            <a:ext cx="6388191"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zh-CN" altLang="en-US" sz="3300" b="1" dirty="0">
                <a:solidFill>
                  <a:srgbClr val="0070C0"/>
                </a:solidFill>
                <a:latin typeface="+mj-ea"/>
                <a:ea typeface="+mj-ea"/>
              </a:rPr>
              <a:t>冻干制剂自动化车间系统方案</a:t>
            </a:r>
          </a:p>
        </p:txBody>
      </p:sp>
      <p:sp>
        <p:nvSpPr>
          <p:cNvPr id="21" name="AutoShape 1027">
            <a:hlinkClick r:id="rId3" action="ppaction://hlinksldjump" highlightClick="1"/>
            <a:extLst>
              <a:ext uri="{FF2B5EF4-FFF2-40B4-BE49-F238E27FC236}">
                <a16:creationId xmlns:a16="http://schemas.microsoft.com/office/drawing/2014/main" id="{0A3D2184-4B8B-4D4E-A6CC-363FAC7015D9}"/>
              </a:ext>
            </a:extLst>
          </p:cNvPr>
          <p:cNvSpPr>
            <a:spLocks noChangeArrowheads="1"/>
          </p:cNvSpPr>
          <p:nvPr/>
        </p:nvSpPr>
        <p:spPr bwMode="auto">
          <a:xfrm>
            <a:off x="2897464" y="558523"/>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2" name="AutoShape 1036">
            <a:hlinkClick r:id="rId3" action="ppaction://hlinksldjump" highlightClick="1"/>
            <a:extLst>
              <a:ext uri="{FF2B5EF4-FFF2-40B4-BE49-F238E27FC236}">
                <a16:creationId xmlns:a16="http://schemas.microsoft.com/office/drawing/2014/main" id="{A3D8E68E-993B-4AA1-9057-0BF98253ED7C}"/>
              </a:ext>
            </a:extLst>
          </p:cNvPr>
          <p:cNvSpPr>
            <a:spLocks noChangeArrowheads="1"/>
          </p:cNvSpPr>
          <p:nvPr/>
        </p:nvSpPr>
        <p:spPr bwMode="auto">
          <a:xfrm>
            <a:off x="6707464" y="558523"/>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11" name="object 8">
            <a:extLst>
              <a:ext uri="{FF2B5EF4-FFF2-40B4-BE49-F238E27FC236}">
                <a16:creationId xmlns:a16="http://schemas.microsoft.com/office/drawing/2014/main" id="{9A148DD7-1EC5-4273-9C54-DE31E1D5BEA0}"/>
              </a:ext>
            </a:extLst>
          </p:cNvPr>
          <p:cNvSpPr>
            <a:spLocks/>
          </p:cNvSpPr>
          <p:nvPr/>
        </p:nvSpPr>
        <p:spPr bwMode="auto">
          <a:xfrm>
            <a:off x="1721368" y="1462377"/>
            <a:ext cx="946150" cy="277813"/>
          </a:xfrm>
          <a:custGeom>
            <a:avLst/>
            <a:gdLst>
              <a:gd name="T0" fmla="*/ 901566 w 944880"/>
              <a:gd name="T1" fmla="*/ 0 h 277368"/>
              <a:gd name="T2" fmla="*/ 44532 w 944880"/>
              <a:gd name="T3" fmla="*/ 20 h 277368"/>
              <a:gd name="T4" fmla="*/ 8789 w 944880"/>
              <a:gd name="T5" fmla="*/ 19564 h 277368"/>
              <a:gd name="T6" fmla="*/ 0 w 944880"/>
              <a:gd name="T7" fmla="*/ 45866 h 277368"/>
              <a:gd name="T8" fmla="*/ 20 w 944880"/>
              <a:gd name="T9" fmla="*/ 233700 h 277368"/>
              <a:gd name="T10" fmla="*/ 19552 w 944880"/>
              <a:gd name="T11" fmla="*/ 269459 h 277368"/>
              <a:gd name="T12" fmla="*/ 45843 w 944880"/>
              <a:gd name="T13" fmla="*/ 278259 h 277368"/>
              <a:gd name="T14" fmla="*/ 902896 w 944880"/>
              <a:gd name="T15" fmla="*/ 278237 h 277368"/>
              <a:gd name="T16" fmla="*/ 938629 w 944880"/>
              <a:gd name="T17" fmla="*/ 258678 h 277368"/>
              <a:gd name="T18" fmla="*/ 947422 w 944880"/>
              <a:gd name="T19" fmla="*/ 232379 h 277368"/>
              <a:gd name="T20" fmla="*/ 947401 w 944880"/>
              <a:gd name="T21" fmla="*/ 44545 h 277368"/>
              <a:gd name="T22" fmla="*/ 927854 w 944880"/>
              <a:gd name="T23" fmla="*/ 8794 h 277368"/>
              <a:gd name="T24" fmla="*/ 901566 w 944880"/>
              <a:gd name="T25" fmla="*/ 0 h 2773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44880" h="277368">
                <a:moveTo>
                  <a:pt x="899147" y="0"/>
                </a:moveTo>
                <a:lnTo>
                  <a:pt x="44412" y="20"/>
                </a:lnTo>
                <a:lnTo>
                  <a:pt x="8765" y="19502"/>
                </a:lnTo>
                <a:lnTo>
                  <a:pt x="0" y="45720"/>
                </a:lnTo>
                <a:lnTo>
                  <a:pt x="20" y="232952"/>
                </a:lnTo>
                <a:lnTo>
                  <a:pt x="19500" y="268596"/>
                </a:lnTo>
                <a:lnTo>
                  <a:pt x="45720" y="277368"/>
                </a:lnTo>
                <a:lnTo>
                  <a:pt x="900474" y="277346"/>
                </a:lnTo>
                <a:lnTo>
                  <a:pt x="936111" y="257850"/>
                </a:lnTo>
                <a:lnTo>
                  <a:pt x="944880" y="231635"/>
                </a:lnTo>
                <a:lnTo>
                  <a:pt x="944859" y="44403"/>
                </a:lnTo>
                <a:lnTo>
                  <a:pt x="925365" y="8766"/>
                </a:lnTo>
                <a:lnTo>
                  <a:pt x="899147" y="0"/>
                </a:lnTo>
                <a:close/>
              </a:path>
            </a:pathLst>
          </a:custGeom>
          <a:solidFill>
            <a:srgbClr val="869AA9"/>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2" name="object 9">
            <a:extLst>
              <a:ext uri="{FF2B5EF4-FFF2-40B4-BE49-F238E27FC236}">
                <a16:creationId xmlns:a16="http://schemas.microsoft.com/office/drawing/2014/main" id="{25B43320-62C1-4E7D-AC81-433FD3144475}"/>
              </a:ext>
            </a:extLst>
          </p:cNvPr>
          <p:cNvSpPr>
            <a:spLocks/>
          </p:cNvSpPr>
          <p:nvPr/>
        </p:nvSpPr>
        <p:spPr bwMode="auto">
          <a:xfrm>
            <a:off x="1719781" y="1459202"/>
            <a:ext cx="952500" cy="285750"/>
          </a:xfrm>
          <a:custGeom>
            <a:avLst/>
            <a:gdLst>
              <a:gd name="T0" fmla="*/ 39485 w 954011"/>
              <a:gd name="T1" fmla="*/ 0 h 286499"/>
              <a:gd name="T2" fmla="*/ 21255 w 954011"/>
              <a:gd name="T3" fmla="*/ 9095 h 286499"/>
              <a:gd name="T4" fmla="*/ 12154 w 954011"/>
              <a:gd name="T5" fmla="*/ 15159 h 286499"/>
              <a:gd name="T6" fmla="*/ 6063 w 954011"/>
              <a:gd name="T7" fmla="*/ 21223 h 286499"/>
              <a:gd name="T8" fmla="*/ 0 w 954011"/>
              <a:gd name="T9" fmla="*/ 242554 h 286499"/>
              <a:gd name="T10" fmla="*/ 3025 w 954011"/>
              <a:gd name="T11" fmla="*/ 254682 h 286499"/>
              <a:gd name="T12" fmla="*/ 9103 w 954011"/>
              <a:gd name="T13" fmla="*/ 260747 h 286499"/>
              <a:gd name="T14" fmla="*/ 15179 w 954011"/>
              <a:gd name="T15" fmla="*/ 269843 h 286499"/>
              <a:gd name="T16" fmla="*/ 48601 w 954011"/>
              <a:gd name="T17" fmla="*/ 285003 h 286499"/>
              <a:gd name="T18" fmla="*/ 917569 w 954011"/>
              <a:gd name="T19" fmla="*/ 278951 h 286499"/>
              <a:gd name="T20" fmla="*/ 926685 w 954011"/>
              <a:gd name="T21" fmla="*/ 275919 h 286499"/>
              <a:gd name="T22" fmla="*/ 39485 w 954011"/>
              <a:gd name="T23" fmla="*/ 272875 h 286499"/>
              <a:gd name="T24" fmla="*/ 27333 w 954011"/>
              <a:gd name="T25" fmla="*/ 266811 h 286499"/>
              <a:gd name="T26" fmla="*/ 17205 w 954011"/>
              <a:gd name="T27" fmla="*/ 257714 h 286499"/>
              <a:gd name="T28" fmla="*/ 12154 w 954011"/>
              <a:gd name="T29" fmla="*/ 248618 h 286499"/>
              <a:gd name="T30" fmla="*/ 9103 w 954011"/>
              <a:gd name="T31" fmla="*/ 42448 h 286499"/>
              <a:gd name="T32" fmla="*/ 42524 w 954011"/>
              <a:gd name="T33" fmla="*/ 9095 h 286499"/>
              <a:gd name="T34" fmla="*/ 926685 w 954011"/>
              <a:gd name="T35" fmla="*/ 6063 h 286499"/>
              <a:gd name="T36" fmla="*/ 917569 w 954011"/>
              <a:gd name="T37" fmla="*/ 3031 h 286499"/>
              <a:gd name="T38" fmla="*/ 932761 w 954011"/>
              <a:gd name="T39" fmla="*/ 254682 h 286499"/>
              <a:gd name="T40" fmla="*/ 929723 w 954011"/>
              <a:gd name="T41" fmla="*/ 263779 h 286499"/>
              <a:gd name="T42" fmla="*/ 923646 w 954011"/>
              <a:gd name="T43" fmla="*/ 266811 h 286499"/>
              <a:gd name="T44" fmla="*/ 908455 w 954011"/>
              <a:gd name="T45" fmla="*/ 272875 h 286499"/>
              <a:gd name="T46" fmla="*/ 926685 w 954011"/>
              <a:gd name="T47" fmla="*/ 275919 h 286499"/>
              <a:gd name="T48" fmla="*/ 941876 w 954011"/>
              <a:gd name="T49" fmla="*/ 260747 h 286499"/>
              <a:gd name="T50" fmla="*/ 932761 w 954011"/>
              <a:gd name="T51" fmla="*/ 257714 h 286499"/>
              <a:gd name="T52" fmla="*/ 33422 w 954011"/>
              <a:gd name="T53" fmla="*/ 269843 h 286499"/>
              <a:gd name="T54" fmla="*/ 42524 w 954011"/>
              <a:gd name="T55" fmla="*/ 272875 h 286499"/>
              <a:gd name="T56" fmla="*/ 914531 w 954011"/>
              <a:gd name="T57" fmla="*/ 269843 h 286499"/>
              <a:gd name="T58" fmla="*/ 914531 w 954011"/>
              <a:gd name="T59" fmla="*/ 272875 h 286499"/>
              <a:gd name="T60" fmla="*/ 15179 w 954011"/>
              <a:gd name="T61" fmla="*/ 254682 h 286499"/>
              <a:gd name="T62" fmla="*/ 17205 w 954011"/>
              <a:gd name="T63" fmla="*/ 257714 h 286499"/>
              <a:gd name="T64" fmla="*/ 926685 w 954011"/>
              <a:gd name="T65" fmla="*/ 9095 h 286499"/>
              <a:gd name="T66" fmla="*/ 923646 w 954011"/>
              <a:gd name="T67" fmla="*/ 15159 h 286499"/>
              <a:gd name="T68" fmla="*/ 929723 w 954011"/>
              <a:gd name="T69" fmla="*/ 21223 h 286499"/>
              <a:gd name="T70" fmla="*/ 932761 w 954011"/>
              <a:gd name="T71" fmla="*/ 27287 h 286499"/>
              <a:gd name="T72" fmla="*/ 938838 w 954011"/>
              <a:gd name="T73" fmla="*/ 42448 h 286499"/>
              <a:gd name="T74" fmla="*/ 935812 w 954011"/>
              <a:gd name="T75" fmla="*/ 248618 h 286499"/>
              <a:gd name="T76" fmla="*/ 943401 w 954011"/>
              <a:gd name="T77" fmla="*/ 257714 h 286499"/>
              <a:gd name="T78" fmla="*/ 944928 w 954011"/>
              <a:gd name="T79" fmla="*/ 251650 h 286499"/>
              <a:gd name="T80" fmla="*/ 950991 w 954011"/>
              <a:gd name="T81" fmla="*/ 48513 h 286499"/>
              <a:gd name="T82" fmla="*/ 935812 w 954011"/>
              <a:gd name="T83" fmla="*/ 15159 h 28649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54011" h="286499">
                <a:moveTo>
                  <a:pt x="911339" y="0"/>
                </a:moveTo>
                <a:lnTo>
                  <a:pt x="39611" y="0"/>
                </a:lnTo>
                <a:lnTo>
                  <a:pt x="21323" y="6095"/>
                </a:lnTo>
                <a:lnTo>
                  <a:pt x="21323" y="9143"/>
                </a:lnTo>
                <a:lnTo>
                  <a:pt x="15227" y="15239"/>
                </a:lnTo>
                <a:lnTo>
                  <a:pt x="12192" y="15239"/>
                </a:lnTo>
                <a:lnTo>
                  <a:pt x="9131" y="21335"/>
                </a:lnTo>
                <a:lnTo>
                  <a:pt x="6083" y="21335"/>
                </a:lnTo>
                <a:lnTo>
                  <a:pt x="0" y="39623"/>
                </a:lnTo>
                <a:lnTo>
                  <a:pt x="0" y="243827"/>
                </a:lnTo>
                <a:lnTo>
                  <a:pt x="3035" y="252971"/>
                </a:lnTo>
                <a:lnTo>
                  <a:pt x="3035" y="256019"/>
                </a:lnTo>
                <a:lnTo>
                  <a:pt x="6083" y="262115"/>
                </a:lnTo>
                <a:lnTo>
                  <a:pt x="9131" y="262115"/>
                </a:lnTo>
                <a:lnTo>
                  <a:pt x="12192" y="271259"/>
                </a:lnTo>
                <a:lnTo>
                  <a:pt x="15227" y="271259"/>
                </a:lnTo>
                <a:lnTo>
                  <a:pt x="21323" y="277367"/>
                </a:lnTo>
                <a:lnTo>
                  <a:pt x="48755" y="286499"/>
                </a:lnTo>
                <a:lnTo>
                  <a:pt x="902195" y="286499"/>
                </a:lnTo>
                <a:lnTo>
                  <a:pt x="920483" y="280415"/>
                </a:lnTo>
                <a:lnTo>
                  <a:pt x="923531" y="280415"/>
                </a:lnTo>
                <a:lnTo>
                  <a:pt x="929627" y="277367"/>
                </a:lnTo>
                <a:lnTo>
                  <a:pt x="48755" y="277367"/>
                </a:lnTo>
                <a:lnTo>
                  <a:pt x="39611" y="274307"/>
                </a:lnTo>
                <a:lnTo>
                  <a:pt x="33528" y="274307"/>
                </a:lnTo>
                <a:lnTo>
                  <a:pt x="27419" y="268211"/>
                </a:lnTo>
                <a:lnTo>
                  <a:pt x="21323" y="265163"/>
                </a:lnTo>
                <a:lnTo>
                  <a:pt x="17259" y="259067"/>
                </a:lnTo>
                <a:lnTo>
                  <a:pt x="15227" y="259067"/>
                </a:lnTo>
                <a:lnTo>
                  <a:pt x="12192" y="249923"/>
                </a:lnTo>
                <a:lnTo>
                  <a:pt x="9131" y="243827"/>
                </a:lnTo>
                <a:lnTo>
                  <a:pt x="9131" y="42671"/>
                </a:lnTo>
                <a:lnTo>
                  <a:pt x="33528" y="12204"/>
                </a:lnTo>
                <a:lnTo>
                  <a:pt x="42659" y="9143"/>
                </a:lnTo>
                <a:lnTo>
                  <a:pt x="929627" y="9143"/>
                </a:lnTo>
                <a:lnTo>
                  <a:pt x="929627" y="6095"/>
                </a:lnTo>
                <a:lnTo>
                  <a:pt x="923531" y="3047"/>
                </a:lnTo>
                <a:lnTo>
                  <a:pt x="920483" y="3047"/>
                </a:lnTo>
                <a:lnTo>
                  <a:pt x="911339" y="0"/>
                </a:lnTo>
                <a:close/>
              </a:path>
              <a:path w="954011" h="286499">
                <a:moveTo>
                  <a:pt x="935723" y="256019"/>
                </a:moveTo>
                <a:lnTo>
                  <a:pt x="929627" y="265163"/>
                </a:lnTo>
                <a:lnTo>
                  <a:pt x="932675" y="265163"/>
                </a:lnTo>
                <a:lnTo>
                  <a:pt x="923531" y="268211"/>
                </a:lnTo>
                <a:lnTo>
                  <a:pt x="926579" y="268211"/>
                </a:lnTo>
                <a:lnTo>
                  <a:pt x="917435" y="274307"/>
                </a:lnTo>
                <a:lnTo>
                  <a:pt x="911339" y="274307"/>
                </a:lnTo>
                <a:lnTo>
                  <a:pt x="902195" y="277367"/>
                </a:lnTo>
                <a:lnTo>
                  <a:pt x="929627" y="277367"/>
                </a:lnTo>
                <a:lnTo>
                  <a:pt x="938784" y="271259"/>
                </a:lnTo>
                <a:lnTo>
                  <a:pt x="944867" y="262115"/>
                </a:lnTo>
                <a:lnTo>
                  <a:pt x="946397" y="259067"/>
                </a:lnTo>
                <a:lnTo>
                  <a:pt x="935723" y="259067"/>
                </a:lnTo>
                <a:lnTo>
                  <a:pt x="935723" y="256019"/>
                </a:lnTo>
                <a:close/>
              </a:path>
              <a:path w="954011" h="286499">
                <a:moveTo>
                  <a:pt x="33528" y="271259"/>
                </a:moveTo>
                <a:lnTo>
                  <a:pt x="33528" y="274307"/>
                </a:lnTo>
                <a:lnTo>
                  <a:pt x="42659" y="274307"/>
                </a:lnTo>
                <a:lnTo>
                  <a:pt x="33528" y="271259"/>
                </a:lnTo>
                <a:close/>
              </a:path>
              <a:path w="954011" h="286499">
                <a:moveTo>
                  <a:pt x="917435" y="271259"/>
                </a:moveTo>
                <a:lnTo>
                  <a:pt x="908291" y="274307"/>
                </a:lnTo>
                <a:lnTo>
                  <a:pt x="917435" y="274307"/>
                </a:lnTo>
                <a:lnTo>
                  <a:pt x="917435" y="271259"/>
                </a:lnTo>
                <a:close/>
              </a:path>
              <a:path w="954011" h="286499">
                <a:moveTo>
                  <a:pt x="15227" y="256019"/>
                </a:moveTo>
                <a:lnTo>
                  <a:pt x="15227" y="259067"/>
                </a:lnTo>
                <a:lnTo>
                  <a:pt x="17259" y="259067"/>
                </a:lnTo>
                <a:lnTo>
                  <a:pt x="15227" y="256019"/>
                </a:lnTo>
                <a:close/>
              </a:path>
              <a:path w="954011" h="286499">
                <a:moveTo>
                  <a:pt x="929627" y="9143"/>
                </a:moveTo>
                <a:lnTo>
                  <a:pt x="908291" y="9143"/>
                </a:lnTo>
                <a:lnTo>
                  <a:pt x="926579" y="15239"/>
                </a:lnTo>
                <a:lnTo>
                  <a:pt x="923531" y="15239"/>
                </a:lnTo>
                <a:lnTo>
                  <a:pt x="932675" y="21335"/>
                </a:lnTo>
                <a:lnTo>
                  <a:pt x="929627" y="21335"/>
                </a:lnTo>
                <a:lnTo>
                  <a:pt x="935723" y="27431"/>
                </a:lnTo>
                <a:lnTo>
                  <a:pt x="938784" y="33527"/>
                </a:lnTo>
                <a:lnTo>
                  <a:pt x="941819" y="42671"/>
                </a:lnTo>
                <a:lnTo>
                  <a:pt x="941819" y="243827"/>
                </a:lnTo>
                <a:lnTo>
                  <a:pt x="938784" y="249923"/>
                </a:lnTo>
                <a:lnTo>
                  <a:pt x="935723" y="259067"/>
                </a:lnTo>
                <a:lnTo>
                  <a:pt x="946397" y="259067"/>
                </a:lnTo>
                <a:lnTo>
                  <a:pt x="947928" y="256019"/>
                </a:lnTo>
                <a:lnTo>
                  <a:pt x="947928" y="252971"/>
                </a:lnTo>
                <a:lnTo>
                  <a:pt x="954011" y="234683"/>
                </a:lnTo>
                <a:lnTo>
                  <a:pt x="954011" y="48767"/>
                </a:lnTo>
                <a:lnTo>
                  <a:pt x="944867" y="21335"/>
                </a:lnTo>
                <a:lnTo>
                  <a:pt x="938784" y="15239"/>
                </a:lnTo>
                <a:lnTo>
                  <a:pt x="929627" y="91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3" name="object 10">
            <a:extLst>
              <a:ext uri="{FF2B5EF4-FFF2-40B4-BE49-F238E27FC236}">
                <a16:creationId xmlns:a16="http://schemas.microsoft.com/office/drawing/2014/main" id="{0910584F-38BC-4DEC-AB5F-EF6765AB914D}"/>
              </a:ext>
            </a:extLst>
          </p:cNvPr>
          <p:cNvSpPr>
            <a:spLocks noChangeArrowheads="1"/>
          </p:cNvSpPr>
          <p:nvPr/>
        </p:nvSpPr>
        <p:spPr bwMode="auto">
          <a:xfrm>
            <a:off x="1734068" y="1471902"/>
            <a:ext cx="185738" cy="200025"/>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14" name="object 14">
            <a:extLst>
              <a:ext uri="{FF2B5EF4-FFF2-40B4-BE49-F238E27FC236}">
                <a16:creationId xmlns:a16="http://schemas.microsoft.com/office/drawing/2014/main" id="{B3DBCCF4-7112-4259-A24F-8C5C715D01E2}"/>
              </a:ext>
            </a:extLst>
          </p:cNvPr>
          <p:cNvSpPr>
            <a:spLocks/>
          </p:cNvSpPr>
          <p:nvPr/>
        </p:nvSpPr>
        <p:spPr bwMode="auto">
          <a:xfrm>
            <a:off x="5034481" y="2179927"/>
            <a:ext cx="0" cy="512763"/>
          </a:xfrm>
          <a:custGeom>
            <a:avLst/>
            <a:gdLst>
              <a:gd name="T0" fmla="*/ 0 h 512076"/>
              <a:gd name="T1" fmla="*/ 513451 h 512076"/>
              <a:gd name="T2" fmla="*/ 0 60000 65536"/>
              <a:gd name="T3" fmla="*/ 0 60000 65536"/>
            </a:gdLst>
            <a:ahLst/>
            <a:cxnLst>
              <a:cxn ang="T2">
                <a:pos x="0" y="T0"/>
              </a:cxn>
              <a:cxn ang="T3">
                <a:pos x="0" y="T1"/>
              </a:cxn>
            </a:cxnLst>
            <a:rect l="0" t="0" r="r" b="b"/>
            <a:pathLst>
              <a:path h="512076">
                <a:moveTo>
                  <a:pt x="0" y="0"/>
                </a:moveTo>
                <a:lnTo>
                  <a:pt x="0" y="512076"/>
                </a:lnTo>
              </a:path>
            </a:pathLst>
          </a:custGeom>
          <a:noFill/>
          <a:ln w="28689">
            <a:solidFill>
              <a:srgbClr val="ACBDCA"/>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15" name="object 16">
            <a:extLst>
              <a:ext uri="{FF2B5EF4-FFF2-40B4-BE49-F238E27FC236}">
                <a16:creationId xmlns:a16="http://schemas.microsoft.com/office/drawing/2014/main" id="{F04CEC68-CDE5-4121-B296-8E10E2688285}"/>
              </a:ext>
            </a:extLst>
          </p:cNvPr>
          <p:cNvSpPr>
            <a:spLocks/>
          </p:cNvSpPr>
          <p:nvPr/>
        </p:nvSpPr>
        <p:spPr bwMode="auto">
          <a:xfrm>
            <a:off x="9028631" y="2249777"/>
            <a:ext cx="0" cy="576263"/>
          </a:xfrm>
          <a:custGeom>
            <a:avLst/>
            <a:gdLst>
              <a:gd name="T0" fmla="*/ 0 h 576072"/>
              <a:gd name="T1" fmla="*/ 576454 h 576072"/>
              <a:gd name="T2" fmla="*/ 0 60000 65536"/>
              <a:gd name="T3" fmla="*/ 0 60000 65536"/>
            </a:gdLst>
            <a:ahLst/>
            <a:cxnLst>
              <a:cxn ang="T2">
                <a:pos x="0" y="T0"/>
              </a:cxn>
              <a:cxn ang="T3">
                <a:pos x="0" y="T1"/>
              </a:cxn>
            </a:cxnLst>
            <a:rect l="0" t="0" r="r" b="b"/>
            <a:pathLst>
              <a:path h="576072">
                <a:moveTo>
                  <a:pt x="0" y="0"/>
                </a:moveTo>
                <a:lnTo>
                  <a:pt x="0" y="576072"/>
                </a:lnTo>
              </a:path>
            </a:pathLst>
          </a:custGeom>
          <a:noFill/>
          <a:ln w="25653">
            <a:solidFill>
              <a:srgbClr val="ACBDCA"/>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16" name="object 17">
            <a:extLst>
              <a:ext uri="{FF2B5EF4-FFF2-40B4-BE49-F238E27FC236}">
                <a16:creationId xmlns:a16="http://schemas.microsoft.com/office/drawing/2014/main" id="{0A4984A7-8344-4539-9E44-8CED93EACA54}"/>
              </a:ext>
            </a:extLst>
          </p:cNvPr>
          <p:cNvSpPr>
            <a:spLocks noChangeArrowheads="1"/>
          </p:cNvSpPr>
          <p:nvPr/>
        </p:nvSpPr>
        <p:spPr bwMode="auto">
          <a:xfrm>
            <a:off x="8668268" y="1732252"/>
            <a:ext cx="758825" cy="600075"/>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17" name="object 20">
            <a:extLst>
              <a:ext uri="{FF2B5EF4-FFF2-40B4-BE49-F238E27FC236}">
                <a16:creationId xmlns:a16="http://schemas.microsoft.com/office/drawing/2014/main" id="{74EAC840-9341-46FC-85D9-0952D3B9B665}"/>
              </a:ext>
            </a:extLst>
          </p:cNvPr>
          <p:cNvSpPr>
            <a:spLocks noChangeArrowheads="1"/>
          </p:cNvSpPr>
          <p:nvPr/>
        </p:nvSpPr>
        <p:spPr bwMode="auto">
          <a:xfrm>
            <a:off x="4739206" y="1673515"/>
            <a:ext cx="1112837" cy="512762"/>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18" name="object 27">
            <a:extLst>
              <a:ext uri="{FF2B5EF4-FFF2-40B4-BE49-F238E27FC236}">
                <a16:creationId xmlns:a16="http://schemas.microsoft.com/office/drawing/2014/main" id="{62A1AA1A-9B08-4B86-9A64-47A02E0AF87F}"/>
              </a:ext>
            </a:extLst>
          </p:cNvPr>
          <p:cNvSpPr>
            <a:spLocks/>
          </p:cNvSpPr>
          <p:nvPr/>
        </p:nvSpPr>
        <p:spPr bwMode="auto">
          <a:xfrm>
            <a:off x="2515118" y="2283115"/>
            <a:ext cx="0" cy="542925"/>
          </a:xfrm>
          <a:custGeom>
            <a:avLst/>
            <a:gdLst>
              <a:gd name="T0" fmla="*/ 0 h 542531"/>
              <a:gd name="T1" fmla="*/ 543319 h 542531"/>
              <a:gd name="T2" fmla="*/ 0 60000 65536"/>
              <a:gd name="T3" fmla="*/ 0 60000 65536"/>
            </a:gdLst>
            <a:ahLst/>
            <a:cxnLst>
              <a:cxn ang="T2">
                <a:pos x="0" y="T0"/>
              </a:cxn>
              <a:cxn ang="T3">
                <a:pos x="0" y="T1"/>
              </a:cxn>
            </a:cxnLst>
            <a:rect l="0" t="0" r="r" b="b"/>
            <a:pathLst>
              <a:path h="542531">
                <a:moveTo>
                  <a:pt x="0" y="0"/>
                </a:moveTo>
                <a:lnTo>
                  <a:pt x="0" y="542531"/>
                </a:lnTo>
              </a:path>
            </a:pathLst>
          </a:custGeom>
          <a:noFill/>
          <a:ln w="25654">
            <a:solidFill>
              <a:srgbClr val="ACBDCA"/>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19" name="object 28">
            <a:extLst>
              <a:ext uri="{FF2B5EF4-FFF2-40B4-BE49-F238E27FC236}">
                <a16:creationId xmlns:a16="http://schemas.microsoft.com/office/drawing/2014/main" id="{AC6ADBA6-D6B2-4DF1-BA62-1D5CE282EEEB}"/>
              </a:ext>
            </a:extLst>
          </p:cNvPr>
          <p:cNvSpPr>
            <a:spLocks noChangeArrowheads="1"/>
          </p:cNvSpPr>
          <p:nvPr/>
        </p:nvSpPr>
        <p:spPr bwMode="auto">
          <a:xfrm>
            <a:off x="2154756" y="1875127"/>
            <a:ext cx="708025" cy="509588"/>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20" name="object 29">
            <a:extLst>
              <a:ext uri="{FF2B5EF4-FFF2-40B4-BE49-F238E27FC236}">
                <a16:creationId xmlns:a16="http://schemas.microsoft.com/office/drawing/2014/main" id="{0B117392-A472-4A21-BA42-B28E236A4CD8}"/>
              </a:ext>
            </a:extLst>
          </p:cNvPr>
          <p:cNvSpPr>
            <a:spLocks/>
          </p:cNvSpPr>
          <p:nvPr/>
        </p:nvSpPr>
        <p:spPr bwMode="auto">
          <a:xfrm>
            <a:off x="8131693" y="2467265"/>
            <a:ext cx="0" cy="358775"/>
          </a:xfrm>
          <a:custGeom>
            <a:avLst/>
            <a:gdLst>
              <a:gd name="T0" fmla="*/ 0 h 359651"/>
              <a:gd name="T1" fmla="*/ 357901 h 359651"/>
              <a:gd name="T2" fmla="*/ 0 60000 65536"/>
              <a:gd name="T3" fmla="*/ 0 60000 65536"/>
            </a:gdLst>
            <a:ahLst/>
            <a:cxnLst>
              <a:cxn ang="T2">
                <a:pos x="0" y="T0"/>
              </a:cxn>
              <a:cxn ang="T3">
                <a:pos x="0" y="T1"/>
              </a:cxn>
            </a:cxnLst>
            <a:rect l="0" t="0" r="r" b="b"/>
            <a:pathLst>
              <a:path h="359651">
                <a:moveTo>
                  <a:pt x="0" y="0"/>
                </a:moveTo>
                <a:lnTo>
                  <a:pt x="0" y="359651"/>
                </a:lnTo>
              </a:path>
            </a:pathLst>
          </a:custGeom>
          <a:noFill/>
          <a:ln w="25641">
            <a:solidFill>
              <a:srgbClr val="ACBDCA"/>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3" name="object 30">
            <a:extLst>
              <a:ext uri="{FF2B5EF4-FFF2-40B4-BE49-F238E27FC236}">
                <a16:creationId xmlns:a16="http://schemas.microsoft.com/office/drawing/2014/main" id="{B92ABC9E-347D-4A09-ACBA-F4B87006D8E7}"/>
              </a:ext>
            </a:extLst>
          </p:cNvPr>
          <p:cNvSpPr>
            <a:spLocks noChangeArrowheads="1"/>
          </p:cNvSpPr>
          <p:nvPr/>
        </p:nvSpPr>
        <p:spPr bwMode="auto">
          <a:xfrm>
            <a:off x="7849118" y="2179927"/>
            <a:ext cx="490538" cy="441325"/>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24" name="object 31">
            <a:extLst>
              <a:ext uri="{FF2B5EF4-FFF2-40B4-BE49-F238E27FC236}">
                <a16:creationId xmlns:a16="http://schemas.microsoft.com/office/drawing/2014/main" id="{316C0BA0-0B87-4BE3-AD03-16ECAB3B7809}"/>
              </a:ext>
            </a:extLst>
          </p:cNvPr>
          <p:cNvSpPr>
            <a:spLocks/>
          </p:cNvSpPr>
          <p:nvPr/>
        </p:nvSpPr>
        <p:spPr bwMode="auto">
          <a:xfrm>
            <a:off x="2137293" y="2808577"/>
            <a:ext cx="265113" cy="758825"/>
          </a:xfrm>
          <a:custGeom>
            <a:avLst/>
            <a:gdLst>
              <a:gd name="T0" fmla="*/ 262030 w 265163"/>
              <a:gd name="T1" fmla="*/ 0 h 758939"/>
              <a:gd name="T2" fmla="*/ 207198 w 265163"/>
              <a:gd name="T3" fmla="*/ 9141 h 758939"/>
              <a:gd name="T4" fmla="*/ 158448 w 265163"/>
              <a:gd name="T5" fmla="*/ 30457 h 758939"/>
              <a:gd name="T6" fmla="*/ 112734 w 265163"/>
              <a:gd name="T7" fmla="*/ 63987 h 758939"/>
              <a:gd name="T8" fmla="*/ 73136 w 265163"/>
              <a:gd name="T9" fmla="*/ 106635 h 758939"/>
              <a:gd name="T10" fmla="*/ 42655 w 265163"/>
              <a:gd name="T11" fmla="*/ 161495 h 758939"/>
              <a:gd name="T12" fmla="*/ 18282 w 265163"/>
              <a:gd name="T13" fmla="*/ 222425 h 758939"/>
              <a:gd name="T14" fmla="*/ 3046 w 265163"/>
              <a:gd name="T15" fmla="*/ 286425 h 758939"/>
              <a:gd name="T16" fmla="*/ 0 w 265163"/>
              <a:gd name="T17" fmla="*/ 322989 h 758939"/>
              <a:gd name="T18" fmla="*/ 0 w 265163"/>
              <a:gd name="T19" fmla="*/ 435733 h 758939"/>
              <a:gd name="T20" fmla="*/ 9139 w 265163"/>
              <a:gd name="T21" fmla="*/ 505803 h 758939"/>
              <a:gd name="T22" fmla="*/ 30480 w 265163"/>
              <a:gd name="T23" fmla="*/ 569803 h 758939"/>
              <a:gd name="T24" fmla="*/ 57902 w 265163"/>
              <a:gd name="T25" fmla="*/ 624639 h 758939"/>
              <a:gd name="T26" fmla="*/ 94452 w 265163"/>
              <a:gd name="T27" fmla="*/ 673405 h 758939"/>
              <a:gd name="T28" fmla="*/ 137108 w 265163"/>
              <a:gd name="T29" fmla="*/ 713017 h 758939"/>
              <a:gd name="T30" fmla="*/ 185858 w 265163"/>
              <a:gd name="T31" fmla="*/ 740441 h 758939"/>
              <a:gd name="T32" fmla="*/ 237654 w 265163"/>
              <a:gd name="T33" fmla="*/ 755663 h 758939"/>
              <a:gd name="T34" fmla="*/ 262030 w 265163"/>
              <a:gd name="T35" fmla="*/ 758711 h 758939"/>
              <a:gd name="T36" fmla="*/ 265063 w 265163"/>
              <a:gd name="T37" fmla="*/ 719099 h 758939"/>
              <a:gd name="T38" fmla="*/ 240702 w 265163"/>
              <a:gd name="T39" fmla="*/ 719099 h 758939"/>
              <a:gd name="T40" fmla="*/ 198046 w 265163"/>
              <a:gd name="T41" fmla="*/ 706923 h 758939"/>
              <a:gd name="T42" fmla="*/ 158448 w 265163"/>
              <a:gd name="T43" fmla="*/ 682533 h 758939"/>
              <a:gd name="T44" fmla="*/ 121874 w 265163"/>
              <a:gd name="T45" fmla="*/ 649027 h 758939"/>
              <a:gd name="T46" fmla="*/ 91418 w 265163"/>
              <a:gd name="T47" fmla="*/ 606357 h 758939"/>
              <a:gd name="T48" fmla="*/ 63996 w 265163"/>
              <a:gd name="T49" fmla="*/ 554569 h 758939"/>
              <a:gd name="T50" fmla="*/ 42655 w 265163"/>
              <a:gd name="T51" fmla="*/ 466203 h 758939"/>
              <a:gd name="T52" fmla="*/ 39622 w 265163"/>
              <a:gd name="T53" fmla="*/ 432673 h 758939"/>
              <a:gd name="T54" fmla="*/ 36561 w 265163"/>
              <a:gd name="T55" fmla="*/ 399167 h 758939"/>
              <a:gd name="T56" fmla="*/ 36561 w 265163"/>
              <a:gd name="T57" fmla="*/ 356495 h 758939"/>
              <a:gd name="T58" fmla="*/ 39622 w 265163"/>
              <a:gd name="T59" fmla="*/ 322989 h 758939"/>
              <a:gd name="T60" fmla="*/ 42655 w 265163"/>
              <a:gd name="T61" fmla="*/ 292519 h 758939"/>
              <a:gd name="T62" fmla="*/ 54856 w 265163"/>
              <a:gd name="T63" fmla="*/ 231577 h 758939"/>
              <a:gd name="T64" fmla="*/ 67042 w 265163"/>
              <a:gd name="T65" fmla="*/ 204141 h 758939"/>
              <a:gd name="T66" fmla="*/ 76172 w 265163"/>
              <a:gd name="T67" fmla="*/ 176729 h 758939"/>
              <a:gd name="T68" fmla="*/ 106652 w 265163"/>
              <a:gd name="T69" fmla="*/ 127965 h 758939"/>
              <a:gd name="T70" fmla="*/ 121874 w 265163"/>
              <a:gd name="T71" fmla="*/ 106635 h 758939"/>
              <a:gd name="T72" fmla="*/ 140168 w 265163"/>
              <a:gd name="T73" fmla="*/ 91399 h 758939"/>
              <a:gd name="T74" fmla="*/ 158448 w 265163"/>
              <a:gd name="T75" fmla="*/ 73117 h 758939"/>
              <a:gd name="T76" fmla="*/ 179764 w 265163"/>
              <a:gd name="T77" fmla="*/ 60941 h 758939"/>
              <a:gd name="T78" fmla="*/ 222420 w 265163"/>
              <a:gd name="T79" fmla="*/ 42659 h 758939"/>
              <a:gd name="T80" fmla="*/ 265063 w 265163"/>
              <a:gd name="T81" fmla="*/ 36565 h 758939"/>
              <a:gd name="T82" fmla="*/ 262030 w 265163"/>
              <a:gd name="T83" fmla="*/ 0 h 75893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65163" h="758939">
                <a:moveTo>
                  <a:pt x="262128" y="0"/>
                </a:moveTo>
                <a:lnTo>
                  <a:pt x="207276" y="9143"/>
                </a:lnTo>
                <a:lnTo>
                  <a:pt x="158508" y="30467"/>
                </a:lnTo>
                <a:lnTo>
                  <a:pt x="112776" y="64007"/>
                </a:lnTo>
                <a:lnTo>
                  <a:pt x="73164" y="106667"/>
                </a:lnTo>
                <a:lnTo>
                  <a:pt x="42671" y="161543"/>
                </a:lnTo>
                <a:lnTo>
                  <a:pt x="18288" y="222491"/>
                </a:lnTo>
                <a:lnTo>
                  <a:pt x="3048" y="286511"/>
                </a:lnTo>
                <a:lnTo>
                  <a:pt x="0" y="323087"/>
                </a:lnTo>
                <a:lnTo>
                  <a:pt x="0" y="435863"/>
                </a:lnTo>
                <a:lnTo>
                  <a:pt x="9143" y="505955"/>
                </a:lnTo>
                <a:lnTo>
                  <a:pt x="30492" y="569975"/>
                </a:lnTo>
                <a:lnTo>
                  <a:pt x="57924" y="624827"/>
                </a:lnTo>
                <a:lnTo>
                  <a:pt x="94488" y="673607"/>
                </a:lnTo>
                <a:lnTo>
                  <a:pt x="137160" y="713231"/>
                </a:lnTo>
                <a:lnTo>
                  <a:pt x="185928" y="740663"/>
                </a:lnTo>
                <a:lnTo>
                  <a:pt x="237744" y="755891"/>
                </a:lnTo>
                <a:lnTo>
                  <a:pt x="262128" y="758939"/>
                </a:lnTo>
                <a:lnTo>
                  <a:pt x="265163" y="719315"/>
                </a:lnTo>
                <a:lnTo>
                  <a:pt x="240792" y="719315"/>
                </a:lnTo>
                <a:lnTo>
                  <a:pt x="198120" y="707135"/>
                </a:lnTo>
                <a:lnTo>
                  <a:pt x="158508" y="682739"/>
                </a:lnTo>
                <a:lnTo>
                  <a:pt x="121920" y="649223"/>
                </a:lnTo>
                <a:lnTo>
                  <a:pt x="91452" y="606539"/>
                </a:lnTo>
                <a:lnTo>
                  <a:pt x="64020" y="554735"/>
                </a:lnTo>
                <a:lnTo>
                  <a:pt x="42671" y="466343"/>
                </a:lnTo>
                <a:lnTo>
                  <a:pt x="39636" y="432803"/>
                </a:lnTo>
                <a:lnTo>
                  <a:pt x="36575" y="399287"/>
                </a:lnTo>
                <a:lnTo>
                  <a:pt x="36575" y="356603"/>
                </a:lnTo>
                <a:lnTo>
                  <a:pt x="39636" y="323087"/>
                </a:lnTo>
                <a:lnTo>
                  <a:pt x="42671" y="292607"/>
                </a:lnTo>
                <a:lnTo>
                  <a:pt x="54876" y="231647"/>
                </a:lnTo>
                <a:lnTo>
                  <a:pt x="67068" y="204203"/>
                </a:lnTo>
                <a:lnTo>
                  <a:pt x="76200" y="176783"/>
                </a:lnTo>
                <a:lnTo>
                  <a:pt x="106692" y="128003"/>
                </a:lnTo>
                <a:lnTo>
                  <a:pt x="121920" y="106667"/>
                </a:lnTo>
                <a:lnTo>
                  <a:pt x="140220" y="91427"/>
                </a:lnTo>
                <a:lnTo>
                  <a:pt x="158508" y="73139"/>
                </a:lnTo>
                <a:lnTo>
                  <a:pt x="179832" y="60959"/>
                </a:lnTo>
                <a:lnTo>
                  <a:pt x="222504" y="42671"/>
                </a:lnTo>
                <a:lnTo>
                  <a:pt x="265163" y="36575"/>
                </a:lnTo>
                <a:lnTo>
                  <a:pt x="262128" y="0"/>
                </a:lnTo>
                <a:close/>
              </a:path>
            </a:pathLst>
          </a:custGeom>
          <a:solidFill>
            <a:srgbClr val="0099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5" name="object 32">
            <a:extLst>
              <a:ext uri="{FF2B5EF4-FFF2-40B4-BE49-F238E27FC236}">
                <a16:creationId xmlns:a16="http://schemas.microsoft.com/office/drawing/2014/main" id="{12DA84B9-260C-47E5-A9E5-D05A12D72351}"/>
              </a:ext>
            </a:extLst>
          </p:cNvPr>
          <p:cNvSpPr>
            <a:spLocks/>
          </p:cNvSpPr>
          <p:nvPr/>
        </p:nvSpPr>
        <p:spPr bwMode="auto">
          <a:xfrm>
            <a:off x="7266506" y="2826040"/>
            <a:ext cx="2779712" cy="0"/>
          </a:xfrm>
          <a:custGeom>
            <a:avLst/>
            <a:gdLst>
              <a:gd name="T0" fmla="*/ 0 w 2779763"/>
              <a:gd name="T1" fmla="*/ 2779661 w 2779763"/>
              <a:gd name="T2" fmla="*/ 0 60000 65536"/>
              <a:gd name="T3" fmla="*/ 0 60000 65536"/>
            </a:gdLst>
            <a:ahLst/>
            <a:cxnLst>
              <a:cxn ang="T2">
                <a:pos x="T0" y="0"/>
              </a:cxn>
              <a:cxn ang="T3">
                <a:pos x="T1" y="0"/>
              </a:cxn>
            </a:cxnLst>
            <a:rect l="0" t="0" r="r" b="b"/>
            <a:pathLst>
              <a:path w="2779763">
                <a:moveTo>
                  <a:pt x="0" y="0"/>
                </a:moveTo>
                <a:lnTo>
                  <a:pt x="2779763" y="0"/>
                </a:lnTo>
              </a:path>
            </a:pathLst>
          </a:custGeom>
          <a:noFill/>
          <a:ln w="37833">
            <a:solidFill>
              <a:srgbClr val="0099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6" name="object 33">
            <a:extLst>
              <a:ext uri="{FF2B5EF4-FFF2-40B4-BE49-F238E27FC236}">
                <a16:creationId xmlns:a16="http://schemas.microsoft.com/office/drawing/2014/main" id="{C4D5A446-54FC-49A9-B632-9C600CE98D3C}"/>
              </a:ext>
            </a:extLst>
          </p:cNvPr>
          <p:cNvSpPr>
            <a:spLocks/>
          </p:cNvSpPr>
          <p:nvPr/>
        </p:nvSpPr>
        <p:spPr bwMode="auto">
          <a:xfrm>
            <a:off x="5537718" y="2826040"/>
            <a:ext cx="1585913" cy="0"/>
          </a:xfrm>
          <a:custGeom>
            <a:avLst/>
            <a:gdLst>
              <a:gd name="T0" fmla="*/ 0 w 1584960"/>
              <a:gd name="T1" fmla="*/ 1586867 w 1584960"/>
              <a:gd name="T2" fmla="*/ 0 60000 65536"/>
              <a:gd name="T3" fmla="*/ 0 60000 65536"/>
            </a:gdLst>
            <a:ahLst/>
            <a:cxnLst>
              <a:cxn ang="T2">
                <a:pos x="T0" y="0"/>
              </a:cxn>
              <a:cxn ang="T3">
                <a:pos x="T1" y="0"/>
              </a:cxn>
            </a:cxnLst>
            <a:rect l="0" t="0" r="r" b="b"/>
            <a:pathLst>
              <a:path w="1584960">
                <a:moveTo>
                  <a:pt x="0" y="0"/>
                </a:moveTo>
                <a:lnTo>
                  <a:pt x="1584960" y="0"/>
                </a:lnTo>
              </a:path>
            </a:pathLst>
          </a:custGeom>
          <a:noFill/>
          <a:ln w="37833">
            <a:solidFill>
              <a:srgbClr val="0099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7" name="object 34">
            <a:extLst>
              <a:ext uri="{FF2B5EF4-FFF2-40B4-BE49-F238E27FC236}">
                <a16:creationId xmlns:a16="http://schemas.microsoft.com/office/drawing/2014/main" id="{15E26348-6307-451C-ABF0-7E7CE2587A8E}"/>
              </a:ext>
            </a:extLst>
          </p:cNvPr>
          <p:cNvSpPr>
            <a:spLocks/>
          </p:cNvSpPr>
          <p:nvPr/>
        </p:nvSpPr>
        <p:spPr bwMode="auto">
          <a:xfrm>
            <a:off x="5105918" y="2826040"/>
            <a:ext cx="288925" cy="0"/>
          </a:xfrm>
          <a:custGeom>
            <a:avLst/>
            <a:gdLst>
              <a:gd name="T0" fmla="*/ 0 w 289560"/>
              <a:gd name="T1" fmla="*/ 288291 w 289560"/>
              <a:gd name="T2" fmla="*/ 0 60000 65536"/>
              <a:gd name="T3" fmla="*/ 0 60000 65536"/>
            </a:gdLst>
            <a:ahLst/>
            <a:cxnLst>
              <a:cxn ang="T2">
                <a:pos x="T0" y="0"/>
              </a:cxn>
              <a:cxn ang="T3">
                <a:pos x="T1" y="0"/>
              </a:cxn>
            </a:cxnLst>
            <a:rect l="0" t="0" r="r" b="b"/>
            <a:pathLst>
              <a:path w="289560">
                <a:moveTo>
                  <a:pt x="0" y="0"/>
                </a:moveTo>
                <a:lnTo>
                  <a:pt x="289560" y="0"/>
                </a:lnTo>
              </a:path>
            </a:pathLst>
          </a:custGeom>
          <a:noFill/>
          <a:ln w="37833">
            <a:solidFill>
              <a:srgbClr val="0099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8" name="object 35">
            <a:extLst>
              <a:ext uri="{FF2B5EF4-FFF2-40B4-BE49-F238E27FC236}">
                <a16:creationId xmlns:a16="http://schemas.microsoft.com/office/drawing/2014/main" id="{102811CB-9956-45AD-ACDB-3C490DD86516}"/>
              </a:ext>
            </a:extLst>
          </p:cNvPr>
          <p:cNvSpPr>
            <a:spLocks/>
          </p:cNvSpPr>
          <p:nvPr/>
        </p:nvSpPr>
        <p:spPr bwMode="auto">
          <a:xfrm>
            <a:off x="2402406" y="2826040"/>
            <a:ext cx="2559050" cy="0"/>
          </a:xfrm>
          <a:custGeom>
            <a:avLst/>
            <a:gdLst>
              <a:gd name="T0" fmla="*/ 0 w 2560332"/>
              <a:gd name="T1" fmla="*/ 2557769 w 2560332"/>
              <a:gd name="T2" fmla="*/ 0 60000 65536"/>
              <a:gd name="T3" fmla="*/ 0 60000 65536"/>
            </a:gdLst>
            <a:ahLst/>
            <a:cxnLst>
              <a:cxn ang="T2">
                <a:pos x="T0" y="0"/>
              </a:cxn>
              <a:cxn ang="T3">
                <a:pos x="T1" y="0"/>
              </a:cxn>
            </a:cxnLst>
            <a:rect l="0" t="0" r="r" b="b"/>
            <a:pathLst>
              <a:path w="2560332">
                <a:moveTo>
                  <a:pt x="0" y="0"/>
                </a:moveTo>
                <a:lnTo>
                  <a:pt x="2560332" y="0"/>
                </a:lnTo>
              </a:path>
            </a:pathLst>
          </a:custGeom>
          <a:noFill/>
          <a:ln w="37833">
            <a:solidFill>
              <a:srgbClr val="0099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9" name="object 36">
            <a:extLst>
              <a:ext uri="{FF2B5EF4-FFF2-40B4-BE49-F238E27FC236}">
                <a16:creationId xmlns:a16="http://schemas.microsoft.com/office/drawing/2014/main" id="{50AB9F58-1218-4270-95C9-F9C309949EFD}"/>
              </a:ext>
            </a:extLst>
          </p:cNvPr>
          <p:cNvSpPr>
            <a:spLocks/>
          </p:cNvSpPr>
          <p:nvPr/>
        </p:nvSpPr>
        <p:spPr bwMode="auto">
          <a:xfrm>
            <a:off x="8923856" y="3546765"/>
            <a:ext cx="1122362" cy="0"/>
          </a:xfrm>
          <a:custGeom>
            <a:avLst/>
            <a:gdLst>
              <a:gd name="T0" fmla="*/ 0 w 1121651"/>
              <a:gd name="T1" fmla="*/ 1123073 w 1121651"/>
              <a:gd name="T2" fmla="*/ 0 60000 65536"/>
              <a:gd name="T3" fmla="*/ 0 60000 65536"/>
            </a:gdLst>
            <a:ahLst/>
            <a:cxnLst>
              <a:cxn ang="T2">
                <a:pos x="T0" y="0"/>
              </a:cxn>
              <a:cxn ang="T3">
                <a:pos x="T1" y="0"/>
              </a:cxn>
            </a:cxnLst>
            <a:rect l="0" t="0" r="r" b="b"/>
            <a:pathLst>
              <a:path w="1121651">
                <a:moveTo>
                  <a:pt x="0" y="0"/>
                </a:moveTo>
                <a:lnTo>
                  <a:pt x="1121651" y="0"/>
                </a:lnTo>
              </a:path>
            </a:pathLst>
          </a:custGeom>
          <a:noFill/>
          <a:ln w="40894">
            <a:solidFill>
              <a:srgbClr val="0099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30" name="object 37">
            <a:extLst>
              <a:ext uri="{FF2B5EF4-FFF2-40B4-BE49-F238E27FC236}">
                <a16:creationId xmlns:a16="http://schemas.microsoft.com/office/drawing/2014/main" id="{07EDB6CF-54F6-4770-9B14-4A7798D7F551}"/>
              </a:ext>
            </a:extLst>
          </p:cNvPr>
          <p:cNvSpPr>
            <a:spLocks/>
          </p:cNvSpPr>
          <p:nvPr/>
        </p:nvSpPr>
        <p:spPr bwMode="auto">
          <a:xfrm>
            <a:off x="3810518" y="3530890"/>
            <a:ext cx="5143500" cy="71437"/>
          </a:xfrm>
          <a:custGeom>
            <a:avLst/>
            <a:gdLst>
              <a:gd name="T0" fmla="*/ 0 w 1005865"/>
              <a:gd name="T1" fmla="*/ 0 h 71438"/>
              <a:gd name="T2" fmla="*/ 26301335 w 1005865"/>
              <a:gd name="T3" fmla="*/ 0 h 71438"/>
              <a:gd name="T4" fmla="*/ 0 60000 65536"/>
              <a:gd name="T5" fmla="*/ 0 60000 65536"/>
            </a:gdLst>
            <a:ahLst/>
            <a:cxnLst>
              <a:cxn ang="T4">
                <a:pos x="T0" y="T1"/>
              </a:cxn>
              <a:cxn ang="T5">
                <a:pos x="T2" y="T3"/>
              </a:cxn>
            </a:cxnLst>
            <a:rect l="0" t="0" r="r" b="b"/>
            <a:pathLst>
              <a:path w="1005865" h="71438">
                <a:moveTo>
                  <a:pt x="0" y="0"/>
                </a:moveTo>
                <a:lnTo>
                  <a:pt x="1005865" y="0"/>
                </a:lnTo>
              </a:path>
            </a:pathLst>
          </a:custGeom>
          <a:noFill/>
          <a:ln w="40894">
            <a:solidFill>
              <a:srgbClr val="0099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31" name="object 40">
            <a:extLst>
              <a:ext uri="{FF2B5EF4-FFF2-40B4-BE49-F238E27FC236}">
                <a16:creationId xmlns:a16="http://schemas.microsoft.com/office/drawing/2014/main" id="{42FAE28C-78DC-4AD8-9A19-EC89FDB1B1F3}"/>
              </a:ext>
            </a:extLst>
          </p:cNvPr>
          <p:cNvSpPr>
            <a:spLocks/>
          </p:cNvSpPr>
          <p:nvPr/>
        </p:nvSpPr>
        <p:spPr bwMode="auto">
          <a:xfrm flipV="1">
            <a:off x="2402406" y="3500727"/>
            <a:ext cx="1408112" cy="46038"/>
          </a:xfrm>
          <a:custGeom>
            <a:avLst/>
            <a:gdLst>
              <a:gd name="T0" fmla="*/ 0 w 1338071"/>
              <a:gd name="T1" fmla="*/ 0 h 45719"/>
              <a:gd name="T2" fmla="*/ 1481819 w 1338071"/>
              <a:gd name="T3" fmla="*/ 0 h 45719"/>
              <a:gd name="T4" fmla="*/ 0 60000 65536"/>
              <a:gd name="T5" fmla="*/ 0 60000 65536"/>
            </a:gdLst>
            <a:ahLst/>
            <a:cxnLst>
              <a:cxn ang="T4">
                <a:pos x="T0" y="T1"/>
              </a:cxn>
              <a:cxn ang="T5">
                <a:pos x="T2" y="T3"/>
              </a:cxn>
            </a:cxnLst>
            <a:rect l="0" t="0" r="r" b="b"/>
            <a:pathLst>
              <a:path w="1338071" h="45719">
                <a:moveTo>
                  <a:pt x="0" y="0"/>
                </a:moveTo>
                <a:lnTo>
                  <a:pt x="1338071" y="0"/>
                </a:lnTo>
              </a:path>
            </a:pathLst>
          </a:custGeom>
          <a:noFill/>
          <a:ln w="40894">
            <a:solidFill>
              <a:srgbClr val="0099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32" name="object 41">
            <a:extLst>
              <a:ext uri="{FF2B5EF4-FFF2-40B4-BE49-F238E27FC236}">
                <a16:creationId xmlns:a16="http://schemas.microsoft.com/office/drawing/2014/main" id="{AFE46723-0773-4BDF-AB0D-F14BCE768194}"/>
              </a:ext>
            </a:extLst>
          </p:cNvPr>
          <p:cNvSpPr>
            <a:spLocks/>
          </p:cNvSpPr>
          <p:nvPr/>
        </p:nvSpPr>
        <p:spPr bwMode="auto">
          <a:xfrm>
            <a:off x="10043043" y="2808577"/>
            <a:ext cx="268288" cy="758825"/>
          </a:xfrm>
          <a:custGeom>
            <a:avLst/>
            <a:gdLst>
              <a:gd name="T0" fmla="*/ 3050 w 268224"/>
              <a:gd name="T1" fmla="*/ 0 h 758939"/>
              <a:gd name="T2" fmla="*/ 0 w 268224"/>
              <a:gd name="T3" fmla="*/ 36565 h 758939"/>
              <a:gd name="T4" fmla="*/ 24396 w 268224"/>
              <a:gd name="T5" fmla="*/ 39611 h 758939"/>
              <a:gd name="T6" fmla="*/ 45742 w 268224"/>
              <a:gd name="T7" fmla="*/ 42659 h 758939"/>
              <a:gd name="T8" fmla="*/ 88434 w 268224"/>
              <a:gd name="T9" fmla="*/ 60941 h 758939"/>
              <a:gd name="T10" fmla="*/ 106730 w 268224"/>
              <a:gd name="T11" fmla="*/ 73129 h 758939"/>
              <a:gd name="T12" fmla="*/ 125028 w 268224"/>
              <a:gd name="T13" fmla="*/ 91411 h 758939"/>
              <a:gd name="T14" fmla="*/ 143324 w 268224"/>
              <a:gd name="T15" fmla="*/ 106635 h 758939"/>
              <a:gd name="T16" fmla="*/ 176868 w 268224"/>
              <a:gd name="T17" fmla="*/ 152353 h 758939"/>
              <a:gd name="T18" fmla="*/ 201264 w 268224"/>
              <a:gd name="T19" fmla="*/ 204141 h 758939"/>
              <a:gd name="T20" fmla="*/ 219560 w 268224"/>
              <a:gd name="T21" fmla="*/ 262037 h 758939"/>
              <a:gd name="T22" fmla="*/ 228710 w 268224"/>
              <a:gd name="T23" fmla="*/ 322989 h 758939"/>
              <a:gd name="T24" fmla="*/ 228710 w 268224"/>
              <a:gd name="T25" fmla="*/ 432673 h 758939"/>
              <a:gd name="T26" fmla="*/ 219560 w 268224"/>
              <a:gd name="T27" fmla="*/ 496673 h 758939"/>
              <a:gd name="T28" fmla="*/ 201264 w 268224"/>
              <a:gd name="T29" fmla="*/ 554569 h 758939"/>
              <a:gd name="T30" fmla="*/ 189053 w 268224"/>
              <a:gd name="T31" fmla="*/ 578945 h 758939"/>
              <a:gd name="T32" fmla="*/ 176868 w 268224"/>
              <a:gd name="T33" fmla="*/ 606369 h 758939"/>
              <a:gd name="T34" fmla="*/ 146374 w 268224"/>
              <a:gd name="T35" fmla="*/ 649027 h 758939"/>
              <a:gd name="T36" fmla="*/ 128078 w 268224"/>
              <a:gd name="T37" fmla="*/ 667311 h 758939"/>
              <a:gd name="T38" fmla="*/ 109780 w 268224"/>
              <a:gd name="T39" fmla="*/ 682545 h 758939"/>
              <a:gd name="T40" fmla="*/ 88434 w 268224"/>
              <a:gd name="T41" fmla="*/ 694735 h 758939"/>
              <a:gd name="T42" fmla="*/ 70138 w 268224"/>
              <a:gd name="T43" fmla="*/ 706923 h 758939"/>
              <a:gd name="T44" fmla="*/ 48792 w 268224"/>
              <a:gd name="T45" fmla="*/ 713017 h 758939"/>
              <a:gd name="T46" fmla="*/ 24396 w 268224"/>
              <a:gd name="T47" fmla="*/ 719099 h 758939"/>
              <a:gd name="T48" fmla="*/ 0 w 268224"/>
              <a:gd name="T49" fmla="*/ 719099 h 758939"/>
              <a:gd name="T50" fmla="*/ 3050 w 268224"/>
              <a:gd name="T51" fmla="*/ 758711 h 758939"/>
              <a:gd name="T52" fmla="*/ 54890 w 268224"/>
              <a:gd name="T53" fmla="*/ 749569 h 758939"/>
              <a:gd name="T54" fmla="*/ 106730 w 268224"/>
              <a:gd name="T55" fmla="*/ 728241 h 758939"/>
              <a:gd name="T56" fmla="*/ 152472 w 268224"/>
              <a:gd name="T57" fmla="*/ 694735 h 758939"/>
              <a:gd name="T58" fmla="*/ 192116 w 268224"/>
              <a:gd name="T59" fmla="*/ 652075 h 758939"/>
              <a:gd name="T60" fmla="*/ 222610 w 268224"/>
              <a:gd name="T61" fmla="*/ 597227 h 758939"/>
              <a:gd name="T62" fmla="*/ 247006 w 268224"/>
              <a:gd name="T63" fmla="*/ 539333 h 758939"/>
              <a:gd name="T64" fmla="*/ 262254 w 268224"/>
              <a:gd name="T65" fmla="*/ 472297 h 758939"/>
              <a:gd name="T66" fmla="*/ 265289 w 268224"/>
              <a:gd name="T67" fmla="*/ 435733 h 758939"/>
              <a:gd name="T68" fmla="*/ 268352 w 268224"/>
              <a:gd name="T69" fmla="*/ 402215 h 758939"/>
              <a:gd name="T70" fmla="*/ 268352 w 268224"/>
              <a:gd name="T71" fmla="*/ 356495 h 758939"/>
              <a:gd name="T72" fmla="*/ 265289 w 268224"/>
              <a:gd name="T73" fmla="*/ 322989 h 758939"/>
              <a:gd name="T74" fmla="*/ 262254 w 268224"/>
              <a:gd name="T75" fmla="*/ 286425 h 758939"/>
              <a:gd name="T76" fmla="*/ 256154 w 268224"/>
              <a:gd name="T77" fmla="*/ 252907 h 758939"/>
              <a:gd name="T78" fmla="*/ 247006 w 268224"/>
              <a:gd name="T79" fmla="*/ 222425 h 758939"/>
              <a:gd name="T80" fmla="*/ 237858 w 268224"/>
              <a:gd name="T81" fmla="*/ 188919 h 758939"/>
              <a:gd name="T82" fmla="*/ 222610 w 268224"/>
              <a:gd name="T83" fmla="*/ 161495 h 758939"/>
              <a:gd name="T84" fmla="*/ 210411 w 268224"/>
              <a:gd name="T85" fmla="*/ 134071 h 758939"/>
              <a:gd name="T86" fmla="*/ 192116 w 268224"/>
              <a:gd name="T87" fmla="*/ 106635 h 758939"/>
              <a:gd name="T88" fmla="*/ 152472 w 268224"/>
              <a:gd name="T89" fmla="*/ 63987 h 758939"/>
              <a:gd name="T90" fmla="*/ 109780 w 268224"/>
              <a:gd name="T91" fmla="*/ 30457 h 758939"/>
              <a:gd name="T92" fmla="*/ 57940 w 268224"/>
              <a:gd name="T93" fmla="*/ 9141 h 758939"/>
              <a:gd name="T94" fmla="*/ 30494 w 268224"/>
              <a:gd name="T95" fmla="*/ 3047 h 758939"/>
              <a:gd name="T96" fmla="*/ 3050 w 268224"/>
              <a:gd name="T97" fmla="*/ 0 h 75893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68224" h="758939">
                <a:moveTo>
                  <a:pt x="3048" y="0"/>
                </a:moveTo>
                <a:lnTo>
                  <a:pt x="0" y="36575"/>
                </a:lnTo>
                <a:lnTo>
                  <a:pt x="24384" y="39623"/>
                </a:lnTo>
                <a:lnTo>
                  <a:pt x="45720" y="42671"/>
                </a:lnTo>
                <a:lnTo>
                  <a:pt x="88392" y="60959"/>
                </a:lnTo>
                <a:lnTo>
                  <a:pt x="106680" y="73151"/>
                </a:lnTo>
                <a:lnTo>
                  <a:pt x="124968" y="91439"/>
                </a:lnTo>
                <a:lnTo>
                  <a:pt x="143256" y="106667"/>
                </a:lnTo>
                <a:lnTo>
                  <a:pt x="176784" y="152399"/>
                </a:lnTo>
                <a:lnTo>
                  <a:pt x="201168" y="204203"/>
                </a:lnTo>
                <a:lnTo>
                  <a:pt x="219456" y="262115"/>
                </a:lnTo>
                <a:lnTo>
                  <a:pt x="228600" y="323087"/>
                </a:lnTo>
                <a:lnTo>
                  <a:pt x="228600" y="432803"/>
                </a:lnTo>
                <a:lnTo>
                  <a:pt x="219456" y="496823"/>
                </a:lnTo>
                <a:lnTo>
                  <a:pt x="201168" y="554735"/>
                </a:lnTo>
                <a:lnTo>
                  <a:pt x="188963" y="579119"/>
                </a:lnTo>
                <a:lnTo>
                  <a:pt x="176784" y="606551"/>
                </a:lnTo>
                <a:lnTo>
                  <a:pt x="146304" y="649223"/>
                </a:lnTo>
                <a:lnTo>
                  <a:pt x="128016" y="667511"/>
                </a:lnTo>
                <a:lnTo>
                  <a:pt x="109728" y="682751"/>
                </a:lnTo>
                <a:lnTo>
                  <a:pt x="88392" y="694943"/>
                </a:lnTo>
                <a:lnTo>
                  <a:pt x="70104" y="707135"/>
                </a:lnTo>
                <a:lnTo>
                  <a:pt x="48768" y="713231"/>
                </a:lnTo>
                <a:lnTo>
                  <a:pt x="24384" y="719315"/>
                </a:lnTo>
                <a:lnTo>
                  <a:pt x="0" y="719315"/>
                </a:lnTo>
                <a:lnTo>
                  <a:pt x="3048" y="758939"/>
                </a:lnTo>
                <a:lnTo>
                  <a:pt x="54864" y="749795"/>
                </a:lnTo>
                <a:lnTo>
                  <a:pt x="106680" y="728459"/>
                </a:lnTo>
                <a:lnTo>
                  <a:pt x="152400" y="694943"/>
                </a:lnTo>
                <a:lnTo>
                  <a:pt x="192024" y="652271"/>
                </a:lnTo>
                <a:lnTo>
                  <a:pt x="222504" y="597407"/>
                </a:lnTo>
                <a:lnTo>
                  <a:pt x="246888" y="539495"/>
                </a:lnTo>
                <a:lnTo>
                  <a:pt x="262128" y="472439"/>
                </a:lnTo>
                <a:lnTo>
                  <a:pt x="265163" y="435863"/>
                </a:lnTo>
                <a:lnTo>
                  <a:pt x="268224" y="402335"/>
                </a:lnTo>
                <a:lnTo>
                  <a:pt x="268224" y="356603"/>
                </a:lnTo>
                <a:lnTo>
                  <a:pt x="265163" y="323087"/>
                </a:lnTo>
                <a:lnTo>
                  <a:pt x="262128" y="286511"/>
                </a:lnTo>
                <a:lnTo>
                  <a:pt x="256032" y="252983"/>
                </a:lnTo>
                <a:lnTo>
                  <a:pt x="246888" y="222491"/>
                </a:lnTo>
                <a:lnTo>
                  <a:pt x="237744" y="188975"/>
                </a:lnTo>
                <a:lnTo>
                  <a:pt x="222504" y="161543"/>
                </a:lnTo>
                <a:lnTo>
                  <a:pt x="210311" y="134111"/>
                </a:lnTo>
                <a:lnTo>
                  <a:pt x="192024" y="106667"/>
                </a:lnTo>
                <a:lnTo>
                  <a:pt x="152400" y="64007"/>
                </a:lnTo>
                <a:lnTo>
                  <a:pt x="109728" y="30467"/>
                </a:lnTo>
                <a:lnTo>
                  <a:pt x="57912" y="9143"/>
                </a:lnTo>
                <a:lnTo>
                  <a:pt x="30480" y="3047"/>
                </a:lnTo>
                <a:lnTo>
                  <a:pt x="3048" y="0"/>
                </a:lnTo>
                <a:close/>
              </a:path>
            </a:pathLst>
          </a:custGeom>
          <a:solidFill>
            <a:srgbClr val="0099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3" name="object 42">
            <a:extLst>
              <a:ext uri="{FF2B5EF4-FFF2-40B4-BE49-F238E27FC236}">
                <a16:creationId xmlns:a16="http://schemas.microsoft.com/office/drawing/2014/main" id="{1AA0EBA8-562E-4953-BE39-3F47BDC5B0C3}"/>
              </a:ext>
            </a:extLst>
          </p:cNvPr>
          <p:cNvSpPr>
            <a:spLocks/>
          </p:cNvSpPr>
          <p:nvPr/>
        </p:nvSpPr>
        <p:spPr bwMode="auto">
          <a:xfrm>
            <a:off x="4961456" y="2692690"/>
            <a:ext cx="144462" cy="276225"/>
          </a:xfrm>
          <a:custGeom>
            <a:avLst/>
            <a:gdLst>
              <a:gd name="T0" fmla="*/ 0 w 143243"/>
              <a:gd name="T1" fmla="*/ 275088 h 277367"/>
              <a:gd name="T2" fmla="*/ 145691 w 143243"/>
              <a:gd name="T3" fmla="*/ 275088 h 277367"/>
              <a:gd name="T4" fmla="*/ 145691 w 143243"/>
              <a:gd name="T5" fmla="*/ 0 h 277367"/>
              <a:gd name="T6" fmla="*/ 0 w 143243"/>
              <a:gd name="T7" fmla="*/ 0 h 277367"/>
              <a:gd name="T8" fmla="*/ 0 w 143243"/>
              <a:gd name="T9" fmla="*/ 275088 h 27736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3243" h="277367">
                <a:moveTo>
                  <a:pt x="0" y="277367"/>
                </a:moveTo>
                <a:lnTo>
                  <a:pt x="143243" y="277367"/>
                </a:lnTo>
                <a:lnTo>
                  <a:pt x="143243" y="0"/>
                </a:lnTo>
                <a:lnTo>
                  <a:pt x="0" y="0"/>
                </a:lnTo>
                <a:lnTo>
                  <a:pt x="0" y="277367"/>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4" name="object 43">
            <a:extLst>
              <a:ext uri="{FF2B5EF4-FFF2-40B4-BE49-F238E27FC236}">
                <a16:creationId xmlns:a16="http://schemas.microsoft.com/office/drawing/2014/main" id="{C1FD8414-7E35-4E8A-A213-CF57168DD180}"/>
              </a:ext>
            </a:extLst>
          </p:cNvPr>
          <p:cNvSpPr>
            <a:spLocks/>
          </p:cNvSpPr>
          <p:nvPr/>
        </p:nvSpPr>
        <p:spPr bwMode="auto">
          <a:xfrm>
            <a:off x="4956693" y="2689515"/>
            <a:ext cx="153988" cy="285750"/>
          </a:xfrm>
          <a:custGeom>
            <a:avLst/>
            <a:gdLst>
              <a:gd name="T0" fmla="*/ 152542 w 155448"/>
              <a:gd name="T1" fmla="*/ 0 h 286512"/>
              <a:gd name="T2" fmla="*/ 0 w 155448"/>
              <a:gd name="T3" fmla="*/ 0 h 286512"/>
              <a:gd name="T4" fmla="*/ 0 w 155448"/>
              <a:gd name="T5" fmla="*/ 284990 h 286512"/>
              <a:gd name="T6" fmla="*/ 152542 w 155448"/>
              <a:gd name="T7" fmla="*/ 284990 h 286512"/>
              <a:gd name="T8" fmla="*/ 152542 w 155448"/>
              <a:gd name="T9" fmla="*/ 278926 h 286512"/>
              <a:gd name="T10" fmla="*/ 11952 w 155448"/>
              <a:gd name="T11" fmla="*/ 278926 h 286512"/>
              <a:gd name="T12" fmla="*/ 5982 w 155448"/>
              <a:gd name="T13" fmla="*/ 275894 h 286512"/>
              <a:gd name="T14" fmla="*/ 11952 w 155448"/>
              <a:gd name="T15" fmla="*/ 275894 h 286512"/>
              <a:gd name="T16" fmla="*/ 11952 w 155448"/>
              <a:gd name="T17" fmla="*/ 9096 h 286512"/>
              <a:gd name="T18" fmla="*/ 5982 w 155448"/>
              <a:gd name="T19" fmla="*/ 9096 h 286512"/>
              <a:gd name="T20" fmla="*/ 11952 w 155448"/>
              <a:gd name="T21" fmla="*/ 3032 h 286512"/>
              <a:gd name="T22" fmla="*/ 152542 w 155448"/>
              <a:gd name="T23" fmla="*/ 3031 h 286512"/>
              <a:gd name="T24" fmla="*/ 152542 w 155448"/>
              <a:gd name="T25" fmla="*/ 0 h 286512"/>
              <a:gd name="T26" fmla="*/ 11952 w 155448"/>
              <a:gd name="T27" fmla="*/ 275894 h 286512"/>
              <a:gd name="T28" fmla="*/ 5982 w 155448"/>
              <a:gd name="T29" fmla="*/ 275894 h 286512"/>
              <a:gd name="T30" fmla="*/ 11952 w 155448"/>
              <a:gd name="T31" fmla="*/ 278926 h 286512"/>
              <a:gd name="T32" fmla="*/ 11952 w 155448"/>
              <a:gd name="T33" fmla="*/ 275894 h 286512"/>
              <a:gd name="T34" fmla="*/ 143556 w 155448"/>
              <a:gd name="T35" fmla="*/ 275894 h 286512"/>
              <a:gd name="T36" fmla="*/ 11952 w 155448"/>
              <a:gd name="T37" fmla="*/ 275894 h 286512"/>
              <a:gd name="T38" fmla="*/ 11952 w 155448"/>
              <a:gd name="T39" fmla="*/ 278926 h 286512"/>
              <a:gd name="T40" fmla="*/ 143556 w 155448"/>
              <a:gd name="T41" fmla="*/ 278926 h 286512"/>
              <a:gd name="T42" fmla="*/ 143556 w 155448"/>
              <a:gd name="T43" fmla="*/ 275894 h 286512"/>
              <a:gd name="T44" fmla="*/ 143556 w 155448"/>
              <a:gd name="T45" fmla="*/ 3032 h 286512"/>
              <a:gd name="T46" fmla="*/ 143556 w 155448"/>
              <a:gd name="T47" fmla="*/ 278926 h 286512"/>
              <a:gd name="T48" fmla="*/ 146547 w 155448"/>
              <a:gd name="T49" fmla="*/ 275894 h 286512"/>
              <a:gd name="T50" fmla="*/ 152542 w 155448"/>
              <a:gd name="T51" fmla="*/ 275894 h 286512"/>
              <a:gd name="T52" fmla="*/ 152542 w 155448"/>
              <a:gd name="T53" fmla="*/ 9096 h 286512"/>
              <a:gd name="T54" fmla="*/ 146547 w 155448"/>
              <a:gd name="T55" fmla="*/ 9096 h 286512"/>
              <a:gd name="T56" fmla="*/ 143556 w 155448"/>
              <a:gd name="T57" fmla="*/ 3032 h 286512"/>
              <a:gd name="T58" fmla="*/ 152542 w 155448"/>
              <a:gd name="T59" fmla="*/ 275894 h 286512"/>
              <a:gd name="T60" fmla="*/ 146547 w 155448"/>
              <a:gd name="T61" fmla="*/ 275894 h 286512"/>
              <a:gd name="T62" fmla="*/ 143556 w 155448"/>
              <a:gd name="T63" fmla="*/ 278926 h 286512"/>
              <a:gd name="T64" fmla="*/ 152542 w 155448"/>
              <a:gd name="T65" fmla="*/ 278926 h 286512"/>
              <a:gd name="T66" fmla="*/ 152542 w 155448"/>
              <a:gd name="T67" fmla="*/ 275894 h 286512"/>
              <a:gd name="T68" fmla="*/ 11952 w 155448"/>
              <a:gd name="T69" fmla="*/ 3032 h 286512"/>
              <a:gd name="T70" fmla="*/ 5982 w 155448"/>
              <a:gd name="T71" fmla="*/ 9096 h 286512"/>
              <a:gd name="T72" fmla="*/ 11952 w 155448"/>
              <a:gd name="T73" fmla="*/ 9096 h 286512"/>
              <a:gd name="T74" fmla="*/ 11952 w 155448"/>
              <a:gd name="T75" fmla="*/ 3032 h 286512"/>
              <a:gd name="T76" fmla="*/ 143556 w 155448"/>
              <a:gd name="T77" fmla="*/ 3032 h 286512"/>
              <a:gd name="T78" fmla="*/ 11952 w 155448"/>
              <a:gd name="T79" fmla="*/ 3032 h 286512"/>
              <a:gd name="T80" fmla="*/ 11952 w 155448"/>
              <a:gd name="T81" fmla="*/ 9096 h 286512"/>
              <a:gd name="T82" fmla="*/ 143556 w 155448"/>
              <a:gd name="T83" fmla="*/ 9096 h 286512"/>
              <a:gd name="T84" fmla="*/ 143556 w 155448"/>
              <a:gd name="T85" fmla="*/ 3032 h 286512"/>
              <a:gd name="T86" fmla="*/ 152542 w 155448"/>
              <a:gd name="T87" fmla="*/ 3031 h 286512"/>
              <a:gd name="T88" fmla="*/ 143556 w 155448"/>
              <a:gd name="T89" fmla="*/ 3032 h 286512"/>
              <a:gd name="T90" fmla="*/ 146547 w 155448"/>
              <a:gd name="T91" fmla="*/ 9096 h 286512"/>
              <a:gd name="T92" fmla="*/ 152542 w 155448"/>
              <a:gd name="T93" fmla="*/ 9096 h 286512"/>
              <a:gd name="T94" fmla="*/ 152542 w 155448"/>
              <a:gd name="T95" fmla="*/ 3031 h 2865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55448" h="286512">
                <a:moveTo>
                  <a:pt x="155448" y="0"/>
                </a:moveTo>
                <a:lnTo>
                  <a:pt x="0" y="0"/>
                </a:lnTo>
                <a:lnTo>
                  <a:pt x="0" y="286512"/>
                </a:lnTo>
                <a:lnTo>
                  <a:pt x="155448" y="286512"/>
                </a:lnTo>
                <a:lnTo>
                  <a:pt x="155448" y="280416"/>
                </a:lnTo>
                <a:lnTo>
                  <a:pt x="12179" y="280416"/>
                </a:lnTo>
                <a:lnTo>
                  <a:pt x="6096" y="277368"/>
                </a:lnTo>
                <a:lnTo>
                  <a:pt x="12179" y="277368"/>
                </a:lnTo>
                <a:lnTo>
                  <a:pt x="12179" y="9144"/>
                </a:lnTo>
                <a:lnTo>
                  <a:pt x="6096" y="9144"/>
                </a:lnTo>
                <a:lnTo>
                  <a:pt x="12179" y="3048"/>
                </a:lnTo>
                <a:lnTo>
                  <a:pt x="155448" y="3047"/>
                </a:lnTo>
                <a:lnTo>
                  <a:pt x="155448" y="0"/>
                </a:lnTo>
                <a:close/>
              </a:path>
              <a:path w="155448" h="286512">
                <a:moveTo>
                  <a:pt x="12179" y="277368"/>
                </a:moveTo>
                <a:lnTo>
                  <a:pt x="6096" y="277368"/>
                </a:lnTo>
                <a:lnTo>
                  <a:pt x="12179" y="280416"/>
                </a:lnTo>
                <a:lnTo>
                  <a:pt x="12179" y="277368"/>
                </a:lnTo>
                <a:close/>
              </a:path>
              <a:path w="155448" h="286512">
                <a:moveTo>
                  <a:pt x="146291" y="277368"/>
                </a:moveTo>
                <a:lnTo>
                  <a:pt x="12179" y="277368"/>
                </a:lnTo>
                <a:lnTo>
                  <a:pt x="12179" y="280416"/>
                </a:lnTo>
                <a:lnTo>
                  <a:pt x="146291" y="280416"/>
                </a:lnTo>
                <a:lnTo>
                  <a:pt x="146291" y="277368"/>
                </a:lnTo>
                <a:close/>
              </a:path>
              <a:path w="155448" h="286512">
                <a:moveTo>
                  <a:pt x="146291" y="3048"/>
                </a:moveTo>
                <a:lnTo>
                  <a:pt x="146291" y="280416"/>
                </a:lnTo>
                <a:lnTo>
                  <a:pt x="149339" y="277368"/>
                </a:lnTo>
                <a:lnTo>
                  <a:pt x="155448" y="277368"/>
                </a:lnTo>
                <a:lnTo>
                  <a:pt x="155448" y="9144"/>
                </a:lnTo>
                <a:lnTo>
                  <a:pt x="149339" y="9144"/>
                </a:lnTo>
                <a:lnTo>
                  <a:pt x="146291" y="3048"/>
                </a:lnTo>
                <a:close/>
              </a:path>
              <a:path w="155448" h="286512">
                <a:moveTo>
                  <a:pt x="155448" y="277368"/>
                </a:moveTo>
                <a:lnTo>
                  <a:pt x="149339" y="277368"/>
                </a:lnTo>
                <a:lnTo>
                  <a:pt x="146291" y="280416"/>
                </a:lnTo>
                <a:lnTo>
                  <a:pt x="155448" y="280416"/>
                </a:lnTo>
                <a:lnTo>
                  <a:pt x="155448" y="277368"/>
                </a:lnTo>
                <a:close/>
              </a:path>
              <a:path w="155448" h="286512">
                <a:moveTo>
                  <a:pt x="12179" y="3048"/>
                </a:moveTo>
                <a:lnTo>
                  <a:pt x="6096" y="9144"/>
                </a:lnTo>
                <a:lnTo>
                  <a:pt x="12179" y="9144"/>
                </a:lnTo>
                <a:lnTo>
                  <a:pt x="12179" y="3048"/>
                </a:lnTo>
                <a:close/>
              </a:path>
              <a:path w="155448" h="286512">
                <a:moveTo>
                  <a:pt x="146291" y="3048"/>
                </a:moveTo>
                <a:lnTo>
                  <a:pt x="12179" y="3048"/>
                </a:lnTo>
                <a:lnTo>
                  <a:pt x="12179" y="9144"/>
                </a:lnTo>
                <a:lnTo>
                  <a:pt x="146291" y="9144"/>
                </a:lnTo>
                <a:lnTo>
                  <a:pt x="146291" y="3048"/>
                </a:lnTo>
                <a:close/>
              </a:path>
              <a:path w="155448" h="286512">
                <a:moveTo>
                  <a:pt x="155448" y="3047"/>
                </a:moveTo>
                <a:lnTo>
                  <a:pt x="146291" y="3048"/>
                </a:lnTo>
                <a:lnTo>
                  <a:pt x="149339" y="9144"/>
                </a:lnTo>
                <a:lnTo>
                  <a:pt x="155448" y="9144"/>
                </a:lnTo>
                <a:lnTo>
                  <a:pt x="155448" y="3047"/>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5" name="object 44">
            <a:extLst>
              <a:ext uri="{FF2B5EF4-FFF2-40B4-BE49-F238E27FC236}">
                <a16:creationId xmlns:a16="http://schemas.microsoft.com/office/drawing/2014/main" id="{806DE309-F8D3-4EFA-8C6C-8389D1F7BDDC}"/>
              </a:ext>
            </a:extLst>
          </p:cNvPr>
          <p:cNvSpPr>
            <a:spLocks/>
          </p:cNvSpPr>
          <p:nvPr/>
        </p:nvSpPr>
        <p:spPr bwMode="auto">
          <a:xfrm>
            <a:off x="5091631" y="2692690"/>
            <a:ext cx="0" cy="276225"/>
          </a:xfrm>
          <a:custGeom>
            <a:avLst/>
            <a:gdLst>
              <a:gd name="T0" fmla="*/ 0 h 277367"/>
              <a:gd name="T1" fmla="*/ 275088 h 277367"/>
              <a:gd name="T2" fmla="*/ 0 60000 65536"/>
              <a:gd name="T3" fmla="*/ 0 60000 65536"/>
            </a:gdLst>
            <a:ahLst/>
            <a:cxnLst>
              <a:cxn ang="T2">
                <a:pos x="0" y="T0"/>
              </a:cxn>
              <a:cxn ang="T3">
                <a:pos x="0" y="T1"/>
              </a:cxn>
            </a:cxnLst>
            <a:rect l="0" t="0" r="r" b="b"/>
            <a:pathLst>
              <a:path h="277367">
                <a:moveTo>
                  <a:pt x="0" y="0"/>
                </a:moveTo>
                <a:lnTo>
                  <a:pt x="0" y="277367"/>
                </a:lnTo>
              </a:path>
            </a:pathLst>
          </a:custGeom>
          <a:noFill/>
          <a:ln w="28689">
            <a:solidFill>
              <a:srgbClr val="6783A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36" name="object 45">
            <a:extLst>
              <a:ext uri="{FF2B5EF4-FFF2-40B4-BE49-F238E27FC236}">
                <a16:creationId xmlns:a16="http://schemas.microsoft.com/office/drawing/2014/main" id="{B336183B-43CC-4D70-9B1C-7BDA28966B5B}"/>
              </a:ext>
            </a:extLst>
          </p:cNvPr>
          <p:cNvSpPr>
            <a:spLocks/>
          </p:cNvSpPr>
          <p:nvPr/>
        </p:nvSpPr>
        <p:spPr bwMode="auto">
          <a:xfrm>
            <a:off x="5072581" y="2689515"/>
            <a:ext cx="38100" cy="285750"/>
          </a:xfrm>
          <a:custGeom>
            <a:avLst/>
            <a:gdLst>
              <a:gd name="T0" fmla="*/ 36635 w 39624"/>
              <a:gd name="T1" fmla="*/ 0 h 286512"/>
              <a:gd name="T2" fmla="*/ 0 w 39624"/>
              <a:gd name="T3" fmla="*/ 0 h 286512"/>
              <a:gd name="T4" fmla="*/ 0 w 39624"/>
              <a:gd name="T5" fmla="*/ 284990 h 286512"/>
              <a:gd name="T6" fmla="*/ 36635 w 39624"/>
              <a:gd name="T7" fmla="*/ 284990 h 286512"/>
              <a:gd name="T8" fmla="*/ 36635 w 39624"/>
              <a:gd name="T9" fmla="*/ 278925 h 286512"/>
              <a:gd name="T10" fmla="*/ 11261 w 39624"/>
              <a:gd name="T11" fmla="*/ 278926 h 286512"/>
              <a:gd name="T12" fmla="*/ 5637 w 39624"/>
              <a:gd name="T13" fmla="*/ 275894 h 286512"/>
              <a:gd name="T14" fmla="*/ 11261 w 39624"/>
              <a:gd name="T15" fmla="*/ 275894 h 286512"/>
              <a:gd name="T16" fmla="*/ 11261 w 39624"/>
              <a:gd name="T17" fmla="*/ 9096 h 286512"/>
              <a:gd name="T18" fmla="*/ 5637 w 39624"/>
              <a:gd name="T19" fmla="*/ 9096 h 286512"/>
              <a:gd name="T20" fmla="*/ 11261 w 39624"/>
              <a:gd name="T21" fmla="*/ 3032 h 286512"/>
              <a:gd name="T22" fmla="*/ 36635 w 39624"/>
              <a:gd name="T23" fmla="*/ 3032 h 286512"/>
              <a:gd name="T24" fmla="*/ 36635 w 39624"/>
              <a:gd name="T25" fmla="*/ 0 h 286512"/>
              <a:gd name="T26" fmla="*/ 11261 w 39624"/>
              <a:gd name="T27" fmla="*/ 275894 h 286512"/>
              <a:gd name="T28" fmla="*/ 5637 w 39624"/>
              <a:gd name="T29" fmla="*/ 275894 h 286512"/>
              <a:gd name="T30" fmla="*/ 11261 w 39624"/>
              <a:gd name="T31" fmla="*/ 278926 h 286512"/>
              <a:gd name="T32" fmla="*/ 11261 w 39624"/>
              <a:gd name="T33" fmla="*/ 275894 h 286512"/>
              <a:gd name="T34" fmla="*/ 28168 w 39624"/>
              <a:gd name="T35" fmla="*/ 275894 h 286512"/>
              <a:gd name="T36" fmla="*/ 11261 w 39624"/>
              <a:gd name="T37" fmla="*/ 275894 h 286512"/>
              <a:gd name="T38" fmla="*/ 11261 w 39624"/>
              <a:gd name="T39" fmla="*/ 278926 h 286512"/>
              <a:gd name="T40" fmla="*/ 28168 w 39624"/>
              <a:gd name="T41" fmla="*/ 278926 h 286512"/>
              <a:gd name="T42" fmla="*/ 28168 w 39624"/>
              <a:gd name="T43" fmla="*/ 275894 h 286512"/>
              <a:gd name="T44" fmla="*/ 28168 w 39624"/>
              <a:gd name="T45" fmla="*/ 3032 h 286512"/>
              <a:gd name="T46" fmla="*/ 28168 w 39624"/>
              <a:gd name="T47" fmla="*/ 278926 h 286512"/>
              <a:gd name="T48" fmla="*/ 30987 w 39624"/>
              <a:gd name="T49" fmla="*/ 275894 h 286512"/>
              <a:gd name="T50" fmla="*/ 36635 w 39624"/>
              <a:gd name="T51" fmla="*/ 275894 h 286512"/>
              <a:gd name="T52" fmla="*/ 36635 w 39624"/>
              <a:gd name="T53" fmla="*/ 9096 h 286512"/>
              <a:gd name="T54" fmla="*/ 30987 w 39624"/>
              <a:gd name="T55" fmla="*/ 9096 h 286512"/>
              <a:gd name="T56" fmla="*/ 28168 w 39624"/>
              <a:gd name="T57" fmla="*/ 3032 h 286512"/>
              <a:gd name="T58" fmla="*/ 36635 w 39624"/>
              <a:gd name="T59" fmla="*/ 275894 h 286512"/>
              <a:gd name="T60" fmla="*/ 30987 w 39624"/>
              <a:gd name="T61" fmla="*/ 275894 h 286512"/>
              <a:gd name="T62" fmla="*/ 28168 w 39624"/>
              <a:gd name="T63" fmla="*/ 278926 h 286512"/>
              <a:gd name="T64" fmla="*/ 36635 w 39624"/>
              <a:gd name="T65" fmla="*/ 278925 h 286512"/>
              <a:gd name="T66" fmla="*/ 36635 w 39624"/>
              <a:gd name="T67" fmla="*/ 275894 h 286512"/>
              <a:gd name="T68" fmla="*/ 11261 w 39624"/>
              <a:gd name="T69" fmla="*/ 3032 h 286512"/>
              <a:gd name="T70" fmla="*/ 5637 w 39624"/>
              <a:gd name="T71" fmla="*/ 9096 h 286512"/>
              <a:gd name="T72" fmla="*/ 11261 w 39624"/>
              <a:gd name="T73" fmla="*/ 9096 h 286512"/>
              <a:gd name="T74" fmla="*/ 11261 w 39624"/>
              <a:gd name="T75" fmla="*/ 3032 h 286512"/>
              <a:gd name="T76" fmla="*/ 28168 w 39624"/>
              <a:gd name="T77" fmla="*/ 3032 h 286512"/>
              <a:gd name="T78" fmla="*/ 11261 w 39624"/>
              <a:gd name="T79" fmla="*/ 3032 h 286512"/>
              <a:gd name="T80" fmla="*/ 11261 w 39624"/>
              <a:gd name="T81" fmla="*/ 9096 h 286512"/>
              <a:gd name="T82" fmla="*/ 28168 w 39624"/>
              <a:gd name="T83" fmla="*/ 9096 h 286512"/>
              <a:gd name="T84" fmla="*/ 28168 w 39624"/>
              <a:gd name="T85" fmla="*/ 3032 h 286512"/>
              <a:gd name="T86" fmla="*/ 36635 w 39624"/>
              <a:gd name="T87" fmla="*/ 3032 h 286512"/>
              <a:gd name="T88" fmla="*/ 28168 w 39624"/>
              <a:gd name="T89" fmla="*/ 3032 h 286512"/>
              <a:gd name="T90" fmla="*/ 30987 w 39624"/>
              <a:gd name="T91" fmla="*/ 9096 h 286512"/>
              <a:gd name="T92" fmla="*/ 36635 w 39624"/>
              <a:gd name="T93" fmla="*/ 9096 h 286512"/>
              <a:gd name="T94" fmla="*/ 36635 w 39624"/>
              <a:gd name="T95" fmla="*/ 3032 h 2865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9624" h="286512">
                <a:moveTo>
                  <a:pt x="39624" y="0"/>
                </a:moveTo>
                <a:lnTo>
                  <a:pt x="0" y="0"/>
                </a:lnTo>
                <a:lnTo>
                  <a:pt x="0" y="286512"/>
                </a:lnTo>
                <a:lnTo>
                  <a:pt x="39624" y="286512"/>
                </a:lnTo>
                <a:lnTo>
                  <a:pt x="39624" y="280415"/>
                </a:lnTo>
                <a:lnTo>
                  <a:pt x="12179" y="280416"/>
                </a:lnTo>
                <a:lnTo>
                  <a:pt x="6096" y="277368"/>
                </a:lnTo>
                <a:lnTo>
                  <a:pt x="12179" y="277368"/>
                </a:lnTo>
                <a:lnTo>
                  <a:pt x="12179" y="9144"/>
                </a:lnTo>
                <a:lnTo>
                  <a:pt x="6096" y="9144"/>
                </a:lnTo>
                <a:lnTo>
                  <a:pt x="12179" y="3048"/>
                </a:lnTo>
                <a:lnTo>
                  <a:pt x="39624" y="3048"/>
                </a:lnTo>
                <a:lnTo>
                  <a:pt x="39624" y="0"/>
                </a:lnTo>
                <a:close/>
              </a:path>
              <a:path w="39624" h="286512">
                <a:moveTo>
                  <a:pt x="12179" y="277368"/>
                </a:moveTo>
                <a:lnTo>
                  <a:pt x="6096" y="277368"/>
                </a:lnTo>
                <a:lnTo>
                  <a:pt x="12179" y="280416"/>
                </a:lnTo>
                <a:lnTo>
                  <a:pt x="12179" y="277368"/>
                </a:lnTo>
                <a:close/>
              </a:path>
              <a:path w="39624" h="286512">
                <a:moveTo>
                  <a:pt x="30467" y="277368"/>
                </a:moveTo>
                <a:lnTo>
                  <a:pt x="12179" y="277368"/>
                </a:lnTo>
                <a:lnTo>
                  <a:pt x="12179" y="280416"/>
                </a:lnTo>
                <a:lnTo>
                  <a:pt x="30467" y="280416"/>
                </a:lnTo>
                <a:lnTo>
                  <a:pt x="30467" y="277368"/>
                </a:lnTo>
                <a:close/>
              </a:path>
              <a:path w="39624" h="286512">
                <a:moveTo>
                  <a:pt x="30467" y="3048"/>
                </a:moveTo>
                <a:lnTo>
                  <a:pt x="30467" y="280416"/>
                </a:lnTo>
                <a:lnTo>
                  <a:pt x="33515" y="277368"/>
                </a:lnTo>
                <a:lnTo>
                  <a:pt x="39624" y="277368"/>
                </a:lnTo>
                <a:lnTo>
                  <a:pt x="39624" y="9144"/>
                </a:lnTo>
                <a:lnTo>
                  <a:pt x="33515" y="9144"/>
                </a:lnTo>
                <a:lnTo>
                  <a:pt x="30467" y="3048"/>
                </a:lnTo>
                <a:close/>
              </a:path>
              <a:path w="39624" h="286512">
                <a:moveTo>
                  <a:pt x="39624" y="277368"/>
                </a:moveTo>
                <a:lnTo>
                  <a:pt x="33515" y="277368"/>
                </a:lnTo>
                <a:lnTo>
                  <a:pt x="30467" y="280416"/>
                </a:lnTo>
                <a:lnTo>
                  <a:pt x="39624" y="280415"/>
                </a:lnTo>
                <a:lnTo>
                  <a:pt x="39624" y="277368"/>
                </a:lnTo>
                <a:close/>
              </a:path>
              <a:path w="39624" h="286512">
                <a:moveTo>
                  <a:pt x="12179" y="3048"/>
                </a:moveTo>
                <a:lnTo>
                  <a:pt x="6096" y="9144"/>
                </a:lnTo>
                <a:lnTo>
                  <a:pt x="12179" y="9144"/>
                </a:lnTo>
                <a:lnTo>
                  <a:pt x="12179" y="3048"/>
                </a:lnTo>
                <a:close/>
              </a:path>
              <a:path w="39624" h="286512">
                <a:moveTo>
                  <a:pt x="30467" y="3048"/>
                </a:moveTo>
                <a:lnTo>
                  <a:pt x="12179" y="3048"/>
                </a:lnTo>
                <a:lnTo>
                  <a:pt x="12179" y="9144"/>
                </a:lnTo>
                <a:lnTo>
                  <a:pt x="30467" y="9144"/>
                </a:lnTo>
                <a:lnTo>
                  <a:pt x="30467" y="3048"/>
                </a:lnTo>
                <a:close/>
              </a:path>
              <a:path w="39624" h="286512">
                <a:moveTo>
                  <a:pt x="39624" y="3048"/>
                </a:moveTo>
                <a:lnTo>
                  <a:pt x="30467" y="3048"/>
                </a:lnTo>
                <a:lnTo>
                  <a:pt x="33515" y="9144"/>
                </a:lnTo>
                <a:lnTo>
                  <a:pt x="39624" y="9144"/>
                </a:lnTo>
                <a:lnTo>
                  <a:pt x="39624" y="3048"/>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7" name="object 46">
            <a:extLst>
              <a:ext uri="{FF2B5EF4-FFF2-40B4-BE49-F238E27FC236}">
                <a16:creationId xmlns:a16="http://schemas.microsoft.com/office/drawing/2014/main" id="{2B60C9CE-4F86-4365-B04B-1E31181CB29B}"/>
              </a:ext>
            </a:extLst>
          </p:cNvPr>
          <p:cNvSpPr>
            <a:spLocks/>
          </p:cNvSpPr>
          <p:nvPr/>
        </p:nvSpPr>
        <p:spPr bwMode="auto">
          <a:xfrm>
            <a:off x="4967806" y="2700627"/>
            <a:ext cx="42862" cy="9525"/>
          </a:xfrm>
          <a:custGeom>
            <a:avLst/>
            <a:gdLst>
              <a:gd name="T0" fmla="*/ 0 w 42672"/>
              <a:gd name="T1" fmla="*/ 4967 h 9131"/>
              <a:gd name="T2" fmla="*/ 43053 w 42672"/>
              <a:gd name="T3" fmla="*/ 4967 h 9131"/>
              <a:gd name="T4" fmla="*/ 0 60000 65536"/>
              <a:gd name="T5" fmla="*/ 0 60000 65536"/>
            </a:gdLst>
            <a:ahLst/>
            <a:cxnLst>
              <a:cxn ang="T4">
                <a:pos x="T0" y="T1"/>
              </a:cxn>
              <a:cxn ang="T5">
                <a:pos x="T2" y="T3"/>
              </a:cxn>
            </a:cxnLst>
            <a:rect l="0" t="0" r="r" b="b"/>
            <a:pathLst>
              <a:path w="42672" h="9131">
                <a:moveTo>
                  <a:pt x="0" y="4565"/>
                </a:moveTo>
                <a:lnTo>
                  <a:pt x="42672" y="4565"/>
                </a:lnTo>
              </a:path>
            </a:pathLst>
          </a:custGeom>
          <a:noFill/>
          <a:ln w="10401">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38" name="object 47">
            <a:extLst>
              <a:ext uri="{FF2B5EF4-FFF2-40B4-BE49-F238E27FC236}">
                <a16:creationId xmlns:a16="http://schemas.microsoft.com/office/drawing/2014/main" id="{E1C25932-B847-4997-AFEC-7B7DFB1A60BC}"/>
              </a:ext>
            </a:extLst>
          </p:cNvPr>
          <p:cNvSpPr>
            <a:spLocks/>
          </p:cNvSpPr>
          <p:nvPr/>
        </p:nvSpPr>
        <p:spPr bwMode="auto">
          <a:xfrm>
            <a:off x="4993206" y="2905415"/>
            <a:ext cx="17462" cy="42862"/>
          </a:xfrm>
          <a:custGeom>
            <a:avLst/>
            <a:gdLst>
              <a:gd name="T0" fmla="*/ 0 w 18275"/>
              <a:gd name="T1" fmla="*/ 21526 h 42672"/>
              <a:gd name="T2" fmla="*/ 16685 w 18275"/>
              <a:gd name="T3" fmla="*/ 21526 h 42672"/>
              <a:gd name="T4" fmla="*/ 0 60000 65536"/>
              <a:gd name="T5" fmla="*/ 0 60000 65536"/>
            </a:gdLst>
            <a:ahLst/>
            <a:cxnLst>
              <a:cxn ang="T4">
                <a:pos x="T0" y="T1"/>
              </a:cxn>
              <a:cxn ang="T5">
                <a:pos x="T2" y="T3"/>
              </a:cxn>
            </a:cxnLst>
            <a:rect l="0" t="0" r="r" b="b"/>
            <a:pathLst>
              <a:path w="18275" h="42672">
                <a:moveTo>
                  <a:pt x="0" y="21336"/>
                </a:moveTo>
                <a:lnTo>
                  <a:pt x="18275" y="21336"/>
                </a:lnTo>
              </a:path>
            </a:pathLst>
          </a:custGeom>
          <a:noFill/>
          <a:ln w="43942">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39" name="object 48">
            <a:extLst>
              <a:ext uri="{FF2B5EF4-FFF2-40B4-BE49-F238E27FC236}">
                <a16:creationId xmlns:a16="http://schemas.microsoft.com/office/drawing/2014/main" id="{871B7EC4-CD34-4405-8C43-4E5EFA2C2D54}"/>
              </a:ext>
            </a:extLst>
          </p:cNvPr>
          <p:cNvSpPr>
            <a:spLocks/>
          </p:cNvSpPr>
          <p:nvPr/>
        </p:nvSpPr>
        <p:spPr bwMode="auto">
          <a:xfrm>
            <a:off x="4986856" y="2911765"/>
            <a:ext cx="6350" cy="9525"/>
          </a:xfrm>
          <a:custGeom>
            <a:avLst/>
            <a:gdLst>
              <a:gd name="T0" fmla="*/ 0 w 6083"/>
              <a:gd name="T1" fmla="*/ 4967 h 9131"/>
              <a:gd name="T2" fmla="*/ 6629 w 6083"/>
              <a:gd name="T3" fmla="*/ 4967 h 9131"/>
              <a:gd name="T4" fmla="*/ 0 60000 65536"/>
              <a:gd name="T5" fmla="*/ 0 60000 65536"/>
            </a:gdLst>
            <a:ahLst/>
            <a:cxnLst>
              <a:cxn ang="T4">
                <a:pos x="T0" y="T1"/>
              </a:cxn>
              <a:cxn ang="T5">
                <a:pos x="T2" y="T3"/>
              </a:cxn>
            </a:cxnLst>
            <a:rect l="0" t="0" r="r" b="b"/>
            <a:pathLst>
              <a:path w="6083" h="9131">
                <a:moveTo>
                  <a:pt x="0" y="4565"/>
                </a:moveTo>
                <a:lnTo>
                  <a:pt x="6083" y="4565"/>
                </a:lnTo>
              </a:path>
            </a:pathLst>
          </a:custGeom>
          <a:noFill/>
          <a:ln w="10401">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40" name="object 49">
            <a:extLst>
              <a:ext uri="{FF2B5EF4-FFF2-40B4-BE49-F238E27FC236}">
                <a16:creationId xmlns:a16="http://schemas.microsoft.com/office/drawing/2014/main" id="{384454BA-DD60-48BC-85F8-4F4DD668D40A}"/>
              </a:ext>
            </a:extLst>
          </p:cNvPr>
          <p:cNvSpPr>
            <a:spLocks/>
          </p:cNvSpPr>
          <p:nvPr/>
        </p:nvSpPr>
        <p:spPr bwMode="auto">
          <a:xfrm>
            <a:off x="4986856" y="2932402"/>
            <a:ext cx="6350" cy="9525"/>
          </a:xfrm>
          <a:custGeom>
            <a:avLst/>
            <a:gdLst>
              <a:gd name="T0" fmla="*/ 0 w 6083"/>
              <a:gd name="T1" fmla="*/ 4961 h 9144"/>
              <a:gd name="T2" fmla="*/ 6629 w 6083"/>
              <a:gd name="T3" fmla="*/ 4961 h 9144"/>
              <a:gd name="T4" fmla="*/ 0 60000 65536"/>
              <a:gd name="T5" fmla="*/ 0 60000 65536"/>
            </a:gdLst>
            <a:ahLst/>
            <a:cxnLst>
              <a:cxn ang="T4">
                <a:pos x="T0" y="T1"/>
              </a:cxn>
              <a:cxn ang="T5">
                <a:pos x="T2" y="T3"/>
              </a:cxn>
            </a:cxnLst>
            <a:rect l="0" t="0" r="r" b="b"/>
            <a:pathLst>
              <a:path w="6083" h="9144">
                <a:moveTo>
                  <a:pt x="0" y="4572"/>
                </a:moveTo>
                <a:lnTo>
                  <a:pt x="6083" y="4572"/>
                </a:lnTo>
              </a:path>
            </a:pathLst>
          </a:custGeom>
          <a:noFill/>
          <a:ln w="10414">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41" name="object 50">
            <a:extLst>
              <a:ext uri="{FF2B5EF4-FFF2-40B4-BE49-F238E27FC236}">
                <a16:creationId xmlns:a16="http://schemas.microsoft.com/office/drawing/2014/main" id="{0F8F46CA-33BE-4280-B6EA-0D6A8CE33EB6}"/>
              </a:ext>
            </a:extLst>
          </p:cNvPr>
          <p:cNvSpPr>
            <a:spLocks/>
          </p:cNvSpPr>
          <p:nvPr/>
        </p:nvSpPr>
        <p:spPr bwMode="auto">
          <a:xfrm>
            <a:off x="5047181" y="2924465"/>
            <a:ext cx="22225" cy="23812"/>
          </a:xfrm>
          <a:custGeom>
            <a:avLst/>
            <a:gdLst>
              <a:gd name="T0" fmla="*/ 0 w 21336"/>
              <a:gd name="T1" fmla="*/ 11627 h 24384"/>
              <a:gd name="T2" fmla="*/ 23151 w 21336"/>
              <a:gd name="T3" fmla="*/ 11627 h 24384"/>
              <a:gd name="T4" fmla="*/ 0 60000 65536"/>
              <a:gd name="T5" fmla="*/ 0 60000 65536"/>
            </a:gdLst>
            <a:ahLst/>
            <a:cxnLst>
              <a:cxn ang="T4">
                <a:pos x="T0" y="T1"/>
              </a:cxn>
              <a:cxn ang="T5">
                <a:pos x="T2" y="T3"/>
              </a:cxn>
            </a:cxnLst>
            <a:rect l="0" t="0" r="r" b="b"/>
            <a:pathLst>
              <a:path w="21336" h="24384">
                <a:moveTo>
                  <a:pt x="0" y="12192"/>
                </a:moveTo>
                <a:lnTo>
                  <a:pt x="21336" y="12192"/>
                </a:lnTo>
              </a:path>
            </a:pathLst>
          </a:custGeom>
          <a:noFill/>
          <a:ln w="25654">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42" name="object 51">
            <a:extLst>
              <a:ext uri="{FF2B5EF4-FFF2-40B4-BE49-F238E27FC236}">
                <a16:creationId xmlns:a16="http://schemas.microsoft.com/office/drawing/2014/main" id="{BDFC0A1A-F227-4DD8-8B90-7A1334979D02}"/>
              </a:ext>
            </a:extLst>
          </p:cNvPr>
          <p:cNvSpPr>
            <a:spLocks/>
          </p:cNvSpPr>
          <p:nvPr/>
        </p:nvSpPr>
        <p:spPr bwMode="auto">
          <a:xfrm>
            <a:off x="5040831" y="2932402"/>
            <a:ext cx="6350" cy="9525"/>
          </a:xfrm>
          <a:custGeom>
            <a:avLst/>
            <a:gdLst>
              <a:gd name="T0" fmla="*/ 0 w 6083"/>
              <a:gd name="T1" fmla="*/ 4961 h 9144"/>
              <a:gd name="T2" fmla="*/ 6629 w 6083"/>
              <a:gd name="T3" fmla="*/ 4961 h 9144"/>
              <a:gd name="T4" fmla="*/ 0 60000 65536"/>
              <a:gd name="T5" fmla="*/ 0 60000 65536"/>
            </a:gdLst>
            <a:ahLst/>
            <a:cxnLst>
              <a:cxn ang="T4">
                <a:pos x="T0" y="T1"/>
              </a:cxn>
              <a:cxn ang="T5">
                <a:pos x="T2" y="T3"/>
              </a:cxn>
            </a:cxnLst>
            <a:rect l="0" t="0" r="r" b="b"/>
            <a:pathLst>
              <a:path w="6083" h="9144">
                <a:moveTo>
                  <a:pt x="0" y="4572"/>
                </a:moveTo>
                <a:lnTo>
                  <a:pt x="6083" y="4572"/>
                </a:lnTo>
              </a:path>
            </a:pathLst>
          </a:custGeom>
          <a:noFill/>
          <a:ln w="10414">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43" name="object 52">
            <a:extLst>
              <a:ext uri="{FF2B5EF4-FFF2-40B4-BE49-F238E27FC236}">
                <a16:creationId xmlns:a16="http://schemas.microsoft.com/office/drawing/2014/main" id="{94545236-22EC-4D69-9E2F-7B7912690DE5}"/>
              </a:ext>
            </a:extLst>
          </p:cNvPr>
          <p:cNvSpPr>
            <a:spLocks/>
          </p:cNvSpPr>
          <p:nvPr/>
        </p:nvSpPr>
        <p:spPr bwMode="auto">
          <a:xfrm>
            <a:off x="4970981" y="2716502"/>
            <a:ext cx="42862" cy="42863"/>
          </a:xfrm>
          <a:custGeom>
            <a:avLst/>
            <a:gdLst>
              <a:gd name="T0" fmla="*/ 39977 w 42672"/>
              <a:gd name="T1" fmla="*/ 0 h 42659"/>
              <a:gd name="T2" fmla="*/ 3076 w 42672"/>
              <a:gd name="T3" fmla="*/ 0 h 42659"/>
              <a:gd name="T4" fmla="*/ 0 w 42672"/>
              <a:gd name="T5" fmla="*/ 6153 h 42659"/>
              <a:gd name="T6" fmla="*/ 0 w 42672"/>
              <a:gd name="T7" fmla="*/ 39990 h 42659"/>
              <a:gd name="T8" fmla="*/ 3076 w 42672"/>
              <a:gd name="T9" fmla="*/ 43068 h 42659"/>
              <a:gd name="T10" fmla="*/ 39977 w 42672"/>
              <a:gd name="T11" fmla="*/ 43068 h 42659"/>
              <a:gd name="T12" fmla="*/ 43053 w 42672"/>
              <a:gd name="T13" fmla="*/ 39990 h 42659"/>
              <a:gd name="T14" fmla="*/ 43053 w 42672"/>
              <a:gd name="T15" fmla="*/ 6153 h 42659"/>
              <a:gd name="T16" fmla="*/ 39977 w 42672"/>
              <a:gd name="T17" fmla="*/ 0 h 426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672" h="42659">
                <a:moveTo>
                  <a:pt x="39624" y="0"/>
                </a:moveTo>
                <a:lnTo>
                  <a:pt x="3048" y="0"/>
                </a:lnTo>
                <a:lnTo>
                  <a:pt x="0" y="6095"/>
                </a:lnTo>
                <a:lnTo>
                  <a:pt x="0" y="39611"/>
                </a:lnTo>
                <a:lnTo>
                  <a:pt x="3048" y="42659"/>
                </a:lnTo>
                <a:lnTo>
                  <a:pt x="39624" y="42659"/>
                </a:lnTo>
                <a:lnTo>
                  <a:pt x="42672" y="39611"/>
                </a:lnTo>
                <a:lnTo>
                  <a:pt x="42672" y="6095"/>
                </a:lnTo>
                <a:lnTo>
                  <a:pt x="39624"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44" name="object 53">
            <a:extLst>
              <a:ext uri="{FF2B5EF4-FFF2-40B4-BE49-F238E27FC236}">
                <a16:creationId xmlns:a16="http://schemas.microsoft.com/office/drawing/2014/main" id="{DFDEF39C-A7D6-49BF-BCCE-1F72D6DDBB4A}"/>
              </a:ext>
            </a:extLst>
          </p:cNvPr>
          <p:cNvSpPr>
            <a:spLocks/>
          </p:cNvSpPr>
          <p:nvPr/>
        </p:nvSpPr>
        <p:spPr bwMode="auto">
          <a:xfrm>
            <a:off x="4977331" y="2722852"/>
            <a:ext cx="30162" cy="30163"/>
          </a:xfrm>
          <a:custGeom>
            <a:avLst/>
            <a:gdLst>
              <a:gd name="T0" fmla="*/ 26885 w 30467"/>
              <a:gd name="T1" fmla="*/ 0 h 30467"/>
              <a:gd name="T2" fmla="*/ 0 w 30467"/>
              <a:gd name="T3" fmla="*/ 0 h 30467"/>
              <a:gd name="T4" fmla="*/ 0 w 30467"/>
              <a:gd name="T5" fmla="*/ 29862 h 30467"/>
              <a:gd name="T6" fmla="*/ 26885 w 30467"/>
              <a:gd name="T7" fmla="*/ 29862 h 30467"/>
              <a:gd name="T8" fmla="*/ 29860 w 30467"/>
              <a:gd name="T9" fmla="*/ 26874 h 30467"/>
              <a:gd name="T10" fmla="*/ 29860 w 30467"/>
              <a:gd name="T11" fmla="*/ 2975 h 30467"/>
              <a:gd name="T12" fmla="*/ 26885 w 30467"/>
              <a:gd name="T13" fmla="*/ 0 h 3046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467" h="30467">
                <a:moveTo>
                  <a:pt x="27432" y="0"/>
                </a:moveTo>
                <a:lnTo>
                  <a:pt x="0" y="0"/>
                </a:lnTo>
                <a:lnTo>
                  <a:pt x="0" y="30467"/>
                </a:lnTo>
                <a:lnTo>
                  <a:pt x="27432" y="30467"/>
                </a:lnTo>
                <a:lnTo>
                  <a:pt x="30467" y="27419"/>
                </a:lnTo>
                <a:lnTo>
                  <a:pt x="30467" y="3035"/>
                </a:lnTo>
                <a:lnTo>
                  <a:pt x="27432"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45" name="object 54">
            <a:extLst>
              <a:ext uri="{FF2B5EF4-FFF2-40B4-BE49-F238E27FC236}">
                <a16:creationId xmlns:a16="http://schemas.microsoft.com/office/drawing/2014/main" id="{ABD7CD4C-D289-4FC0-A2E5-1C3541F9BC98}"/>
              </a:ext>
            </a:extLst>
          </p:cNvPr>
          <p:cNvSpPr>
            <a:spLocks/>
          </p:cNvSpPr>
          <p:nvPr/>
        </p:nvSpPr>
        <p:spPr bwMode="auto">
          <a:xfrm>
            <a:off x="4974156" y="2719677"/>
            <a:ext cx="36512" cy="36513"/>
          </a:xfrm>
          <a:custGeom>
            <a:avLst/>
            <a:gdLst>
              <a:gd name="T0" fmla="*/ 33421 w 36563"/>
              <a:gd name="T1" fmla="*/ 33423 h 36563"/>
              <a:gd name="T2" fmla="*/ 3040 w 36563"/>
              <a:gd name="T3" fmla="*/ 33423 h 36563"/>
              <a:gd name="T4" fmla="*/ 3040 w 36563"/>
              <a:gd name="T5" fmla="*/ 36463 h 36563"/>
              <a:gd name="T6" fmla="*/ 33421 w 36563"/>
              <a:gd name="T7" fmla="*/ 36463 h 36563"/>
              <a:gd name="T8" fmla="*/ 33421 w 36563"/>
              <a:gd name="T9" fmla="*/ 33423 h 36563"/>
              <a:gd name="T10" fmla="*/ 36461 w 36563"/>
              <a:gd name="T11" fmla="*/ 3039 h 36563"/>
              <a:gd name="T12" fmla="*/ 0 w 36563"/>
              <a:gd name="T13" fmla="*/ 3039 h 36563"/>
              <a:gd name="T14" fmla="*/ 0 w 36563"/>
              <a:gd name="T15" fmla="*/ 33423 h 36563"/>
              <a:gd name="T16" fmla="*/ 36461 w 36563"/>
              <a:gd name="T17" fmla="*/ 33423 h 36563"/>
              <a:gd name="T18" fmla="*/ 36461 w 36563"/>
              <a:gd name="T19" fmla="*/ 30383 h 36563"/>
              <a:gd name="T20" fmla="*/ 6079 w 36563"/>
              <a:gd name="T21" fmla="*/ 30383 h 36563"/>
              <a:gd name="T22" fmla="*/ 6079 w 36563"/>
              <a:gd name="T23" fmla="*/ 6067 h 36563"/>
              <a:gd name="T24" fmla="*/ 36461 w 36563"/>
              <a:gd name="T25" fmla="*/ 6067 h 36563"/>
              <a:gd name="T26" fmla="*/ 36461 w 36563"/>
              <a:gd name="T27" fmla="*/ 3039 h 36563"/>
              <a:gd name="T28" fmla="*/ 36461 w 36563"/>
              <a:gd name="T29" fmla="*/ 6067 h 36563"/>
              <a:gd name="T30" fmla="*/ 30395 w 36563"/>
              <a:gd name="T31" fmla="*/ 6067 h 36563"/>
              <a:gd name="T32" fmla="*/ 30395 w 36563"/>
              <a:gd name="T33" fmla="*/ 30383 h 36563"/>
              <a:gd name="T34" fmla="*/ 36461 w 36563"/>
              <a:gd name="T35" fmla="*/ 30383 h 36563"/>
              <a:gd name="T36" fmla="*/ 36461 w 36563"/>
              <a:gd name="T37" fmla="*/ 6067 h 36563"/>
              <a:gd name="T38" fmla="*/ 9118 w 36563"/>
              <a:gd name="T39" fmla="*/ 6067 h 36563"/>
              <a:gd name="T40" fmla="*/ 6079 w 36563"/>
              <a:gd name="T41" fmla="*/ 6067 h 36563"/>
              <a:gd name="T42" fmla="*/ 6079 w 36563"/>
              <a:gd name="T43" fmla="*/ 9107 h 36563"/>
              <a:gd name="T44" fmla="*/ 9118 w 36563"/>
              <a:gd name="T45" fmla="*/ 6067 h 36563"/>
              <a:gd name="T46" fmla="*/ 30395 w 36563"/>
              <a:gd name="T47" fmla="*/ 6067 h 36563"/>
              <a:gd name="T48" fmla="*/ 27356 w 36563"/>
              <a:gd name="T49" fmla="*/ 6067 h 36563"/>
              <a:gd name="T50" fmla="*/ 30395 w 36563"/>
              <a:gd name="T51" fmla="*/ 9107 h 36563"/>
              <a:gd name="T52" fmla="*/ 30395 w 36563"/>
              <a:gd name="T53" fmla="*/ 6067 h 36563"/>
              <a:gd name="T54" fmla="*/ 30395 w 36563"/>
              <a:gd name="T55" fmla="*/ 0 h 36563"/>
              <a:gd name="T56" fmla="*/ 6079 w 36563"/>
              <a:gd name="T57" fmla="*/ 0 h 36563"/>
              <a:gd name="T58" fmla="*/ 3040 w 36563"/>
              <a:gd name="T59" fmla="*/ 3039 h 36563"/>
              <a:gd name="T60" fmla="*/ 33421 w 36563"/>
              <a:gd name="T61" fmla="*/ 3039 h 36563"/>
              <a:gd name="T62" fmla="*/ 30395 w 36563"/>
              <a:gd name="T63" fmla="*/ 0 h 365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6563" h="36563">
                <a:moveTo>
                  <a:pt x="33515" y="33515"/>
                </a:moveTo>
                <a:lnTo>
                  <a:pt x="3048" y="33515"/>
                </a:lnTo>
                <a:lnTo>
                  <a:pt x="3048" y="36563"/>
                </a:lnTo>
                <a:lnTo>
                  <a:pt x="33515" y="36563"/>
                </a:lnTo>
                <a:lnTo>
                  <a:pt x="33515" y="33515"/>
                </a:lnTo>
                <a:close/>
              </a:path>
              <a:path w="36563" h="36563">
                <a:moveTo>
                  <a:pt x="36563" y="3047"/>
                </a:moveTo>
                <a:lnTo>
                  <a:pt x="0" y="3047"/>
                </a:lnTo>
                <a:lnTo>
                  <a:pt x="0" y="33515"/>
                </a:lnTo>
                <a:lnTo>
                  <a:pt x="36563" y="33515"/>
                </a:lnTo>
                <a:lnTo>
                  <a:pt x="36563" y="30467"/>
                </a:lnTo>
                <a:lnTo>
                  <a:pt x="6096" y="30467"/>
                </a:lnTo>
                <a:lnTo>
                  <a:pt x="6096" y="6083"/>
                </a:lnTo>
                <a:lnTo>
                  <a:pt x="36563" y="6083"/>
                </a:lnTo>
                <a:lnTo>
                  <a:pt x="36563" y="3047"/>
                </a:lnTo>
                <a:close/>
              </a:path>
              <a:path w="36563" h="36563">
                <a:moveTo>
                  <a:pt x="36563" y="6083"/>
                </a:moveTo>
                <a:lnTo>
                  <a:pt x="30480" y="6083"/>
                </a:lnTo>
                <a:lnTo>
                  <a:pt x="30480" y="30467"/>
                </a:lnTo>
                <a:lnTo>
                  <a:pt x="36563" y="30467"/>
                </a:lnTo>
                <a:lnTo>
                  <a:pt x="36563" y="6083"/>
                </a:lnTo>
                <a:close/>
              </a:path>
              <a:path w="36563" h="36563">
                <a:moveTo>
                  <a:pt x="9144" y="6083"/>
                </a:moveTo>
                <a:lnTo>
                  <a:pt x="6096" y="6083"/>
                </a:lnTo>
                <a:lnTo>
                  <a:pt x="6096" y="9131"/>
                </a:lnTo>
                <a:lnTo>
                  <a:pt x="9144" y="6083"/>
                </a:lnTo>
                <a:close/>
              </a:path>
              <a:path w="36563" h="36563">
                <a:moveTo>
                  <a:pt x="30480" y="6083"/>
                </a:moveTo>
                <a:lnTo>
                  <a:pt x="27432" y="6083"/>
                </a:lnTo>
                <a:lnTo>
                  <a:pt x="30480" y="9131"/>
                </a:lnTo>
                <a:lnTo>
                  <a:pt x="30480" y="6083"/>
                </a:lnTo>
                <a:close/>
              </a:path>
              <a:path w="36563" h="36563">
                <a:moveTo>
                  <a:pt x="30480" y="0"/>
                </a:moveTo>
                <a:lnTo>
                  <a:pt x="6096" y="0"/>
                </a:lnTo>
                <a:lnTo>
                  <a:pt x="3048" y="3047"/>
                </a:lnTo>
                <a:lnTo>
                  <a:pt x="33515" y="3047"/>
                </a:lnTo>
                <a:lnTo>
                  <a:pt x="30480" y="0"/>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46" name="object 55">
            <a:extLst>
              <a:ext uri="{FF2B5EF4-FFF2-40B4-BE49-F238E27FC236}">
                <a16:creationId xmlns:a16="http://schemas.microsoft.com/office/drawing/2014/main" id="{159D0B1D-A830-40E5-B9C4-D69E5A13A1F3}"/>
              </a:ext>
            </a:extLst>
          </p:cNvPr>
          <p:cNvSpPr>
            <a:spLocks/>
          </p:cNvSpPr>
          <p:nvPr/>
        </p:nvSpPr>
        <p:spPr bwMode="auto">
          <a:xfrm>
            <a:off x="4970981" y="2765715"/>
            <a:ext cx="42862" cy="39687"/>
          </a:xfrm>
          <a:custGeom>
            <a:avLst/>
            <a:gdLst>
              <a:gd name="T0" fmla="*/ 39977 w 42672"/>
              <a:gd name="T1" fmla="*/ 0 h 39611"/>
              <a:gd name="T2" fmla="*/ 3076 w 42672"/>
              <a:gd name="T3" fmla="*/ 0 h 39611"/>
              <a:gd name="T4" fmla="*/ 0 w 42672"/>
              <a:gd name="T5" fmla="*/ 3060 h 39611"/>
              <a:gd name="T6" fmla="*/ 0 w 42672"/>
              <a:gd name="T7" fmla="*/ 36703 h 39611"/>
              <a:gd name="T8" fmla="*/ 3076 w 42672"/>
              <a:gd name="T9" fmla="*/ 39763 h 39611"/>
              <a:gd name="T10" fmla="*/ 39977 w 42672"/>
              <a:gd name="T11" fmla="*/ 39763 h 39611"/>
              <a:gd name="T12" fmla="*/ 43053 w 42672"/>
              <a:gd name="T13" fmla="*/ 36703 h 39611"/>
              <a:gd name="T14" fmla="*/ 43053 w 42672"/>
              <a:gd name="T15" fmla="*/ 3060 h 39611"/>
              <a:gd name="T16" fmla="*/ 39977 w 42672"/>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672" h="39611">
                <a:moveTo>
                  <a:pt x="39624" y="0"/>
                </a:moveTo>
                <a:lnTo>
                  <a:pt x="3048" y="0"/>
                </a:lnTo>
                <a:lnTo>
                  <a:pt x="0" y="3048"/>
                </a:lnTo>
                <a:lnTo>
                  <a:pt x="0" y="36563"/>
                </a:lnTo>
                <a:lnTo>
                  <a:pt x="3048" y="39611"/>
                </a:lnTo>
                <a:lnTo>
                  <a:pt x="39624" y="39611"/>
                </a:lnTo>
                <a:lnTo>
                  <a:pt x="42672" y="36563"/>
                </a:lnTo>
                <a:lnTo>
                  <a:pt x="42672" y="3048"/>
                </a:lnTo>
                <a:lnTo>
                  <a:pt x="39624"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47" name="object 56">
            <a:extLst>
              <a:ext uri="{FF2B5EF4-FFF2-40B4-BE49-F238E27FC236}">
                <a16:creationId xmlns:a16="http://schemas.microsoft.com/office/drawing/2014/main" id="{F253EF71-997D-478E-92A3-DDD125AEA141}"/>
              </a:ext>
            </a:extLst>
          </p:cNvPr>
          <p:cNvSpPr>
            <a:spLocks/>
          </p:cNvSpPr>
          <p:nvPr/>
        </p:nvSpPr>
        <p:spPr bwMode="auto">
          <a:xfrm>
            <a:off x="4977331" y="2768890"/>
            <a:ext cx="30162" cy="30162"/>
          </a:xfrm>
          <a:custGeom>
            <a:avLst/>
            <a:gdLst>
              <a:gd name="T0" fmla="*/ 26885 w 30467"/>
              <a:gd name="T1" fmla="*/ 0 h 30467"/>
              <a:gd name="T2" fmla="*/ 0 w 30467"/>
              <a:gd name="T3" fmla="*/ 0 h 30467"/>
              <a:gd name="T4" fmla="*/ 0 w 30467"/>
              <a:gd name="T5" fmla="*/ 29860 h 30467"/>
              <a:gd name="T6" fmla="*/ 26885 w 30467"/>
              <a:gd name="T7" fmla="*/ 29860 h 30467"/>
              <a:gd name="T8" fmla="*/ 29860 w 30467"/>
              <a:gd name="T9" fmla="*/ 26885 h 30467"/>
              <a:gd name="T10" fmla="*/ 29860 w 30467"/>
              <a:gd name="T11" fmla="*/ 2987 h 30467"/>
              <a:gd name="T12" fmla="*/ 26885 w 30467"/>
              <a:gd name="T13" fmla="*/ 0 h 3046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467" h="30467">
                <a:moveTo>
                  <a:pt x="27432" y="0"/>
                </a:moveTo>
                <a:lnTo>
                  <a:pt x="0" y="0"/>
                </a:lnTo>
                <a:lnTo>
                  <a:pt x="0" y="30467"/>
                </a:lnTo>
                <a:lnTo>
                  <a:pt x="27432" y="30467"/>
                </a:lnTo>
                <a:lnTo>
                  <a:pt x="30467" y="27432"/>
                </a:lnTo>
                <a:lnTo>
                  <a:pt x="30467" y="3048"/>
                </a:lnTo>
                <a:lnTo>
                  <a:pt x="27432"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48" name="object 57">
            <a:extLst>
              <a:ext uri="{FF2B5EF4-FFF2-40B4-BE49-F238E27FC236}">
                <a16:creationId xmlns:a16="http://schemas.microsoft.com/office/drawing/2014/main" id="{138CE609-AF5E-4106-8DDA-71330BDF42E7}"/>
              </a:ext>
            </a:extLst>
          </p:cNvPr>
          <p:cNvSpPr>
            <a:spLocks/>
          </p:cNvSpPr>
          <p:nvPr/>
        </p:nvSpPr>
        <p:spPr bwMode="auto">
          <a:xfrm>
            <a:off x="4974156" y="2765715"/>
            <a:ext cx="36512" cy="36512"/>
          </a:xfrm>
          <a:custGeom>
            <a:avLst/>
            <a:gdLst>
              <a:gd name="T0" fmla="*/ 36461 w 36563"/>
              <a:gd name="T1" fmla="*/ 3040 h 36563"/>
              <a:gd name="T2" fmla="*/ 0 w 36563"/>
              <a:gd name="T3" fmla="*/ 3040 h 36563"/>
              <a:gd name="T4" fmla="*/ 0 w 36563"/>
              <a:gd name="T5" fmla="*/ 33421 h 36563"/>
              <a:gd name="T6" fmla="*/ 3040 w 36563"/>
              <a:gd name="T7" fmla="*/ 36461 h 36563"/>
              <a:gd name="T8" fmla="*/ 33421 w 36563"/>
              <a:gd name="T9" fmla="*/ 36461 h 36563"/>
              <a:gd name="T10" fmla="*/ 36461 w 36563"/>
              <a:gd name="T11" fmla="*/ 33421 h 36563"/>
              <a:gd name="T12" fmla="*/ 36461 w 36563"/>
              <a:gd name="T13" fmla="*/ 30395 h 36563"/>
              <a:gd name="T14" fmla="*/ 6079 w 36563"/>
              <a:gd name="T15" fmla="*/ 30395 h 36563"/>
              <a:gd name="T16" fmla="*/ 6079 w 36563"/>
              <a:gd name="T17" fmla="*/ 6079 h 36563"/>
              <a:gd name="T18" fmla="*/ 36461 w 36563"/>
              <a:gd name="T19" fmla="*/ 6079 h 36563"/>
              <a:gd name="T20" fmla="*/ 36461 w 36563"/>
              <a:gd name="T21" fmla="*/ 3040 h 36563"/>
              <a:gd name="T22" fmla="*/ 36461 w 36563"/>
              <a:gd name="T23" fmla="*/ 6079 h 36563"/>
              <a:gd name="T24" fmla="*/ 30395 w 36563"/>
              <a:gd name="T25" fmla="*/ 6079 h 36563"/>
              <a:gd name="T26" fmla="*/ 30395 w 36563"/>
              <a:gd name="T27" fmla="*/ 30395 h 36563"/>
              <a:gd name="T28" fmla="*/ 36461 w 36563"/>
              <a:gd name="T29" fmla="*/ 30395 h 36563"/>
              <a:gd name="T30" fmla="*/ 36461 w 36563"/>
              <a:gd name="T31" fmla="*/ 6079 h 36563"/>
              <a:gd name="T32" fmla="*/ 9118 w 36563"/>
              <a:gd name="T33" fmla="*/ 6079 h 36563"/>
              <a:gd name="T34" fmla="*/ 6079 w 36563"/>
              <a:gd name="T35" fmla="*/ 6079 h 36563"/>
              <a:gd name="T36" fmla="*/ 6079 w 36563"/>
              <a:gd name="T37" fmla="*/ 9118 h 36563"/>
              <a:gd name="T38" fmla="*/ 9118 w 36563"/>
              <a:gd name="T39" fmla="*/ 6079 h 36563"/>
              <a:gd name="T40" fmla="*/ 30395 w 36563"/>
              <a:gd name="T41" fmla="*/ 6079 h 36563"/>
              <a:gd name="T42" fmla="*/ 27356 w 36563"/>
              <a:gd name="T43" fmla="*/ 6079 h 36563"/>
              <a:gd name="T44" fmla="*/ 30395 w 36563"/>
              <a:gd name="T45" fmla="*/ 9118 h 36563"/>
              <a:gd name="T46" fmla="*/ 30395 w 36563"/>
              <a:gd name="T47" fmla="*/ 6079 h 36563"/>
              <a:gd name="T48" fmla="*/ 30395 w 36563"/>
              <a:gd name="T49" fmla="*/ 0 h 36563"/>
              <a:gd name="T50" fmla="*/ 6079 w 36563"/>
              <a:gd name="T51" fmla="*/ 0 h 36563"/>
              <a:gd name="T52" fmla="*/ 3040 w 36563"/>
              <a:gd name="T53" fmla="*/ 3040 h 36563"/>
              <a:gd name="T54" fmla="*/ 33421 w 36563"/>
              <a:gd name="T55" fmla="*/ 3040 h 36563"/>
              <a:gd name="T56" fmla="*/ 30395 w 36563"/>
              <a:gd name="T57" fmla="*/ 0 h 3656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6563" h="36563">
                <a:moveTo>
                  <a:pt x="36563" y="3048"/>
                </a:moveTo>
                <a:lnTo>
                  <a:pt x="0" y="3048"/>
                </a:lnTo>
                <a:lnTo>
                  <a:pt x="0" y="33515"/>
                </a:lnTo>
                <a:lnTo>
                  <a:pt x="3048" y="36563"/>
                </a:lnTo>
                <a:lnTo>
                  <a:pt x="33515" y="36563"/>
                </a:lnTo>
                <a:lnTo>
                  <a:pt x="36563" y="33515"/>
                </a:lnTo>
                <a:lnTo>
                  <a:pt x="36563" y="30480"/>
                </a:lnTo>
                <a:lnTo>
                  <a:pt x="6096" y="30480"/>
                </a:lnTo>
                <a:lnTo>
                  <a:pt x="6096" y="6096"/>
                </a:lnTo>
                <a:lnTo>
                  <a:pt x="36563" y="6096"/>
                </a:lnTo>
                <a:lnTo>
                  <a:pt x="36563" y="3048"/>
                </a:lnTo>
                <a:close/>
              </a:path>
              <a:path w="36563" h="36563">
                <a:moveTo>
                  <a:pt x="36563" y="6096"/>
                </a:moveTo>
                <a:lnTo>
                  <a:pt x="30480" y="6096"/>
                </a:lnTo>
                <a:lnTo>
                  <a:pt x="30480" y="30480"/>
                </a:lnTo>
                <a:lnTo>
                  <a:pt x="36563" y="30480"/>
                </a:lnTo>
                <a:lnTo>
                  <a:pt x="36563" y="6096"/>
                </a:lnTo>
                <a:close/>
              </a:path>
              <a:path w="36563" h="36563">
                <a:moveTo>
                  <a:pt x="9144" y="6096"/>
                </a:moveTo>
                <a:lnTo>
                  <a:pt x="6096" y="6096"/>
                </a:lnTo>
                <a:lnTo>
                  <a:pt x="6096" y="9144"/>
                </a:lnTo>
                <a:lnTo>
                  <a:pt x="9144" y="6096"/>
                </a:lnTo>
                <a:close/>
              </a:path>
              <a:path w="36563" h="36563">
                <a:moveTo>
                  <a:pt x="30480" y="6096"/>
                </a:moveTo>
                <a:lnTo>
                  <a:pt x="27432" y="6096"/>
                </a:lnTo>
                <a:lnTo>
                  <a:pt x="30480" y="9144"/>
                </a:lnTo>
                <a:lnTo>
                  <a:pt x="30480" y="6096"/>
                </a:lnTo>
                <a:close/>
              </a:path>
              <a:path w="36563" h="36563">
                <a:moveTo>
                  <a:pt x="30480" y="0"/>
                </a:moveTo>
                <a:lnTo>
                  <a:pt x="6096" y="0"/>
                </a:lnTo>
                <a:lnTo>
                  <a:pt x="3048" y="3048"/>
                </a:lnTo>
                <a:lnTo>
                  <a:pt x="33515" y="3048"/>
                </a:lnTo>
                <a:lnTo>
                  <a:pt x="30480" y="0"/>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49" name="object 58">
            <a:extLst>
              <a:ext uri="{FF2B5EF4-FFF2-40B4-BE49-F238E27FC236}">
                <a16:creationId xmlns:a16="http://schemas.microsoft.com/office/drawing/2014/main" id="{C9A20043-0E32-47CB-9EF1-EAEC4622ACEF}"/>
              </a:ext>
            </a:extLst>
          </p:cNvPr>
          <p:cNvSpPr>
            <a:spLocks/>
          </p:cNvSpPr>
          <p:nvPr/>
        </p:nvSpPr>
        <p:spPr bwMode="auto">
          <a:xfrm>
            <a:off x="4970981" y="2808577"/>
            <a:ext cx="42862" cy="39688"/>
          </a:xfrm>
          <a:custGeom>
            <a:avLst/>
            <a:gdLst>
              <a:gd name="T0" fmla="*/ 39977 w 42672"/>
              <a:gd name="T1" fmla="*/ 0 h 39611"/>
              <a:gd name="T2" fmla="*/ 3076 w 42672"/>
              <a:gd name="T3" fmla="*/ 0 h 39611"/>
              <a:gd name="T4" fmla="*/ 0 w 42672"/>
              <a:gd name="T5" fmla="*/ 3060 h 39611"/>
              <a:gd name="T6" fmla="*/ 0 w 42672"/>
              <a:gd name="T7" fmla="*/ 36705 h 39611"/>
              <a:gd name="T8" fmla="*/ 3076 w 42672"/>
              <a:gd name="T9" fmla="*/ 39765 h 39611"/>
              <a:gd name="T10" fmla="*/ 39977 w 42672"/>
              <a:gd name="T11" fmla="*/ 39765 h 39611"/>
              <a:gd name="T12" fmla="*/ 43053 w 42672"/>
              <a:gd name="T13" fmla="*/ 36705 h 39611"/>
              <a:gd name="T14" fmla="*/ 43053 w 42672"/>
              <a:gd name="T15" fmla="*/ 3060 h 39611"/>
              <a:gd name="T16" fmla="*/ 39977 w 42672"/>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672" h="39611">
                <a:moveTo>
                  <a:pt x="39624" y="0"/>
                </a:moveTo>
                <a:lnTo>
                  <a:pt x="3048" y="0"/>
                </a:lnTo>
                <a:lnTo>
                  <a:pt x="0" y="3048"/>
                </a:lnTo>
                <a:lnTo>
                  <a:pt x="0" y="36563"/>
                </a:lnTo>
                <a:lnTo>
                  <a:pt x="3048" y="39611"/>
                </a:lnTo>
                <a:lnTo>
                  <a:pt x="39624" y="39611"/>
                </a:lnTo>
                <a:lnTo>
                  <a:pt x="42672" y="36563"/>
                </a:lnTo>
                <a:lnTo>
                  <a:pt x="42672" y="3048"/>
                </a:lnTo>
                <a:lnTo>
                  <a:pt x="39624"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50" name="object 59">
            <a:extLst>
              <a:ext uri="{FF2B5EF4-FFF2-40B4-BE49-F238E27FC236}">
                <a16:creationId xmlns:a16="http://schemas.microsoft.com/office/drawing/2014/main" id="{00C86BF3-7F3E-4227-965E-0E1AB018CD17}"/>
              </a:ext>
            </a:extLst>
          </p:cNvPr>
          <p:cNvSpPr>
            <a:spLocks/>
          </p:cNvSpPr>
          <p:nvPr/>
        </p:nvSpPr>
        <p:spPr bwMode="auto">
          <a:xfrm>
            <a:off x="4977331" y="2813340"/>
            <a:ext cx="30162" cy="31750"/>
          </a:xfrm>
          <a:custGeom>
            <a:avLst/>
            <a:gdLst>
              <a:gd name="T0" fmla="*/ 26885 w 30467"/>
              <a:gd name="T1" fmla="*/ 0 h 30467"/>
              <a:gd name="T2" fmla="*/ 0 w 30467"/>
              <a:gd name="T3" fmla="*/ 0 h 30467"/>
              <a:gd name="T4" fmla="*/ 0 w 30467"/>
              <a:gd name="T5" fmla="*/ 33087 h 30467"/>
              <a:gd name="T6" fmla="*/ 26885 w 30467"/>
              <a:gd name="T7" fmla="*/ 33087 h 30467"/>
              <a:gd name="T8" fmla="*/ 29860 w 30467"/>
              <a:gd name="T9" fmla="*/ 29777 h 30467"/>
              <a:gd name="T10" fmla="*/ 29860 w 30467"/>
              <a:gd name="T11" fmla="*/ 3309 h 30467"/>
              <a:gd name="T12" fmla="*/ 26885 w 30467"/>
              <a:gd name="T13" fmla="*/ 0 h 3046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467" h="30467">
                <a:moveTo>
                  <a:pt x="27432" y="0"/>
                </a:moveTo>
                <a:lnTo>
                  <a:pt x="0" y="0"/>
                </a:lnTo>
                <a:lnTo>
                  <a:pt x="0" y="30467"/>
                </a:lnTo>
                <a:lnTo>
                  <a:pt x="27432" y="30467"/>
                </a:lnTo>
                <a:lnTo>
                  <a:pt x="30467" y="27419"/>
                </a:lnTo>
                <a:lnTo>
                  <a:pt x="30467" y="3047"/>
                </a:lnTo>
                <a:lnTo>
                  <a:pt x="27432"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51" name="object 60">
            <a:extLst>
              <a:ext uri="{FF2B5EF4-FFF2-40B4-BE49-F238E27FC236}">
                <a16:creationId xmlns:a16="http://schemas.microsoft.com/office/drawing/2014/main" id="{4E2EFF76-0A84-4EAB-BA9E-F777E9742651}"/>
              </a:ext>
            </a:extLst>
          </p:cNvPr>
          <p:cNvSpPr>
            <a:spLocks/>
          </p:cNvSpPr>
          <p:nvPr/>
        </p:nvSpPr>
        <p:spPr bwMode="auto">
          <a:xfrm>
            <a:off x="4974156" y="2811752"/>
            <a:ext cx="36512" cy="36513"/>
          </a:xfrm>
          <a:custGeom>
            <a:avLst/>
            <a:gdLst>
              <a:gd name="T0" fmla="*/ 33421 w 36563"/>
              <a:gd name="T1" fmla="*/ 33423 h 36563"/>
              <a:gd name="T2" fmla="*/ 3040 w 36563"/>
              <a:gd name="T3" fmla="*/ 33423 h 36563"/>
              <a:gd name="T4" fmla="*/ 6079 w 36563"/>
              <a:gd name="T5" fmla="*/ 36463 h 36563"/>
              <a:gd name="T6" fmla="*/ 30395 w 36563"/>
              <a:gd name="T7" fmla="*/ 36463 h 36563"/>
              <a:gd name="T8" fmla="*/ 33421 w 36563"/>
              <a:gd name="T9" fmla="*/ 33423 h 36563"/>
              <a:gd name="T10" fmla="*/ 36461 w 36563"/>
              <a:gd name="T11" fmla="*/ 3039 h 36563"/>
              <a:gd name="T12" fmla="*/ 0 w 36563"/>
              <a:gd name="T13" fmla="*/ 3039 h 36563"/>
              <a:gd name="T14" fmla="*/ 0 w 36563"/>
              <a:gd name="T15" fmla="*/ 33423 h 36563"/>
              <a:gd name="T16" fmla="*/ 36461 w 36563"/>
              <a:gd name="T17" fmla="*/ 33423 h 36563"/>
              <a:gd name="T18" fmla="*/ 36461 w 36563"/>
              <a:gd name="T19" fmla="*/ 30383 h 36563"/>
              <a:gd name="T20" fmla="*/ 6079 w 36563"/>
              <a:gd name="T21" fmla="*/ 30383 h 36563"/>
              <a:gd name="T22" fmla="*/ 6079 w 36563"/>
              <a:gd name="T23" fmla="*/ 6079 h 36563"/>
              <a:gd name="T24" fmla="*/ 36461 w 36563"/>
              <a:gd name="T25" fmla="*/ 6079 h 36563"/>
              <a:gd name="T26" fmla="*/ 36461 w 36563"/>
              <a:gd name="T27" fmla="*/ 3039 h 36563"/>
              <a:gd name="T28" fmla="*/ 6079 w 36563"/>
              <a:gd name="T29" fmla="*/ 27332 h 36563"/>
              <a:gd name="T30" fmla="*/ 6079 w 36563"/>
              <a:gd name="T31" fmla="*/ 30383 h 36563"/>
              <a:gd name="T32" fmla="*/ 9118 w 36563"/>
              <a:gd name="T33" fmla="*/ 30383 h 36563"/>
              <a:gd name="T34" fmla="*/ 6079 w 36563"/>
              <a:gd name="T35" fmla="*/ 27332 h 36563"/>
              <a:gd name="T36" fmla="*/ 30395 w 36563"/>
              <a:gd name="T37" fmla="*/ 27332 h 36563"/>
              <a:gd name="T38" fmla="*/ 27356 w 36563"/>
              <a:gd name="T39" fmla="*/ 30383 h 36563"/>
              <a:gd name="T40" fmla="*/ 30395 w 36563"/>
              <a:gd name="T41" fmla="*/ 30383 h 36563"/>
              <a:gd name="T42" fmla="*/ 30395 w 36563"/>
              <a:gd name="T43" fmla="*/ 27332 h 36563"/>
              <a:gd name="T44" fmla="*/ 36461 w 36563"/>
              <a:gd name="T45" fmla="*/ 6079 h 36563"/>
              <a:gd name="T46" fmla="*/ 30395 w 36563"/>
              <a:gd name="T47" fmla="*/ 6079 h 36563"/>
              <a:gd name="T48" fmla="*/ 30395 w 36563"/>
              <a:gd name="T49" fmla="*/ 30383 h 36563"/>
              <a:gd name="T50" fmla="*/ 36461 w 36563"/>
              <a:gd name="T51" fmla="*/ 30383 h 36563"/>
              <a:gd name="T52" fmla="*/ 36461 w 36563"/>
              <a:gd name="T53" fmla="*/ 6079 h 36563"/>
              <a:gd name="T54" fmla="*/ 9118 w 36563"/>
              <a:gd name="T55" fmla="*/ 6079 h 36563"/>
              <a:gd name="T56" fmla="*/ 6079 w 36563"/>
              <a:gd name="T57" fmla="*/ 6079 h 36563"/>
              <a:gd name="T58" fmla="*/ 6079 w 36563"/>
              <a:gd name="T59" fmla="*/ 9107 h 36563"/>
              <a:gd name="T60" fmla="*/ 9118 w 36563"/>
              <a:gd name="T61" fmla="*/ 6079 h 36563"/>
              <a:gd name="T62" fmla="*/ 30395 w 36563"/>
              <a:gd name="T63" fmla="*/ 6079 h 36563"/>
              <a:gd name="T64" fmla="*/ 27356 w 36563"/>
              <a:gd name="T65" fmla="*/ 6079 h 36563"/>
              <a:gd name="T66" fmla="*/ 30395 w 36563"/>
              <a:gd name="T67" fmla="*/ 9107 h 36563"/>
              <a:gd name="T68" fmla="*/ 30395 w 36563"/>
              <a:gd name="T69" fmla="*/ 6079 h 36563"/>
              <a:gd name="T70" fmla="*/ 30395 w 36563"/>
              <a:gd name="T71" fmla="*/ 0 h 36563"/>
              <a:gd name="T72" fmla="*/ 6079 w 36563"/>
              <a:gd name="T73" fmla="*/ 0 h 36563"/>
              <a:gd name="T74" fmla="*/ 3040 w 36563"/>
              <a:gd name="T75" fmla="*/ 3039 h 36563"/>
              <a:gd name="T76" fmla="*/ 33421 w 36563"/>
              <a:gd name="T77" fmla="*/ 3039 h 36563"/>
              <a:gd name="T78" fmla="*/ 30395 w 36563"/>
              <a:gd name="T79" fmla="*/ 0 h 365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6563" h="36563">
                <a:moveTo>
                  <a:pt x="33515" y="33515"/>
                </a:moveTo>
                <a:lnTo>
                  <a:pt x="3048" y="33515"/>
                </a:lnTo>
                <a:lnTo>
                  <a:pt x="6096" y="36563"/>
                </a:lnTo>
                <a:lnTo>
                  <a:pt x="30480" y="36563"/>
                </a:lnTo>
                <a:lnTo>
                  <a:pt x="33515" y="33515"/>
                </a:lnTo>
                <a:close/>
              </a:path>
              <a:path w="36563" h="36563">
                <a:moveTo>
                  <a:pt x="36563" y="3047"/>
                </a:moveTo>
                <a:lnTo>
                  <a:pt x="0" y="3047"/>
                </a:lnTo>
                <a:lnTo>
                  <a:pt x="0" y="33515"/>
                </a:lnTo>
                <a:lnTo>
                  <a:pt x="36563" y="33515"/>
                </a:lnTo>
                <a:lnTo>
                  <a:pt x="36563" y="30467"/>
                </a:lnTo>
                <a:lnTo>
                  <a:pt x="6096" y="30467"/>
                </a:lnTo>
                <a:lnTo>
                  <a:pt x="6096" y="6095"/>
                </a:lnTo>
                <a:lnTo>
                  <a:pt x="36563" y="6095"/>
                </a:lnTo>
                <a:lnTo>
                  <a:pt x="36563" y="3047"/>
                </a:lnTo>
                <a:close/>
              </a:path>
              <a:path w="36563" h="36563">
                <a:moveTo>
                  <a:pt x="6096" y="27406"/>
                </a:moveTo>
                <a:lnTo>
                  <a:pt x="6096" y="30467"/>
                </a:lnTo>
                <a:lnTo>
                  <a:pt x="9144" y="30467"/>
                </a:lnTo>
                <a:lnTo>
                  <a:pt x="6096" y="27406"/>
                </a:lnTo>
                <a:close/>
              </a:path>
              <a:path w="36563" h="36563">
                <a:moveTo>
                  <a:pt x="30480" y="27406"/>
                </a:moveTo>
                <a:lnTo>
                  <a:pt x="27432" y="30467"/>
                </a:lnTo>
                <a:lnTo>
                  <a:pt x="30480" y="30467"/>
                </a:lnTo>
                <a:lnTo>
                  <a:pt x="30480" y="27406"/>
                </a:lnTo>
                <a:close/>
              </a:path>
              <a:path w="36563" h="36563">
                <a:moveTo>
                  <a:pt x="36563" y="6095"/>
                </a:moveTo>
                <a:lnTo>
                  <a:pt x="30480" y="6095"/>
                </a:lnTo>
                <a:lnTo>
                  <a:pt x="30480" y="30467"/>
                </a:lnTo>
                <a:lnTo>
                  <a:pt x="36563" y="30467"/>
                </a:lnTo>
                <a:lnTo>
                  <a:pt x="36563" y="6095"/>
                </a:lnTo>
                <a:close/>
              </a:path>
              <a:path w="36563" h="36563">
                <a:moveTo>
                  <a:pt x="9144" y="6095"/>
                </a:moveTo>
                <a:lnTo>
                  <a:pt x="6096" y="6095"/>
                </a:lnTo>
                <a:lnTo>
                  <a:pt x="6096" y="9131"/>
                </a:lnTo>
                <a:lnTo>
                  <a:pt x="9144" y="6095"/>
                </a:lnTo>
                <a:close/>
              </a:path>
              <a:path w="36563" h="36563">
                <a:moveTo>
                  <a:pt x="30480" y="6095"/>
                </a:moveTo>
                <a:lnTo>
                  <a:pt x="27432" y="6095"/>
                </a:lnTo>
                <a:lnTo>
                  <a:pt x="30480" y="9131"/>
                </a:lnTo>
                <a:lnTo>
                  <a:pt x="30480" y="6095"/>
                </a:lnTo>
                <a:close/>
              </a:path>
              <a:path w="36563" h="36563">
                <a:moveTo>
                  <a:pt x="30480" y="0"/>
                </a:moveTo>
                <a:lnTo>
                  <a:pt x="6096" y="0"/>
                </a:lnTo>
                <a:lnTo>
                  <a:pt x="3048" y="3047"/>
                </a:lnTo>
                <a:lnTo>
                  <a:pt x="33515" y="3047"/>
                </a:lnTo>
                <a:lnTo>
                  <a:pt x="30480" y="0"/>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52" name="object 61">
            <a:extLst>
              <a:ext uri="{FF2B5EF4-FFF2-40B4-BE49-F238E27FC236}">
                <a16:creationId xmlns:a16="http://schemas.microsoft.com/office/drawing/2014/main" id="{C22C7A10-73CE-40DB-8236-D8F457FFAC8F}"/>
              </a:ext>
            </a:extLst>
          </p:cNvPr>
          <p:cNvSpPr>
            <a:spLocks/>
          </p:cNvSpPr>
          <p:nvPr/>
        </p:nvSpPr>
        <p:spPr bwMode="auto">
          <a:xfrm>
            <a:off x="4970981" y="2853027"/>
            <a:ext cx="42862" cy="42863"/>
          </a:xfrm>
          <a:custGeom>
            <a:avLst/>
            <a:gdLst>
              <a:gd name="T0" fmla="*/ 39977 w 42672"/>
              <a:gd name="T1" fmla="*/ 0 h 42646"/>
              <a:gd name="T2" fmla="*/ 3076 w 42672"/>
              <a:gd name="T3" fmla="*/ 0 h 42646"/>
              <a:gd name="T4" fmla="*/ 0 w 42672"/>
              <a:gd name="T5" fmla="*/ 3066 h 42646"/>
              <a:gd name="T6" fmla="*/ 0 w 42672"/>
              <a:gd name="T7" fmla="*/ 36936 h 42646"/>
              <a:gd name="T8" fmla="*/ 3076 w 42672"/>
              <a:gd name="T9" fmla="*/ 43081 h 42646"/>
              <a:gd name="T10" fmla="*/ 39977 w 42672"/>
              <a:gd name="T11" fmla="*/ 43081 h 42646"/>
              <a:gd name="T12" fmla="*/ 43053 w 42672"/>
              <a:gd name="T13" fmla="*/ 36936 h 42646"/>
              <a:gd name="T14" fmla="*/ 43053 w 42672"/>
              <a:gd name="T15" fmla="*/ 3066 h 42646"/>
              <a:gd name="T16" fmla="*/ 39977 w 42672"/>
              <a:gd name="T17" fmla="*/ 0 h 426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672" h="42646">
                <a:moveTo>
                  <a:pt x="39624" y="0"/>
                </a:moveTo>
                <a:lnTo>
                  <a:pt x="3048" y="0"/>
                </a:lnTo>
                <a:lnTo>
                  <a:pt x="0" y="3035"/>
                </a:lnTo>
                <a:lnTo>
                  <a:pt x="0" y="36563"/>
                </a:lnTo>
                <a:lnTo>
                  <a:pt x="3048" y="42646"/>
                </a:lnTo>
                <a:lnTo>
                  <a:pt x="39624" y="42646"/>
                </a:lnTo>
                <a:lnTo>
                  <a:pt x="42672" y="36563"/>
                </a:lnTo>
                <a:lnTo>
                  <a:pt x="42672" y="3035"/>
                </a:lnTo>
                <a:lnTo>
                  <a:pt x="39624"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53" name="object 62">
            <a:extLst>
              <a:ext uri="{FF2B5EF4-FFF2-40B4-BE49-F238E27FC236}">
                <a16:creationId xmlns:a16="http://schemas.microsoft.com/office/drawing/2014/main" id="{2B2BBD16-F8D9-4979-A730-F600134E3BAB}"/>
              </a:ext>
            </a:extLst>
          </p:cNvPr>
          <p:cNvSpPr>
            <a:spLocks/>
          </p:cNvSpPr>
          <p:nvPr/>
        </p:nvSpPr>
        <p:spPr bwMode="auto">
          <a:xfrm>
            <a:off x="4977331" y="2859377"/>
            <a:ext cx="30162" cy="30163"/>
          </a:xfrm>
          <a:custGeom>
            <a:avLst/>
            <a:gdLst>
              <a:gd name="T0" fmla="*/ 26885 w 30467"/>
              <a:gd name="T1" fmla="*/ 0 h 30480"/>
              <a:gd name="T2" fmla="*/ 0 w 30467"/>
              <a:gd name="T3" fmla="*/ 0 h 30480"/>
              <a:gd name="T4" fmla="*/ 0 w 30467"/>
              <a:gd name="T5" fmla="*/ 29849 h 30480"/>
              <a:gd name="T6" fmla="*/ 26885 w 30467"/>
              <a:gd name="T7" fmla="*/ 29849 h 30480"/>
              <a:gd name="T8" fmla="*/ 29860 w 30467"/>
              <a:gd name="T9" fmla="*/ 26865 h 30480"/>
              <a:gd name="T10" fmla="*/ 29860 w 30467"/>
              <a:gd name="T11" fmla="*/ 2985 h 30480"/>
              <a:gd name="T12" fmla="*/ 26885 w 30467"/>
              <a:gd name="T13" fmla="*/ 0 h 3048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467" h="30480">
                <a:moveTo>
                  <a:pt x="27432" y="0"/>
                </a:moveTo>
                <a:lnTo>
                  <a:pt x="0" y="0"/>
                </a:lnTo>
                <a:lnTo>
                  <a:pt x="0" y="30480"/>
                </a:lnTo>
                <a:lnTo>
                  <a:pt x="27432" y="30480"/>
                </a:lnTo>
                <a:lnTo>
                  <a:pt x="30467" y="27432"/>
                </a:lnTo>
                <a:lnTo>
                  <a:pt x="30467" y="3048"/>
                </a:lnTo>
                <a:lnTo>
                  <a:pt x="27432"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54" name="object 63">
            <a:extLst>
              <a:ext uri="{FF2B5EF4-FFF2-40B4-BE49-F238E27FC236}">
                <a16:creationId xmlns:a16="http://schemas.microsoft.com/office/drawing/2014/main" id="{F32F9094-4A0D-4341-B4EC-820315BC3D10}"/>
              </a:ext>
            </a:extLst>
          </p:cNvPr>
          <p:cNvSpPr>
            <a:spLocks/>
          </p:cNvSpPr>
          <p:nvPr/>
        </p:nvSpPr>
        <p:spPr bwMode="auto">
          <a:xfrm>
            <a:off x="4974156" y="2856202"/>
            <a:ext cx="36512" cy="36513"/>
          </a:xfrm>
          <a:custGeom>
            <a:avLst/>
            <a:gdLst>
              <a:gd name="T0" fmla="*/ 33421 w 36563"/>
              <a:gd name="T1" fmla="*/ 33412 h 36576"/>
              <a:gd name="T2" fmla="*/ 3040 w 36563"/>
              <a:gd name="T3" fmla="*/ 33412 h 36576"/>
              <a:gd name="T4" fmla="*/ 6079 w 36563"/>
              <a:gd name="T5" fmla="*/ 36450 h 36576"/>
              <a:gd name="T6" fmla="*/ 30395 w 36563"/>
              <a:gd name="T7" fmla="*/ 36450 h 36576"/>
              <a:gd name="T8" fmla="*/ 33421 w 36563"/>
              <a:gd name="T9" fmla="*/ 33412 h 36576"/>
              <a:gd name="T10" fmla="*/ 36461 w 36563"/>
              <a:gd name="T11" fmla="*/ 3038 h 36576"/>
              <a:gd name="T12" fmla="*/ 0 w 36563"/>
              <a:gd name="T13" fmla="*/ 3038 h 36576"/>
              <a:gd name="T14" fmla="*/ 0 w 36563"/>
              <a:gd name="T15" fmla="*/ 33412 h 36576"/>
              <a:gd name="T16" fmla="*/ 36461 w 36563"/>
              <a:gd name="T17" fmla="*/ 33412 h 36576"/>
              <a:gd name="T18" fmla="*/ 36461 w 36563"/>
              <a:gd name="T19" fmla="*/ 30376 h 36576"/>
              <a:gd name="T20" fmla="*/ 6079 w 36563"/>
              <a:gd name="T21" fmla="*/ 30376 h 36576"/>
              <a:gd name="T22" fmla="*/ 6079 w 36563"/>
              <a:gd name="T23" fmla="*/ 6076 h 36576"/>
              <a:gd name="T24" fmla="*/ 36461 w 36563"/>
              <a:gd name="T25" fmla="*/ 6076 h 36576"/>
              <a:gd name="T26" fmla="*/ 36461 w 36563"/>
              <a:gd name="T27" fmla="*/ 3038 h 36576"/>
              <a:gd name="T28" fmla="*/ 36461 w 36563"/>
              <a:gd name="T29" fmla="*/ 6076 h 36576"/>
              <a:gd name="T30" fmla="*/ 30395 w 36563"/>
              <a:gd name="T31" fmla="*/ 6076 h 36576"/>
              <a:gd name="T32" fmla="*/ 30395 w 36563"/>
              <a:gd name="T33" fmla="*/ 30376 h 36576"/>
              <a:gd name="T34" fmla="*/ 36461 w 36563"/>
              <a:gd name="T35" fmla="*/ 30376 h 36576"/>
              <a:gd name="T36" fmla="*/ 36461 w 36563"/>
              <a:gd name="T37" fmla="*/ 6076 h 36576"/>
              <a:gd name="T38" fmla="*/ 9118 w 36563"/>
              <a:gd name="T39" fmla="*/ 6076 h 36576"/>
              <a:gd name="T40" fmla="*/ 6079 w 36563"/>
              <a:gd name="T41" fmla="*/ 6076 h 36576"/>
              <a:gd name="T42" fmla="*/ 6079 w 36563"/>
              <a:gd name="T43" fmla="*/ 9112 h 36576"/>
              <a:gd name="T44" fmla="*/ 9118 w 36563"/>
              <a:gd name="T45" fmla="*/ 6076 h 36576"/>
              <a:gd name="T46" fmla="*/ 30395 w 36563"/>
              <a:gd name="T47" fmla="*/ 6076 h 36576"/>
              <a:gd name="T48" fmla="*/ 27356 w 36563"/>
              <a:gd name="T49" fmla="*/ 6076 h 36576"/>
              <a:gd name="T50" fmla="*/ 30395 w 36563"/>
              <a:gd name="T51" fmla="*/ 9112 h 36576"/>
              <a:gd name="T52" fmla="*/ 30395 w 36563"/>
              <a:gd name="T53" fmla="*/ 6076 h 36576"/>
              <a:gd name="T54" fmla="*/ 30395 w 36563"/>
              <a:gd name="T55" fmla="*/ 0 h 36576"/>
              <a:gd name="T56" fmla="*/ 6079 w 36563"/>
              <a:gd name="T57" fmla="*/ 0 h 36576"/>
              <a:gd name="T58" fmla="*/ 3040 w 36563"/>
              <a:gd name="T59" fmla="*/ 3038 h 36576"/>
              <a:gd name="T60" fmla="*/ 33421 w 36563"/>
              <a:gd name="T61" fmla="*/ 3038 h 36576"/>
              <a:gd name="T62" fmla="*/ 30395 w 36563"/>
              <a:gd name="T63" fmla="*/ 0 h 3657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6563" h="36576">
                <a:moveTo>
                  <a:pt x="33515" y="33528"/>
                </a:moveTo>
                <a:lnTo>
                  <a:pt x="3048" y="33528"/>
                </a:lnTo>
                <a:lnTo>
                  <a:pt x="6096" y="36576"/>
                </a:lnTo>
                <a:lnTo>
                  <a:pt x="30480" y="36576"/>
                </a:lnTo>
                <a:lnTo>
                  <a:pt x="33515" y="33528"/>
                </a:lnTo>
                <a:close/>
              </a:path>
              <a:path w="36563" h="36576">
                <a:moveTo>
                  <a:pt x="36563" y="3048"/>
                </a:moveTo>
                <a:lnTo>
                  <a:pt x="0" y="3048"/>
                </a:lnTo>
                <a:lnTo>
                  <a:pt x="0" y="33528"/>
                </a:lnTo>
                <a:lnTo>
                  <a:pt x="36563" y="33528"/>
                </a:lnTo>
                <a:lnTo>
                  <a:pt x="36563" y="30480"/>
                </a:lnTo>
                <a:lnTo>
                  <a:pt x="6096" y="30480"/>
                </a:lnTo>
                <a:lnTo>
                  <a:pt x="6096" y="6096"/>
                </a:lnTo>
                <a:lnTo>
                  <a:pt x="36563" y="6096"/>
                </a:lnTo>
                <a:lnTo>
                  <a:pt x="36563" y="3048"/>
                </a:lnTo>
                <a:close/>
              </a:path>
              <a:path w="36563" h="36576">
                <a:moveTo>
                  <a:pt x="36563" y="6096"/>
                </a:moveTo>
                <a:lnTo>
                  <a:pt x="30480" y="6096"/>
                </a:lnTo>
                <a:lnTo>
                  <a:pt x="30480" y="30480"/>
                </a:lnTo>
                <a:lnTo>
                  <a:pt x="36563" y="30480"/>
                </a:lnTo>
                <a:lnTo>
                  <a:pt x="36563" y="6096"/>
                </a:lnTo>
                <a:close/>
              </a:path>
              <a:path w="36563" h="36576">
                <a:moveTo>
                  <a:pt x="9144" y="6096"/>
                </a:moveTo>
                <a:lnTo>
                  <a:pt x="6096" y="6096"/>
                </a:lnTo>
                <a:lnTo>
                  <a:pt x="6096" y="9144"/>
                </a:lnTo>
                <a:lnTo>
                  <a:pt x="9144" y="6096"/>
                </a:lnTo>
                <a:close/>
              </a:path>
              <a:path w="36563" h="36576">
                <a:moveTo>
                  <a:pt x="30480" y="6096"/>
                </a:moveTo>
                <a:lnTo>
                  <a:pt x="27432" y="6096"/>
                </a:lnTo>
                <a:lnTo>
                  <a:pt x="30480" y="9144"/>
                </a:lnTo>
                <a:lnTo>
                  <a:pt x="30480" y="6096"/>
                </a:lnTo>
                <a:close/>
              </a:path>
              <a:path w="36563" h="36576">
                <a:moveTo>
                  <a:pt x="30480" y="0"/>
                </a:moveTo>
                <a:lnTo>
                  <a:pt x="6096" y="0"/>
                </a:lnTo>
                <a:lnTo>
                  <a:pt x="3048" y="3048"/>
                </a:lnTo>
                <a:lnTo>
                  <a:pt x="33515" y="3048"/>
                </a:lnTo>
                <a:lnTo>
                  <a:pt x="30480" y="0"/>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55" name="object 64">
            <a:extLst>
              <a:ext uri="{FF2B5EF4-FFF2-40B4-BE49-F238E27FC236}">
                <a16:creationId xmlns:a16="http://schemas.microsoft.com/office/drawing/2014/main" id="{D86F832D-17A4-4710-BE16-BBE0BAEC8391}"/>
              </a:ext>
            </a:extLst>
          </p:cNvPr>
          <p:cNvSpPr>
            <a:spLocks/>
          </p:cNvSpPr>
          <p:nvPr/>
        </p:nvSpPr>
        <p:spPr bwMode="auto">
          <a:xfrm>
            <a:off x="5394843" y="2683165"/>
            <a:ext cx="142875" cy="277812"/>
          </a:xfrm>
          <a:custGeom>
            <a:avLst/>
            <a:gdLst>
              <a:gd name="T0" fmla="*/ 0 w 143255"/>
              <a:gd name="T1" fmla="*/ 278270 h 277355"/>
              <a:gd name="T2" fmla="*/ 142496 w 143255"/>
              <a:gd name="T3" fmla="*/ 278270 h 277355"/>
              <a:gd name="T4" fmla="*/ 142496 w 143255"/>
              <a:gd name="T5" fmla="*/ 0 h 277355"/>
              <a:gd name="T6" fmla="*/ 0 w 143255"/>
              <a:gd name="T7" fmla="*/ 0 h 277355"/>
              <a:gd name="T8" fmla="*/ 0 w 143255"/>
              <a:gd name="T9" fmla="*/ 278270 h 27735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3255" h="277355">
                <a:moveTo>
                  <a:pt x="0" y="277355"/>
                </a:moveTo>
                <a:lnTo>
                  <a:pt x="143255" y="277355"/>
                </a:lnTo>
                <a:lnTo>
                  <a:pt x="143255" y="0"/>
                </a:lnTo>
                <a:lnTo>
                  <a:pt x="0" y="0"/>
                </a:lnTo>
                <a:lnTo>
                  <a:pt x="0" y="277355"/>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56" name="object 65">
            <a:extLst>
              <a:ext uri="{FF2B5EF4-FFF2-40B4-BE49-F238E27FC236}">
                <a16:creationId xmlns:a16="http://schemas.microsoft.com/office/drawing/2014/main" id="{3DB74B8D-1CB4-4AF3-A293-694A4466A4DF}"/>
              </a:ext>
            </a:extLst>
          </p:cNvPr>
          <p:cNvSpPr>
            <a:spLocks/>
          </p:cNvSpPr>
          <p:nvPr/>
        </p:nvSpPr>
        <p:spPr bwMode="auto">
          <a:xfrm>
            <a:off x="5388493" y="2676815"/>
            <a:ext cx="155575" cy="288925"/>
          </a:xfrm>
          <a:custGeom>
            <a:avLst/>
            <a:gdLst>
              <a:gd name="T0" fmla="*/ 155702 w 155448"/>
              <a:gd name="T1" fmla="*/ 0 h 289560"/>
              <a:gd name="T2" fmla="*/ 0 w 155448"/>
              <a:gd name="T3" fmla="*/ 0 h 289560"/>
              <a:gd name="T4" fmla="*/ 0 w 155448"/>
              <a:gd name="T5" fmla="*/ 288291 h 289560"/>
              <a:gd name="T6" fmla="*/ 155702 w 155448"/>
              <a:gd name="T7" fmla="*/ 288291 h 289560"/>
              <a:gd name="T8" fmla="*/ 155702 w 155448"/>
              <a:gd name="T9" fmla="*/ 282209 h 289560"/>
              <a:gd name="T10" fmla="*/ 12212 w 155448"/>
              <a:gd name="T11" fmla="*/ 282209 h 289560"/>
              <a:gd name="T12" fmla="*/ 6106 w 155448"/>
              <a:gd name="T13" fmla="*/ 279174 h 289560"/>
              <a:gd name="T14" fmla="*/ 12212 w 155448"/>
              <a:gd name="T15" fmla="*/ 279174 h 289560"/>
              <a:gd name="T16" fmla="*/ 12212 w 155448"/>
              <a:gd name="T17" fmla="*/ 12125 h 289560"/>
              <a:gd name="T18" fmla="*/ 6106 w 155448"/>
              <a:gd name="T19" fmla="*/ 12125 h 289560"/>
              <a:gd name="T20" fmla="*/ 12212 w 155448"/>
              <a:gd name="T21" fmla="*/ 6070 h 289560"/>
              <a:gd name="T22" fmla="*/ 155702 w 155448"/>
              <a:gd name="T23" fmla="*/ 6070 h 289560"/>
              <a:gd name="T24" fmla="*/ 155702 w 155448"/>
              <a:gd name="T25" fmla="*/ 0 h 289560"/>
              <a:gd name="T26" fmla="*/ 12212 w 155448"/>
              <a:gd name="T27" fmla="*/ 279174 h 289560"/>
              <a:gd name="T28" fmla="*/ 6106 w 155448"/>
              <a:gd name="T29" fmla="*/ 279174 h 289560"/>
              <a:gd name="T30" fmla="*/ 12212 w 155448"/>
              <a:gd name="T31" fmla="*/ 282209 h 289560"/>
              <a:gd name="T32" fmla="*/ 12212 w 155448"/>
              <a:gd name="T33" fmla="*/ 279174 h 289560"/>
              <a:gd name="T34" fmla="*/ 146544 w 155448"/>
              <a:gd name="T35" fmla="*/ 279174 h 289560"/>
              <a:gd name="T36" fmla="*/ 12212 w 155448"/>
              <a:gd name="T37" fmla="*/ 279174 h 289560"/>
              <a:gd name="T38" fmla="*/ 12212 w 155448"/>
              <a:gd name="T39" fmla="*/ 282209 h 289560"/>
              <a:gd name="T40" fmla="*/ 146544 w 155448"/>
              <a:gd name="T41" fmla="*/ 282209 h 289560"/>
              <a:gd name="T42" fmla="*/ 146544 w 155448"/>
              <a:gd name="T43" fmla="*/ 279174 h 289560"/>
              <a:gd name="T44" fmla="*/ 146544 w 155448"/>
              <a:gd name="T45" fmla="*/ 6070 h 289560"/>
              <a:gd name="T46" fmla="*/ 146544 w 155448"/>
              <a:gd name="T47" fmla="*/ 282209 h 289560"/>
              <a:gd name="T48" fmla="*/ 149596 w 155448"/>
              <a:gd name="T49" fmla="*/ 279174 h 289560"/>
              <a:gd name="T50" fmla="*/ 155702 w 155448"/>
              <a:gd name="T51" fmla="*/ 279174 h 289560"/>
              <a:gd name="T52" fmla="*/ 155702 w 155448"/>
              <a:gd name="T53" fmla="*/ 12125 h 289560"/>
              <a:gd name="T54" fmla="*/ 149596 w 155448"/>
              <a:gd name="T55" fmla="*/ 12125 h 289560"/>
              <a:gd name="T56" fmla="*/ 146544 w 155448"/>
              <a:gd name="T57" fmla="*/ 6070 h 289560"/>
              <a:gd name="T58" fmla="*/ 155702 w 155448"/>
              <a:gd name="T59" fmla="*/ 279174 h 289560"/>
              <a:gd name="T60" fmla="*/ 149596 w 155448"/>
              <a:gd name="T61" fmla="*/ 279174 h 289560"/>
              <a:gd name="T62" fmla="*/ 146544 w 155448"/>
              <a:gd name="T63" fmla="*/ 282209 h 289560"/>
              <a:gd name="T64" fmla="*/ 155702 w 155448"/>
              <a:gd name="T65" fmla="*/ 282209 h 289560"/>
              <a:gd name="T66" fmla="*/ 155702 w 155448"/>
              <a:gd name="T67" fmla="*/ 279174 h 289560"/>
              <a:gd name="T68" fmla="*/ 12212 w 155448"/>
              <a:gd name="T69" fmla="*/ 6070 h 289560"/>
              <a:gd name="T70" fmla="*/ 6106 w 155448"/>
              <a:gd name="T71" fmla="*/ 12125 h 289560"/>
              <a:gd name="T72" fmla="*/ 12212 w 155448"/>
              <a:gd name="T73" fmla="*/ 12125 h 289560"/>
              <a:gd name="T74" fmla="*/ 12212 w 155448"/>
              <a:gd name="T75" fmla="*/ 6070 h 289560"/>
              <a:gd name="T76" fmla="*/ 146544 w 155448"/>
              <a:gd name="T77" fmla="*/ 6070 h 289560"/>
              <a:gd name="T78" fmla="*/ 12212 w 155448"/>
              <a:gd name="T79" fmla="*/ 6070 h 289560"/>
              <a:gd name="T80" fmla="*/ 12212 w 155448"/>
              <a:gd name="T81" fmla="*/ 12125 h 289560"/>
              <a:gd name="T82" fmla="*/ 146544 w 155448"/>
              <a:gd name="T83" fmla="*/ 12125 h 289560"/>
              <a:gd name="T84" fmla="*/ 146544 w 155448"/>
              <a:gd name="T85" fmla="*/ 6070 h 289560"/>
              <a:gd name="T86" fmla="*/ 155702 w 155448"/>
              <a:gd name="T87" fmla="*/ 6070 h 289560"/>
              <a:gd name="T88" fmla="*/ 146544 w 155448"/>
              <a:gd name="T89" fmla="*/ 6070 h 289560"/>
              <a:gd name="T90" fmla="*/ 149596 w 155448"/>
              <a:gd name="T91" fmla="*/ 12125 h 289560"/>
              <a:gd name="T92" fmla="*/ 155702 w 155448"/>
              <a:gd name="T93" fmla="*/ 12125 h 289560"/>
              <a:gd name="T94" fmla="*/ 155702 w 155448"/>
              <a:gd name="T95" fmla="*/ 6070 h 28956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55448" h="289560">
                <a:moveTo>
                  <a:pt x="155448" y="0"/>
                </a:moveTo>
                <a:lnTo>
                  <a:pt x="0" y="0"/>
                </a:lnTo>
                <a:lnTo>
                  <a:pt x="0" y="289560"/>
                </a:lnTo>
                <a:lnTo>
                  <a:pt x="155448" y="289560"/>
                </a:lnTo>
                <a:lnTo>
                  <a:pt x="155448" y="283451"/>
                </a:lnTo>
                <a:lnTo>
                  <a:pt x="12192" y="283451"/>
                </a:lnTo>
                <a:lnTo>
                  <a:pt x="6096" y="280403"/>
                </a:lnTo>
                <a:lnTo>
                  <a:pt x="12192" y="280403"/>
                </a:lnTo>
                <a:lnTo>
                  <a:pt x="12192" y="12179"/>
                </a:lnTo>
                <a:lnTo>
                  <a:pt x="6096" y="12179"/>
                </a:lnTo>
                <a:lnTo>
                  <a:pt x="12192" y="6096"/>
                </a:lnTo>
                <a:lnTo>
                  <a:pt x="155448" y="6096"/>
                </a:lnTo>
                <a:lnTo>
                  <a:pt x="155448" y="0"/>
                </a:lnTo>
                <a:close/>
              </a:path>
              <a:path w="155448" h="289560">
                <a:moveTo>
                  <a:pt x="12192" y="280403"/>
                </a:moveTo>
                <a:lnTo>
                  <a:pt x="6096" y="280403"/>
                </a:lnTo>
                <a:lnTo>
                  <a:pt x="12192" y="283451"/>
                </a:lnTo>
                <a:lnTo>
                  <a:pt x="12192" y="280403"/>
                </a:lnTo>
                <a:close/>
              </a:path>
              <a:path w="155448" h="289560">
                <a:moveTo>
                  <a:pt x="146304" y="280403"/>
                </a:moveTo>
                <a:lnTo>
                  <a:pt x="12192" y="280403"/>
                </a:lnTo>
                <a:lnTo>
                  <a:pt x="12192" y="283451"/>
                </a:lnTo>
                <a:lnTo>
                  <a:pt x="146304" y="283451"/>
                </a:lnTo>
                <a:lnTo>
                  <a:pt x="146304" y="280403"/>
                </a:lnTo>
                <a:close/>
              </a:path>
              <a:path w="155448" h="289560">
                <a:moveTo>
                  <a:pt x="146304" y="6096"/>
                </a:moveTo>
                <a:lnTo>
                  <a:pt x="146304" y="283451"/>
                </a:lnTo>
                <a:lnTo>
                  <a:pt x="149352" y="280403"/>
                </a:lnTo>
                <a:lnTo>
                  <a:pt x="155448" y="280403"/>
                </a:lnTo>
                <a:lnTo>
                  <a:pt x="155448" y="12179"/>
                </a:lnTo>
                <a:lnTo>
                  <a:pt x="149352" y="12179"/>
                </a:lnTo>
                <a:lnTo>
                  <a:pt x="146304" y="6096"/>
                </a:lnTo>
                <a:close/>
              </a:path>
              <a:path w="155448" h="289560">
                <a:moveTo>
                  <a:pt x="155448" y="280403"/>
                </a:moveTo>
                <a:lnTo>
                  <a:pt x="149352" y="280403"/>
                </a:lnTo>
                <a:lnTo>
                  <a:pt x="146304" y="283451"/>
                </a:lnTo>
                <a:lnTo>
                  <a:pt x="155448" y="283451"/>
                </a:lnTo>
                <a:lnTo>
                  <a:pt x="155448" y="280403"/>
                </a:lnTo>
                <a:close/>
              </a:path>
              <a:path w="155448" h="289560">
                <a:moveTo>
                  <a:pt x="12192" y="6096"/>
                </a:moveTo>
                <a:lnTo>
                  <a:pt x="6096" y="12179"/>
                </a:lnTo>
                <a:lnTo>
                  <a:pt x="12192" y="12179"/>
                </a:lnTo>
                <a:lnTo>
                  <a:pt x="12192" y="6096"/>
                </a:lnTo>
                <a:close/>
              </a:path>
              <a:path w="155448" h="289560">
                <a:moveTo>
                  <a:pt x="146304" y="6096"/>
                </a:moveTo>
                <a:lnTo>
                  <a:pt x="12192" y="6096"/>
                </a:lnTo>
                <a:lnTo>
                  <a:pt x="12192" y="12179"/>
                </a:lnTo>
                <a:lnTo>
                  <a:pt x="146304" y="12179"/>
                </a:lnTo>
                <a:lnTo>
                  <a:pt x="146304" y="6096"/>
                </a:lnTo>
                <a:close/>
              </a:path>
              <a:path w="155448" h="289560">
                <a:moveTo>
                  <a:pt x="155448" y="6096"/>
                </a:moveTo>
                <a:lnTo>
                  <a:pt x="146304" y="6096"/>
                </a:lnTo>
                <a:lnTo>
                  <a:pt x="149352" y="12179"/>
                </a:lnTo>
                <a:lnTo>
                  <a:pt x="155448" y="12179"/>
                </a:lnTo>
                <a:lnTo>
                  <a:pt x="155448" y="6096"/>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57" name="object 66">
            <a:extLst>
              <a:ext uri="{FF2B5EF4-FFF2-40B4-BE49-F238E27FC236}">
                <a16:creationId xmlns:a16="http://schemas.microsoft.com/office/drawing/2014/main" id="{F8EA650E-99D8-414B-9EAE-1C20821AC6B7}"/>
              </a:ext>
            </a:extLst>
          </p:cNvPr>
          <p:cNvSpPr>
            <a:spLocks/>
          </p:cNvSpPr>
          <p:nvPr/>
        </p:nvSpPr>
        <p:spPr bwMode="auto">
          <a:xfrm>
            <a:off x="5525018" y="2683165"/>
            <a:ext cx="0" cy="277812"/>
          </a:xfrm>
          <a:custGeom>
            <a:avLst/>
            <a:gdLst>
              <a:gd name="T0" fmla="*/ 0 h 277355"/>
              <a:gd name="T1" fmla="*/ 278270 h 277355"/>
              <a:gd name="T2" fmla="*/ 0 60000 65536"/>
              <a:gd name="T3" fmla="*/ 0 60000 65536"/>
            </a:gdLst>
            <a:ahLst/>
            <a:cxnLst>
              <a:cxn ang="T2">
                <a:pos x="0" y="T0"/>
              </a:cxn>
              <a:cxn ang="T3">
                <a:pos x="0" y="T1"/>
              </a:cxn>
            </a:cxnLst>
            <a:rect l="0" t="0" r="r" b="b"/>
            <a:pathLst>
              <a:path h="277355">
                <a:moveTo>
                  <a:pt x="0" y="0"/>
                </a:moveTo>
                <a:lnTo>
                  <a:pt x="0" y="277355"/>
                </a:lnTo>
              </a:path>
            </a:pathLst>
          </a:custGeom>
          <a:noFill/>
          <a:ln w="28702">
            <a:solidFill>
              <a:srgbClr val="6783A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58" name="object 67">
            <a:extLst>
              <a:ext uri="{FF2B5EF4-FFF2-40B4-BE49-F238E27FC236}">
                <a16:creationId xmlns:a16="http://schemas.microsoft.com/office/drawing/2014/main" id="{1DA31D7C-CB69-4A29-8008-8909B5DCC8A3}"/>
              </a:ext>
            </a:extLst>
          </p:cNvPr>
          <p:cNvSpPr>
            <a:spLocks/>
          </p:cNvSpPr>
          <p:nvPr/>
        </p:nvSpPr>
        <p:spPr bwMode="auto">
          <a:xfrm>
            <a:off x="5504381" y="2676815"/>
            <a:ext cx="39687" cy="288925"/>
          </a:xfrm>
          <a:custGeom>
            <a:avLst/>
            <a:gdLst>
              <a:gd name="T0" fmla="*/ 39750 w 39624"/>
              <a:gd name="T1" fmla="*/ 0 h 289560"/>
              <a:gd name="T2" fmla="*/ 0 w 39624"/>
              <a:gd name="T3" fmla="*/ 0 h 289560"/>
              <a:gd name="T4" fmla="*/ 0 w 39624"/>
              <a:gd name="T5" fmla="*/ 288291 h 289560"/>
              <a:gd name="T6" fmla="*/ 39750 w 39624"/>
              <a:gd name="T7" fmla="*/ 288291 h 289560"/>
              <a:gd name="T8" fmla="*/ 39750 w 39624"/>
              <a:gd name="T9" fmla="*/ 282209 h 289560"/>
              <a:gd name="T10" fmla="*/ 12230 w 39624"/>
              <a:gd name="T11" fmla="*/ 282209 h 289560"/>
              <a:gd name="T12" fmla="*/ 6116 w 39624"/>
              <a:gd name="T13" fmla="*/ 279174 h 289560"/>
              <a:gd name="T14" fmla="*/ 12230 w 39624"/>
              <a:gd name="T15" fmla="*/ 279174 h 289560"/>
              <a:gd name="T16" fmla="*/ 12230 w 39624"/>
              <a:gd name="T17" fmla="*/ 12125 h 289560"/>
              <a:gd name="T18" fmla="*/ 6116 w 39624"/>
              <a:gd name="T19" fmla="*/ 12125 h 289560"/>
              <a:gd name="T20" fmla="*/ 12230 w 39624"/>
              <a:gd name="T21" fmla="*/ 6070 h 289560"/>
              <a:gd name="T22" fmla="*/ 39750 w 39624"/>
              <a:gd name="T23" fmla="*/ 6070 h 289560"/>
              <a:gd name="T24" fmla="*/ 39750 w 39624"/>
              <a:gd name="T25" fmla="*/ 0 h 289560"/>
              <a:gd name="T26" fmla="*/ 12230 w 39624"/>
              <a:gd name="T27" fmla="*/ 279174 h 289560"/>
              <a:gd name="T28" fmla="*/ 6116 w 39624"/>
              <a:gd name="T29" fmla="*/ 279174 h 289560"/>
              <a:gd name="T30" fmla="*/ 12230 w 39624"/>
              <a:gd name="T31" fmla="*/ 282209 h 289560"/>
              <a:gd name="T32" fmla="*/ 12230 w 39624"/>
              <a:gd name="T33" fmla="*/ 279174 h 289560"/>
              <a:gd name="T34" fmla="*/ 30577 w 39624"/>
              <a:gd name="T35" fmla="*/ 279174 h 289560"/>
              <a:gd name="T36" fmla="*/ 12230 w 39624"/>
              <a:gd name="T37" fmla="*/ 279174 h 289560"/>
              <a:gd name="T38" fmla="*/ 12230 w 39624"/>
              <a:gd name="T39" fmla="*/ 282209 h 289560"/>
              <a:gd name="T40" fmla="*/ 30577 w 39624"/>
              <a:gd name="T41" fmla="*/ 282209 h 289560"/>
              <a:gd name="T42" fmla="*/ 30577 w 39624"/>
              <a:gd name="T43" fmla="*/ 279174 h 289560"/>
              <a:gd name="T44" fmla="*/ 30577 w 39624"/>
              <a:gd name="T45" fmla="*/ 6070 h 289560"/>
              <a:gd name="T46" fmla="*/ 30577 w 39624"/>
              <a:gd name="T47" fmla="*/ 282209 h 289560"/>
              <a:gd name="T48" fmla="*/ 33634 w 39624"/>
              <a:gd name="T49" fmla="*/ 279174 h 289560"/>
              <a:gd name="T50" fmla="*/ 39750 w 39624"/>
              <a:gd name="T51" fmla="*/ 279174 h 289560"/>
              <a:gd name="T52" fmla="*/ 39750 w 39624"/>
              <a:gd name="T53" fmla="*/ 12125 h 289560"/>
              <a:gd name="T54" fmla="*/ 33634 w 39624"/>
              <a:gd name="T55" fmla="*/ 12125 h 289560"/>
              <a:gd name="T56" fmla="*/ 30577 w 39624"/>
              <a:gd name="T57" fmla="*/ 6070 h 289560"/>
              <a:gd name="T58" fmla="*/ 39750 w 39624"/>
              <a:gd name="T59" fmla="*/ 279174 h 289560"/>
              <a:gd name="T60" fmla="*/ 33634 w 39624"/>
              <a:gd name="T61" fmla="*/ 279174 h 289560"/>
              <a:gd name="T62" fmla="*/ 30577 w 39624"/>
              <a:gd name="T63" fmla="*/ 282209 h 289560"/>
              <a:gd name="T64" fmla="*/ 39750 w 39624"/>
              <a:gd name="T65" fmla="*/ 282209 h 289560"/>
              <a:gd name="T66" fmla="*/ 39750 w 39624"/>
              <a:gd name="T67" fmla="*/ 279174 h 289560"/>
              <a:gd name="T68" fmla="*/ 12230 w 39624"/>
              <a:gd name="T69" fmla="*/ 6070 h 289560"/>
              <a:gd name="T70" fmla="*/ 6116 w 39624"/>
              <a:gd name="T71" fmla="*/ 12125 h 289560"/>
              <a:gd name="T72" fmla="*/ 12230 w 39624"/>
              <a:gd name="T73" fmla="*/ 12125 h 289560"/>
              <a:gd name="T74" fmla="*/ 12230 w 39624"/>
              <a:gd name="T75" fmla="*/ 6070 h 289560"/>
              <a:gd name="T76" fmla="*/ 30577 w 39624"/>
              <a:gd name="T77" fmla="*/ 6070 h 289560"/>
              <a:gd name="T78" fmla="*/ 12230 w 39624"/>
              <a:gd name="T79" fmla="*/ 6070 h 289560"/>
              <a:gd name="T80" fmla="*/ 12230 w 39624"/>
              <a:gd name="T81" fmla="*/ 12125 h 289560"/>
              <a:gd name="T82" fmla="*/ 30577 w 39624"/>
              <a:gd name="T83" fmla="*/ 12125 h 289560"/>
              <a:gd name="T84" fmla="*/ 30577 w 39624"/>
              <a:gd name="T85" fmla="*/ 6070 h 289560"/>
              <a:gd name="T86" fmla="*/ 39750 w 39624"/>
              <a:gd name="T87" fmla="*/ 6070 h 289560"/>
              <a:gd name="T88" fmla="*/ 30577 w 39624"/>
              <a:gd name="T89" fmla="*/ 6070 h 289560"/>
              <a:gd name="T90" fmla="*/ 33634 w 39624"/>
              <a:gd name="T91" fmla="*/ 12125 h 289560"/>
              <a:gd name="T92" fmla="*/ 39750 w 39624"/>
              <a:gd name="T93" fmla="*/ 12125 h 289560"/>
              <a:gd name="T94" fmla="*/ 39750 w 39624"/>
              <a:gd name="T95" fmla="*/ 6070 h 28956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9624" h="289560">
                <a:moveTo>
                  <a:pt x="39624" y="0"/>
                </a:moveTo>
                <a:lnTo>
                  <a:pt x="0" y="0"/>
                </a:lnTo>
                <a:lnTo>
                  <a:pt x="0" y="289560"/>
                </a:lnTo>
                <a:lnTo>
                  <a:pt x="39624" y="289560"/>
                </a:lnTo>
                <a:lnTo>
                  <a:pt x="39624" y="283451"/>
                </a:lnTo>
                <a:lnTo>
                  <a:pt x="12192" y="283451"/>
                </a:lnTo>
                <a:lnTo>
                  <a:pt x="6096" y="280403"/>
                </a:lnTo>
                <a:lnTo>
                  <a:pt x="12192" y="280403"/>
                </a:lnTo>
                <a:lnTo>
                  <a:pt x="12192" y="12179"/>
                </a:lnTo>
                <a:lnTo>
                  <a:pt x="6096" y="12179"/>
                </a:lnTo>
                <a:lnTo>
                  <a:pt x="12192" y="6096"/>
                </a:lnTo>
                <a:lnTo>
                  <a:pt x="39624" y="6096"/>
                </a:lnTo>
                <a:lnTo>
                  <a:pt x="39624" y="0"/>
                </a:lnTo>
                <a:close/>
              </a:path>
              <a:path w="39624" h="289560">
                <a:moveTo>
                  <a:pt x="12192" y="280403"/>
                </a:moveTo>
                <a:lnTo>
                  <a:pt x="6096" y="280403"/>
                </a:lnTo>
                <a:lnTo>
                  <a:pt x="12192" y="283451"/>
                </a:lnTo>
                <a:lnTo>
                  <a:pt x="12192" y="280403"/>
                </a:lnTo>
                <a:close/>
              </a:path>
              <a:path w="39624" h="289560">
                <a:moveTo>
                  <a:pt x="30480" y="280403"/>
                </a:moveTo>
                <a:lnTo>
                  <a:pt x="12192" y="280403"/>
                </a:lnTo>
                <a:lnTo>
                  <a:pt x="12192" y="283451"/>
                </a:lnTo>
                <a:lnTo>
                  <a:pt x="30480" y="283451"/>
                </a:lnTo>
                <a:lnTo>
                  <a:pt x="30480" y="280403"/>
                </a:lnTo>
                <a:close/>
              </a:path>
              <a:path w="39624" h="289560">
                <a:moveTo>
                  <a:pt x="30480" y="6096"/>
                </a:moveTo>
                <a:lnTo>
                  <a:pt x="30480" y="283451"/>
                </a:lnTo>
                <a:lnTo>
                  <a:pt x="33528" y="280403"/>
                </a:lnTo>
                <a:lnTo>
                  <a:pt x="39624" y="280403"/>
                </a:lnTo>
                <a:lnTo>
                  <a:pt x="39624" y="12179"/>
                </a:lnTo>
                <a:lnTo>
                  <a:pt x="33528" y="12179"/>
                </a:lnTo>
                <a:lnTo>
                  <a:pt x="30480" y="6096"/>
                </a:lnTo>
                <a:close/>
              </a:path>
              <a:path w="39624" h="289560">
                <a:moveTo>
                  <a:pt x="39624" y="280403"/>
                </a:moveTo>
                <a:lnTo>
                  <a:pt x="33528" y="280403"/>
                </a:lnTo>
                <a:lnTo>
                  <a:pt x="30480" y="283451"/>
                </a:lnTo>
                <a:lnTo>
                  <a:pt x="39624" y="283451"/>
                </a:lnTo>
                <a:lnTo>
                  <a:pt x="39624" y="280403"/>
                </a:lnTo>
                <a:close/>
              </a:path>
              <a:path w="39624" h="289560">
                <a:moveTo>
                  <a:pt x="12192" y="6096"/>
                </a:moveTo>
                <a:lnTo>
                  <a:pt x="6096" y="12179"/>
                </a:lnTo>
                <a:lnTo>
                  <a:pt x="12192" y="12179"/>
                </a:lnTo>
                <a:lnTo>
                  <a:pt x="12192" y="6096"/>
                </a:lnTo>
                <a:close/>
              </a:path>
              <a:path w="39624" h="289560">
                <a:moveTo>
                  <a:pt x="30480" y="6096"/>
                </a:moveTo>
                <a:lnTo>
                  <a:pt x="12192" y="6096"/>
                </a:lnTo>
                <a:lnTo>
                  <a:pt x="12192" y="12179"/>
                </a:lnTo>
                <a:lnTo>
                  <a:pt x="30480" y="12179"/>
                </a:lnTo>
                <a:lnTo>
                  <a:pt x="30480" y="6096"/>
                </a:lnTo>
                <a:close/>
              </a:path>
              <a:path w="39624" h="289560">
                <a:moveTo>
                  <a:pt x="39624" y="6096"/>
                </a:moveTo>
                <a:lnTo>
                  <a:pt x="30480" y="6096"/>
                </a:lnTo>
                <a:lnTo>
                  <a:pt x="33528" y="12179"/>
                </a:lnTo>
                <a:lnTo>
                  <a:pt x="39624" y="12179"/>
                </a:lnTo>
                <a:lnTo>
                  <a:pt x="39624" y="6096"/>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59" name="object 68">
            <a:extLst>
              <a:ext uri="{FF2B5EF4-FFF2-40B4-BE49-F238E27FC236}">
                <a16:creationId xmlns:a16="http://schemas.microsoft.com/office/drawing/2014/main" id="{CB4EDA40-733E-4E6B-BF2E-D75C84DEC071}"/>
              </a:ext>
            </a:extLst>
          </p:cNvPr>
          <p:cNvSpPr>
            <a:spLocks/>
          </p:cNvSpPr>
          <p:nvPr/>
        </p:nvSpPr>
        <p:spPr bwMode="auto">
          <a:xfrm>
            <a:off x="5401193" y="2689515"/>
            <a:ext cx="42863" cy="7937"/>
          </a:xfrm>
          <a:custGeom>
            <a:avLst/>
            <a:gdLst>
              <a:gd name="T0" fmla="*/ 0 w 42672"/>
              <a:gd name="T1" fmla="*/ 3445 h 9144"/>
              <a:gd name="T2" fmla="*/ 43055 w 42672"/>
              <a:gd name="T3" fmla="*/ 3445 h 9144"/>
              <a:gd name="T4" fmla="*/ 0 60000 65536"/>
              <a:gd name="T5" fmla="*/ 0 60000 65536"/>
            </a:gdLst>
            <a:ahLst/>
            <a:cxnLst>
              <a:cxn ang="T4">
                <a:pos x="T0" y="T1"/>
              </a:cxn>
              <a:cxn ang="T5">
                <a:pos x="T2" y="T3"/>
              </a:cxn>
            </a:cxnLst>
            <a:rect l="0" t="0" r="r" b="b"/>
            <a:pathLst>
              <a:path w="42672" h="9144">
                <a:moveTo>
                  <a:pt x="0" y="4572"/>
                </a:moveTo>
                <a:lnTo>
                  <a:pt x="42672" y="4572"/>
                </a:lnTo>
              </a:path>
            </a:pathLst>
          </a:custGeom>
          <a:noFill/>
          <a:ln w="10414">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60" name="object 69">
            <a:extLst>
              <a:ext uri="{FF2B5EF4-FFF2-40B4-BE49-F238E27FC236}">
                <a16:creationId xmlns:a16="http://schemas.microsoft.com/office/drawing/2014/main" id="{56902209-3F79-4259-8209-BB11B62E4E5B}"/>
              </a:ext>
            </a:extLst>
          </p:cNvPr>
          <p:cNvSpPr>
            <a:spLocks/>
          </p:cNvSpPr>
          <p:nvPr/>
        </p:nvSpPr>
        <p:spPr bwMode="auto">
          <a:xfrm>
            <a:off x="5425006" y="2892715"/>
            <a:ext cx="19050" cy="46037"/>
          </a:xfrm>
          <a:custGeom>
            <a:avLst/>
            <a:gdLst>
              <a:gd name="T0" fmla="*/ 0 w 18287"/>
              <a:gd name="T1" fmla="*/ 23184 h 45707"/>
              <a:gd name="T2" fmla="*/ 19845 w 18287"/>
              <a:gd name="T3" fmla="*/ 23184 h 45707"/>
              <a:gd name="T4" fmla="*/ 0 60000 65536"/>
              <a:gd name="T5" fmla="*/ 0 60000 65536"/>
            </a:gdLst>
            <a:ahLst/>
            <a:cxnLst>
              <a:cxn ang="T4">
                <a:pos x="T0" y="T1"/>
              </a:cxn>
              <a:cxn ang="T5">
                <a:pos x="T2" y="T3"/>
              </a:cxn>
            </a:cxnLst>
            <a:rect l="0" t="0" r="r" b="b"/>
            <a:pathLst>
              <a:path w="18287" h="45707">
                <a:moveTo>
                  <a:pt x="0" y="22853"/>
                </a:moveTo>
                <a:lnTo>
                  <a:pt x="18287" y="22853"/>
                </a:lnTo>
              </a:path>
            </a:pathLst>
          </a:custGeom>
          <a:noFill/>
          <a:ln w="46977">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61" name="object 70">
            <a:extLst>
              <a:ext uri="{FF2B5EF4-FFF2-40B4-BE49-F238E27FC236}">
                <a16:creationId xmlns:a16="http://schemas.microsoft.com/office/drawing/2014/main" id="{96C4CE73-3D71-4078-8F7E-93F7766EF2A1}"/>
              </a:ext>
            </a:extLst>
          </p:cNvPr>
          <p:cNvSpPr>
            <a:spLocks/>
          </p:cNvSpPr>
          <p:nvPr/>
        </p:nvSpPr>
        <p:spPr bwMode="auto">
          <a:xfrm>
            <a:off x="5418656" y="2902240"/>
            <a:ext cx="6350" cy="6350"/>
          </a:xfrm>
          <a:custGeom>
            <a:avLst/>
            <a:gdLst>
              <a:gd name="T0" fmla="*/ 0 w 6083"/>
              <a:gd name="T1" fmla="*/ 3307 h 6096"/>
              <a:gd name="T2" fmla="*/ 6629 w 6083"/>
              <a:gd name="T3" fmla="*/ 3307 h 6096"/>
              <a:gd name="T4" fmla="*/ 0 60000 65536"/>
              <a:gd name="T5" fmla="*/ 0 60000 65536"/>
            </a:gdLst>
            <a:ahLst/>
            <a:cxnLst>
              <a:cxn ang="T4">
                <a:pos x="T0" y="T1"/>
              </a:cxn>
              <a:cxn ang="T5">
                <a:pos x="T2" y="T3"/>
              </a:cxn>
            </a:cxnLst>
            <a:rect l="0" t="0" r="r" b="b"/>
            <a:pathLst>
              <a:path w="6083" h="6096">
                <a:moveTo>
                  <a:pt x="0" y="3048"/>
                </a:moveTo>
                <a:lnTo>
                  <a:pt x="6083" y="3048"/>
                </a:lnTo>
              </a:path>
            </a:pathLst>
          </a:custGeom>
          <a:noFill/>
          <a:ln w="7366">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62" name="object 71">
            <a:extLst>
              <a:ext uri="{FF2B5EF4-FFF2-40B4-BE49-F238E27FC236}">
                <a16:creationId xmlns:a16="http://schemas.microsoft.com/office/drawing/2014/main" id="{EEC61736-485A-42CB-B753-5D215B350A20}"/>
              </a:ext>
            </a:extLst>
          </p:cNvPr>
          <p:cNvSpPr>
            <a:spLocks/>
          </p:cNvSpPr>
          <p:nvPr/>
        </p:nvSpPr>
        <p:spPr bwMode="auto">
          <a:xfrm>
            <a:off x="5418656" y="2924465"/>
            <a:ext cx="6350" cy="4762"/>
          </a:xfrm>
          <a:custGeom>
            <a:avLst/>
            <a:gdLst>
              <a:gd name="T0" fmla="*/ 0 w 6083"/>
              <a:gd name="T1" fmla="*/ 1860 h 6096"/>
              <a:gd name="T2" fmla="*/ 6629 w 6083"/>
              <a:gd name="T3" fmla="*/ 1860 h 6096"/>
              <a:gd name="T4" fmla="*/ 0 60000 65536"/>
              <a:gd name="T5" fmla="*/ 0 60000 65536"/>
            </a:gdLst>
            <a:ahLst/>
            <a:cxnLst>
              <a:cxn ang="T4">
                <a:pos x="T0" y="T1"/>
              </a:cxn>
              <a:cxn ang="T5">
                <a:pos x="T2" y="T3"/>
              </a:cxn>
            </a:cxnLst>
            <a:rect l="0" t="0" r="r" b="b"/>
            <a:pathLst>
              <a:path w="6083" h="6096">
                <a:moveTo>
                  <a:pt x="0" y="3048"/>
                </a:moveTo>
                <a:lnTo>
                  <a:pt x="6083" y="3048"/>
                </a:lnTo>
              </a:path>
            </a:pathLst>
          </a:custGeom>
          <a:noFill/>
          <a:ln w="7366">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63" name="object 72">
            <a:extLst>
              <a:ext uri="{FF2B5EF4-FFF2-40B4-BE49-F238E27FC236}">
                <a16:creationId xmlns:a16="http://schemas.microsoft.com/office/drawing/2014/main" id="{BA90FE53-99F6-4C8E-A44D-1C2815ACAA4C}"/>
              </a:ext>
            </a:extLst>
          </p:cNvPr>
          <p:cNvSpPr>
            <a:spLocks/>
          </p:cNvSpPr>
          <p:nvPr/>
        </p:nvSpPr>
        <p:spPr bwMode="auto">
          <a:xfrm>
            <a:off x="5480568" y="2914940"/>
            <a:ext cx="20638" cy="23812"/>
          </a:xfrm>
          <a:custGeom>
            <a:avLst/>
            <a:gdLst>
              <a:gd name="T0" fmla="*/ 0 w 21323"/>
              <a:gd name="T1" fmla="*/ 11627 h 24384"/>
              <a:gd name="T2" fmla="*/ 19975 w 21323"/>
              <a:gd name="T3" fmla="*/ 11627 h 24384"/>
              <a:gd name="T4" fmla="*/ 0 60000 65536"/>
              <a:gd name="T5" fmla="*/ 0 60000 65536"/>
            </a:gdLst>
            <a:ahLst/>
            <a:cxnLst>
              <a:cxn ang="T4">
                <a:pos x="T0" y="T1"/>
              </a:cxn>
              <a:cxn ang="T5">
                <a:pos x="T2" y="T3"/>
              </a:cxn>
            </a:cxnLst>
            <a:rect l="0" t="0" r="r" b="b"/>
            <a:pathLst>
              <a:path w="21323" h="24384">
                <a:moveTo>
                  <a:pt x="0" y="12192"/>
                </a:moveTo>
                <a:lnTo>
                  <a:pt x="21323" y="12192"/>
                </a:lnTo>
              </a:path>
            </a:pathLst>
          </a:custGeom>
          <a:noFill/>
          <a:ln w="25654">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64" name="object 73">
            <a:extLst>
              <a:ext uri="{FF2B5EF4-FFF2-40B4-BE49-F238E27FC236}">
                <a16:creationId xmlns:a16="http://schemas.microsoft.com/office/drawing/2014/main" id="{4E1873E1-89CA-41E8-BE65-8FBA3B37B776}"/>
              </a:ext>
            </a:extLst>
          </p:cNvPr>
          <p:cNvSpPr>
            <a:spLocks/>
          </p:cNvSpPr>
          <p:nvPr/>
        </p:nvSpPr>
        <p:spPr bwMode="auto">
          <a:xfrm>
            <a:off x="5474218" y="2924465"/>
            <a:ext cx="6350" cy="4762"/>
          </a:xfrm>
          <a:custGeom>
            <a:avLst/>
            <a:gdLst>
              <a:gd name="T0" fmla="*/ 0 w 6096"/>
              <a:gd name="T1" fmla="*/ 1860 h 6096"/>
              <a:gd name="T2" fmla="*/ 6615 w 6096"/>
              <a:gd name="T3" fmla="*/ 1860 h 6096"/>
              <a:gd name="T4" fmla="*/ 0 60000 65536"/>
              <a:gd name="T5" fmla="*/ 0 60000 65536"/>
            </a:gdLst>
            <a:ahLst/>
            <a:cxnLst>
              <a:cxn ang="T4">
                <a:pos x="T0" y="T1"/>
              </a:cxn>
              <a:cxn ang="T5">
                <a:pos x="T2" y="T3"/>
              </a:cxn>
            </a:cxnLst>
            <a:rect l="0" t="0" r="r" b="b"/>
            <a:pathLst>
              <a:path w="6096" h="6096">
                <a:moveTo>
                  <a:pt x="0" y="3048"/>
                </a:moveTo>
                <a:lnTo>
                  <a:pt x="6096" y="3048"/>
                </a:lnTo>
              </a:path>
            </a:pathLst>
          </a:custGeom>
          <a:noFill/>
          <a:ln w="7366">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65" name="object 74">
            <a:extLst>
              <a:ext uri="{FF2B5EF4-FFF2-40B4-BE49-F238E27FC236}">
                <a16:creationId xmlns:a16="http://schemas.microsoft.com/office/drawing/2014/main" id="{80E70591-72E5-4EEE-8B4A-8F948D34B1EA}"/>
              </a:ext>
            </a:extLst>
          </p:cNvPr>
          <p:cNvSpPr>
            <a:spLocks/>
          </p:cNvSpPr>
          <p:nvPr/>
        </p:nvSpPr>
        <p:spPr bwMode="auto">
          <a:xfrm>
            <a:off x="5404368" y="2706977"/>
            <a:ext cx="42863" cy="39688"/>
          </a:xfrm>
          <a:custGeom>
            <a:avLst/>
            <a:gdLst>
              <a:gd name="T0" fmla="*/ 40003 w 42659"/>
              <a:gd name="T1" fmla="*/ 0 h 39611"/>
              <a:gd name="T2" fmla="*/ 3065 w 42659"/>
              <a:gd name="T3" fmla="*/ 0 h 39611"/>
              <a:gd name="T4" fmla="*/ 0 w 42659"/>
              <a:gd name="T5" fmla="*/ 3060 h 39611"/>
              <a:gd name="T6" fmla="*/ 0 w 42659"/>
              <a:gd name="T7" fmla="*/ 36705 h 39611"/>
              <a:gd name="T8" fmla="*/ 3065 w 42659"/>
              <a:gd name="T9" fmla="*/ 39765 h 39611"/>
              <a:gd name="T10" fmla="*/ 40003 w 42659"/>
              <a:gd name="T11" fmla="*/ 39765 h 39611"/>
              <a:gd name="T12" fmla="*/ 43068 w 42659"/>
              <a:gd name="T13" fmla="*/ 36705 h 39611"/>
              <a:gd name="T14" fmla="*/ 43068 w 42659"/>
              <a:gd name="T15" fmla="*/ 3060 h 39611"/>
              <a:gd name="T16" fmla="*/ 40003 w 42659"/>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659" h="39611">
                <a:moveTo>
                  <a:pt x="39624" y="0"/>
                </a:moveTo>
                <a:lnTo>
                  <a:pt x="3035" y="0"/>
                </a:lnTo>
                <a:lnTo>
                  <a:pt x="0" y="3048"/>
                </a:lnTo>
                <a:lnTo>
                  <a:pt x="0" y="36563"/>
                </a:lnTo>
                <a:lnTo>
                  <a:pt x="3035" y="39611"/>
                </a:lnTo>
                <a:lnTo>
                  <a:pt x="39624" y="39611"/>
                </a:lnTo>
                <a:lnTo>
                  <a:pt x="42659" y="36563"/>
                </a:lnTo>
                <a:lnTo>
                  <a:pt x="42659" y="3048"/>
                </a:lnTo>
                <a:lnTo>
                  <a:pt x="39624"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66" name="object 75">
            <a:extLst>
              <a:ext uri="{FF2B5EF4-FFF2-40B4-BE49-F238E27FC236}">
                <a16:creationId xmlns:a16="http://schemas.microsoft.com/office/drawing/2014/main" id="{89F586EE-20B7-490B-A977-0C3339FEDDC9}"/>
              </a:ext>
            </a:extLst>
          </p:cNvPr>
          <p:cNvSpPr>
            <a:spLocks/>
          </p:cNvSpPr>
          <p:nvPr/>
        </p:nvSpPr>
        <p:spPr bwMode="auto">
          <a:xfrm>
            <a:off x="5410718" y="2713327"/>
            <a:ext cx="30163" cy="30163"/>
          </a:xfrm>
          <a:custGeom>
            <a:avLst/>
            <a:gdLst>
              <a:gd name="T0" fmla="*/ 26867 w 30479"/>
              <a:gd name="T1" fmla="*/ 0 h 30467"/>
              <a:gd name="T2" fmla="*/ 0 w 30479"/>
              <a:gd name="T3" fmla="*/ 0 h 30467"/>
              <a:gd name="T4" fmla="*/ 0 w 30479"/>
              <a:gd name="T5" fmla="*/ 29862 h 30467"/>
              <a:gd name="T6" fmla="*/ 26867 w 30479"/>
              <a:gd name="T7" fmla="*/ 29862 h 30467"/>
              <a:gd name="T8" fmla="*/ 29851 w 30479"/>
              <a:gd name="T9" fmla="*/ 26887 h 30467"/>
              <a:gd name="T10" fmla="*/ 29851 w 30479"/>
              <a:gd name="T11" fmla="*/ 2988 h 30467"/>
              <a:gd name="T12" fmla="*/ 26867 w 30479"/>
              <a:gd name="T13" fmla="*/ 0 h 3046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479" h="30467">
                <a:moveTo>
                  <a:pt x="27432" y="0"/>
                </a:moveTo>
                <a:lnTo>
                  <a:pt x="0" y="0"/>
                </a:lnTo>
                <a:lnTo>
                  <a:pt x="0" y="30467"/>
                </a:lnTo>
                <a:lnTo>
                  <a:pt x="27432" y="30467"/>
                </a:lnTo>
                <a:lnTo>
                  <a:pt x="30480" y="27432"/>
                </a:lnTo>
                <a:lnTo>
                  <a:pt x="30480" y="3048"/>
                </a:lnTo>
                <a:lnTo>
                  <a:pt x="27432"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67" name="object 76">
            <a:extLst>
              <a:ext uri="{FF2B5EF4-FFF2-40B4-BE49-F238E27FC236}">
                <a16:creationId xmlns:a16="http://schemas.microsoft.com/office/drawing/2014/main" id="{EDD900AC-985D-4FE1-A6AA-23DD8F974F08}"/>
              </a:ext>
            </a:extLst>
          </p:cNvPr>
          <p:cNvSpPr>
            <a:spLocks/>
          </p:cNvSpPr>
          <p:nvPr/>
        </p:nvSpPr>
        <p:spPr bwMode="auto">
          <a:xfrm>
            <a:off x="5407543" y="2710152"/>
            <a:ext cx="36513" cy="36513"/>
          </a:xfrm>
          <a:custGeom>
            <a:avLst/>
            <a:gdLst>
              <a:gd name="T0" fmla="*/ 33414 w 36575"/>
              <a:gd name="T1" fmla="*/ 33423 h 36563"/>
              <a:gd name="T2" fmla="*/ 3038 w 36575"/>
              <a:gd name="T3" fmla="*/ 33423 h 36563"/>
              <a:gd name="T4" fmla="*/ 6076 w 36575"/>
              <a:gd name="T5" fmla="*/ 36463 h 36563"/>
              <a:gd name="T6" fmla="*/ 30376 w 36575"/>
              <a:gd name="T7" fmla="*/ 36463 h 36563"/>
              <a:gd name="T8" fmla="*/ 33414 w 36575"/>
              <a:gd name="T9" fmla="*/ 33423 h 36563"/>
              <a:gd name="T10" fmla="*/ 36452 w 36575"/>
              <a:gd name="T11" fmla="*/ 3040 h 36563"/>
              <a:gd name="T12" fmla="*/ 0 w 36575"/>
              <a:gd name="T13" fmla="*/ 3040 h 36563"/>
              <a:gd name="T14" fmla="*/ 0 w 36575"/>
              <a:gd name="T15" fmla="*/ 33423 h 36563"/>
              <a:gd name="T16" fmla="*/ 36452 w 36575"/>
              <a:gd name="T17" fmla="*/ 33423 h 36563"/>
              <a:gd name="T18" fmla="*/ 36452 w 36575"/>
              <a:gd name="T19" fmla="*/ 30396 h 36563"/>
              <a:gd name="T20" fmla="*/ 6076 w 36575"/>
              <a:gd name="T21" fmla="*/ 30396 h 36563"/>
              <a:gd name="T22" fmla="*/ 6076 w 36575"/>
              <a:gd name="T23" fmla="*/ 6080 h 36563"/>
              <a:gd name="T24" fmla="*/ 36452 w 36575"/>
              <a:gd name="T25" fmla="*/ 6080 h 36563"/>
              <a:gd name="T26" fmla="*/ 36452 w 36575"/>
              <a:gd name="T27" fmla="*/ 3040 h 36563"/>
              <a:gd name="T28" fmla="*/ 6076 w 36575"/>
              <a:gd name="T29" fmla="*/ 27345 h 36563"/>
              <a:gd name="T30" fmla="*/ 6076 w 36575"/>
              <a:gd name="T31" fmla="*/ 30396 h 36563"/>
              <a:gd name="T32" fmla="*/ 9113 w 36575"/>
              <a:gd name="T33" fmla="*/ 30396 h 36563"/>
              <a:gd name="T34" fmla="*/ 6076 w 36575"/>
              <a:gd name="T35" fmla="*/ 27345 h 36563"/>
              <a:gd name="T36" fmla="*/ 30376 w 36575"/>
              <a:gd name="T37" fmla="*/ 27345 h 36563"/>
              <a:gd name="T38" fmla="*/ 27339 w 36575"/>
              <a:gd name="T39" fmla="*/ 30396 h 36563"/>
              <a:gd name="T40" fmla="*/ 30376 w 36575"/>
              <a:gd name="T41" fmla="*/ 30396 h 36563"/>
              <a:gd name="T42" fmla="*/ 30376 w 36575"/>
              <a:gd name="T43" fmla="*/ 27345 h 36563"/>
              <a:gd name="T44" fmla="*/ 36452 w 36575"/>
              <a:gd name="T45" fmla="*/ 6080 h 36563"/>
              <a:gd name="T46" fmla="*/ 30376 w 36575"/>
              <a:gd name="T47" fmla="*/ 6080 h 36563"/>
              <a:gd name="T48" fmla="*/ 30376 w 36575"/>
              <a:gd name="T49" fmla="*/ 30396 h 36563"/>
              <a:gd name="T50" fmla="*/ 36452 w 36575"/>
              <a:gd name="T51" fmla="*/ 30396 h 36563"/>
              <a:gd name="T52" fmla="*/ 36452 w 36575"/>
              <a:gd name="T53" fmla="*/ 6080 h 36563"/>
              <a:gd name="T54" fmla="*/ 30376 w 36575"/>
              <a:gd name="T55" fmla="*/ 0 h 36563"/>
              <a:gd name="T56" fmla="*/ 6076 w 36575"/>
              <a:gd name="T57" fmla="*/ 0 h 36563"/>
              <a:gd name="T58" fmla="*/ 3038 w 36575"/>
              <a:gd name="T59" fmla="*/ 3040 h 36563"/>
              <a:gd name="T60" fmla="*/ 33414 w 36575"/>
              <a:gd name="T61" fmla="*/ 3040 h 36563"/>
              <a:gd name="T62" fmla="*/ 30376 w 36575"/>
              <a:gd name="T63" fmla="*/ 0 h 365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6575" h="36563">
                <a:moveTo>
                  <a:pt x="33528" y="33515"/>
                </a:moveTo>
                <a:lnTo>
                  <a:pt x="3048" y="33515"/>
                </a:lnTo>
                <a:lnTo>
                  <a:pt x="6096" y="36563"/>
                </a:lnTo>
                <a:lnTo>
                  <a:pt x="30480" y="36563"/>
                </a:lnTo>
                <a:lnTo>
                  <a:pt x="33528" y="33515"/>
                </a:lnTo>
                <a:close/>
              </a:path>
              <a:path w="36575" h="36563">
                <a:moveTo>
                  <a:pt x="36576" y="3048"/>
                </a:moveTo>
                <a:lnTo>
                  <a:pt x="0" y="3048"/>
                </a:lnTo>
                <a:lnTo>
                  <a:pt x="0" y="33515"/>
                </a:lnTo>
                <a:lnTo>
                  <a:pt x="36576" y="33515"/>
                </a:lnTo>
                <a:lnTo>
                  <a:pt x="36576" y="30480"/>
                </a:lnTo>
                <a:lnTo>
                  <a:pt x="6096" y="30480"/>
                </a:lnTo>
                <a:lnTo>
                  <a:pt x="6096" y="6096"/>
                </a:lnTo>
                <a:lnTo>
                  <a:pt x="36576" y="6096"/>
                </a:lnTo>
                <a:lnTo>
                  <a:pt x="36576" y="3048"/>
                </a:lnTo>
                <a:close/>
              </a:path>
              <a:path w="36575" h="36563">
                <a:moveTo>
                  <a:pt x="6096" y="27419"/>
                </a:moveTo>
                <a:lnTo>
                  <a:pt x="6096" y="30480"/>
                </a:lnTo>
                <a:lnTo>
                  <a:pt x="9144" y="30480"/>
                </a:lnTo>
                <a:lnTo>
                  <a:pt x="6096" y="27419"/>
                </a:lnTo>
                <a:close/>
              </a:path>
              <a:path w="36575" h="36563">
                <a:moveTo>
                  <a:pt x="30480" y="27419"/>
                </a:moveTo>
                <a:lnTo>
                  <a:pt x="27432" y="30480"/>
                </a:lnTo>
                <a:lnTo>
                  <a:pt x="30480" y="30480"/>
                </a:lnTo>
                <a:lnTo>
                  <a:pt x="30480" y="27419"/>
                </a:lnTo>
                <a:close/>
              </a:path>
              <a:path w="36575" h="36563">
                <a:moveTo>
                  <a:pt x="36576" y="6096"/>
                </a:moveTo>
                <a:lnTo>
                  <a:pt x="30480" y="6096"/>
                </a:lnTo>
                <a:lnTo>
                  <a:pt x="30480" y="30480"/>
                </a:lnTo>
                <a:lnTo>
                  <a:pt x="36576" y="30480"/>
                </a:lnTo>
                <a:lnTo>
                  <a:pt x="36576" y="6096"/>
                </a:lnTo>
                <a:close/>
              </a:path>
              <a:path w="36575" h="36563">
                <a:moveTo>
                  <a:pt x="30480" y="0"/>
                </a:moveTo>
                <a:lnTo>
                  <a:pt x="6096" y="0"/>
                </a:lnTo>
                <a:lnTo>
                  <a:pt x="3048" y="3048"/>
                </a:lnTo>
                <a:lnTo>
                  <a:pt x="33528" y="3048"/>
                </a:lnTo>
                <a:lnTo>
                  <a:pt x="30480" y="0"/>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68" name="object 77">
            <a:extLst>
              <a:ext uri="{FF2B5EF4-FFF2-40B4-BE49-F238E27FC236}">
                <a16:creationId xmlns:a16="http://schemas.microsoft.com/office/drawing/2014/main" id="{CAB2979B-A3D3-4572-8599-3C4C427C3001}"/>
              </a:ext>
            </a:extLst>
          </p:cNvPr>
          <p:cNvSpPr>
            <a:spLocks/>
          </p:cNvSpPr>
          <p:nvPr/>
        </p:nvSpPr>
        <p:spPr bwMode="auto">
          <a:xfrm>
            <a:off x="5404368" y="2753015"/>
            <a:ext cx="42863" cy="42862"/>
          </a:xfrm>
          <a:custGeom>
            <a:avLst/>
            <a:gdLst>
              <a:gd name="T0" fmla="*/ 40003 w 42659"/>
              <a:gd name="T1" fmla="*/ 0 h 42659"/>
              <a:gd name="T2" fmla="*/ 3065 w 42659"/>
              <a:gd name="T3" fmla="*/ 0 h 42659"/>
              <a:gd name="T4" fmla="*/ 0 w 42659"/>
              <a:gd name="T5" fmla="*/ 3076 h 42659"/>
              <a:gd name="T6" fmla="*/ 0 w 42659"/>
              <a:gd name="T7" fmla="*/ 36912 h 42659"/>
              <a:gd name="T8" fmla="*/ 3065 w 42659"/>
              <a:gd name="T9" fmla="*/ 43066 h 42659"/>
              <a:gd name="T10" fmla="*/ 40003 w 42659"/>
              <a:gd name="T11" fmla="*/ 43066 h 42659"/>
              <a:gd name="T12" fmla="*/ 43068 w 42659"/>
              <a:gd name="T13" fmla="*/ 36912 h 42659"/>
              <a:gd name="T14" fmla="*/ 43068 w 42659"/>
              <a:gd name="T15" fmla="*/ 3076 h 42659"/>
              <a:gd name="T16" fmla="*/ 40003 w 42659"/>
              <a:gd name="T17" fmla="*/ 0 h 426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659" h="42659">
                <a:moveTo>
                  <a:pt x="39624" y="0"/>
                </a:moveTo>
                <a:lnTo>
                  <a:pt x="3035" y="0"/>
                </a:lnTo>
                <a:lnTo>
                  <a:pt x="0" y="3047"/>
                </a:lnTo>
                <a:lnTo>
                  <a:pt x="0" y="36563"/>
                </a:lnTo>
                <a:lnTo>
                  <a:pt x="3035" y="42659"/>
                </a:lnTo>
                <a:lnTo>
                  <a:pt x="39624" y="42659"/>
                </a:lnTo>
                <a:lnTo>
                  <a:pt x="42659" y="36563"/>
                </a:lnTo>
                <a:lnTo>
                  <a:pt x="42659" y="3047"/>
                </a:lnTo>
                <a:lnTo>
                  <a:pt x="39624"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69" name="object 78">
            <a:extLst>
              <a:ext uri="{FF2B5EF4-FFF2-40B4-BE49-F238E27FC236}">
                <a16:creationId xmlns:a16="http://schemas.microsoft.com/office/drawing/2014/main" id="{DCF95687-A0F8-4571-9967-8C46CA375ACC}"/>
              </a:ext>
            </a:extLst>
          </p:cNvPr>
          <p:cNvSpPr>
            <a:spLocks/>
          </p:cNvSpPr>
          <p:nvPr/>
        </p:nvSpPr>
        <p:spPr bwMode="auto">
          <a:xfrm>
            <a:off x="5410718" y="2759365"/>
            <a:ext cx="30163" cy="30162"/>
          </a:xfrm>
          <a:custGeom>
            <a:avLst/>
            <a:gdLst>
              <a:gd name="T0" fmla="*/ 26867 w 30479"/>
              <a:gd name="T1" fmla="*/ 0 h 30467"/>
              <a:gd name="T2" fmla="*/ 0 w 30479"/>
              <a:gd name="T3" fmla="*/ 0 h 30467"/>
              <a:gd name="T4" fmla="*/ 0 w 30479"/>
              <a:gd name="T5" fmla="*/ 29860 h 30467"/>
              <a:gd name="T6" fmla="*/ 26867 w 30479"/>
              <a:gd name="T7" fmla="*/ 29860 h 30467"/>
              <a:gd name="T8" fmla="*/ 29851 w 30479"/>
              <a:gd name="T9" fmla="*/ 26873 h 30467"/>
              <a:gd name="T10" fmla="*/ 29851 w 30479"/>
              <a:gd name="T11" fmla="*/ 2975 h 30467"/>
              <a:gd name="T12" fmla="*/ 26867 w 30479"/>
              <a:gd name="T13" fmla="*/ 0 h 3046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479" h="30467">
                <a:moveTo>
                  <a:pt x="27432" y="0"/>
                </a:moveTo>
                <a:lnTo>
                  <a:pt x="0" y="0"/>
                </a:lnTo>
                <a:lnTo>
                  <a:pt x="0" y="30467"/>
                </a:lnTo>
                <a:lnTo>
                  <a:pt x="27432" y="30467"/>
                </a:lnTo>
                <a:lnTo>
                  <a:pt x="30480" y="27419"/>
                </a:lnTo>
                <a:lnTo>
                  <a:pt x="30480" y="3035"/>
                </a:lnTo>
                <a:lnTo>
                  <a:pt x="27432"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70" name="object 79">
            <a:extLst>
              <a:ext uri="{FF2B5EF4-FFF2-40B4-BE49-F238E27FC236}">
                <a16:creationId xmlns:a16="http://schemas.microsoft.com/office/drawing/2014/main" id="{1D9FBB29-EFD4-43AD-B1E5-7CADA5E86832}"/>
              </a:ext>
            </a:extLst>
          </p:cNvPr>
          <p:cNvSpPr>
            <a:spLocks/>
          </p:cNvSpPr>
          <p:nvPr/>
        </p:nvSpPr>
        <p:spPr bwMode="auto">
          <a:xfrm>
            <a:off x="5407543" y="2756190"/>
            <a:ext cx="36513" cy="36512"/>
          </a:xfrm>
          <a:custGeom>
            <a:avLst/>
            <a:gdLst>
              <a:gd name="T0" fmla="*/ 33414 w 36575"/>
              <a:gd name="T1" fmla="*/ 33421 h 36563"/>
              <a:gd name="T2" fmla="*/ 3038 w 36575"/>
              <a:gd name="T3" fmla="*/ 33421 h 36563"/>
              <a:gd name="T4" fmla="*/ 6076 w 36575"/>
              <a:gd name="T5" fmla="*/ 36461 h 36563"/>
              <a:gd name="T6" fmla="*/ 30376 w 36575"/>
              <a:gd name="T7" fmla="*/ 36461 h 36563"/>
              <a:gd name="T8" fmla="*/ 33414 w 36575"/>
              <a:gd name="T9" fmla="*/ 33421 h 36563"/>
              <a:gd name="T10" fmla="*/ 36452 w 36575"/>
              <a:gd name="T11" fmla="*/ 3039 h 36563"/>
              <a:gd name="T12" fmla="*/ 0 w 36575"/>
              <a:gd name="T13" fmla="*/ 3039 h 36563"/>
              <a:gd name="T14" fmla="*/ 0 w 36575"/>
              <a:gd name="T15" fmla="*/ 33421 h 36563"/>
              <a:gd name="T16" fmla="*/ 36452 w 36575"/>
              <a:gd name="T17" fmla="*/ 33421 h 36563"/>
              <a:gd name="T18" fmla="*/ 36452 w 36575"/>
              <a:gd name="T19" fmla="*/ 30383 h 36563"/>
              <a:gd name="T20" fmla="*/ 6076 w 36575"/>
              <a:gd name="T21" fmla="*/ 30383 h 36563"/>
              <a:gd name="T22" fmla="*/ 6076 w 36575"/>
              <a:gd name="T23" fmla="*/ 6067 h 36563"/>
              <a:gd name="T24" fmla="*/ 36452 w 36575"/>
              <a:gd name="T25" fmla="*/ 6067 h 36563"/>
              <a:gd name="T26" fmla="*/ 36452 w 36575"/>
              <a:gd name="T27" fmla="*/ 3039 h 36563"/>
              <a:gd name="T28" fmla="*/ 36452 w 36575"/>
              <a:gd name="T29" fmla="*/ 6067 h 36563"/>
              <a:gd name="T30" fmla="*/ 30376 w 36575"/>
              <a:gd name="T31" fmla="*/ 6067 h 36563"/>
              <a:gd name="T32" fmla="*/ 30376 w 36575"/>
              <a:gd name="T33" fmla="*/ 30383 h 36563"/>
              <a:gd name="T34" fmla="*/ 36452 w 36575"/>
              <a:gd name="T35" fmla="*/ 30383 h 36563"/>
              <a:gd name="T36" fmla="*/ 36452 w 36575"/>
              <a:gd name="T37" fmla="*/ 6067 h 36563"/>
              <a:gd name="T38" fmla="*/ 9113 w 36575"/>
              <a:gd name="T39" fmla="*/ 6067 h 36563"/>
              <a:gd name="T40" fmla="*/ 6076 w 36575"/>
              <a:gd name="T41" fmla="*/ 6067 h 36563"/>
              <a:gd name="T42" fmla="*/ 6076 w 36575"/>
              <a:gd name="T43" fmla="*/ 9105 h 36563"/>
              <a:gd name="T44" fmla="*/ 9113 w 36575"/>
              <a:gd name="T45" fmla="*/ 6067 h 36563"/>
              <a:gd name="T46" fmla="*/ 30376 w 36575"/>
              <a:gd name="T47" fmla="*/ 6067 h 36563"/>
              <a:gd name="T48" fmla="*/ 27339 w 36575"/>
              <a:gd name="T49" fmla="*/ 6067 h 36563"/>
              <a:gd name="T50" fmla="*/ 30376 w 36575"/>
              <a:gd name="T51" fmla="*/ 9105 h 36563"/>
              <a:gd name="T52" fmla="*/ 30376 w 36575"/>
              <a:gd name="T53" fmla="*/ 6067 h 36563"/>
              <a:gd name="T54" fmla="*/ 30376 w 36575"/>
              <a:gd name="T55" fmla="*/ 0 h 36563"/>
              <a:gd name="T56" fmla="*/ 6076 w 36575"/>
              <a:gd name="T57" fmla="*/ 0 h 36563"/>
              <a:gd name="T58" fmla="*/ 3038 w 36575"/>
              <a:gd name="T59" fmla="*/ 3039 h 36563"/>
              <a:gd name="T60" fmla="*/ 33414 w 36575"/>
              <a:gd name="T61" fmla="*/ 3039 h 36563"/>
              <a:gd name="T62" fmla="*/ 30376 w 36575"/>
              <a:gd name="T63" fmla="*/ 0 h 365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6575" h="36563">
                <a:moveTo>
                  <a:pt x="33528" y="33515"/>
                </a:moveTo>
                <a:lnTo>
                  <a:pt x="3048" y="33515"/>
                </a:lnTo>
                <a:lnTo>
                  <a:pt x="6096" y="36563"/>
                </a:lnTo>
                <a:lnTo>
                  <a:pt x="30480" y="36563"/>
                </a:lnTo>
                <a:lnTo>
                  <a:pt x="33528" y="33515"/>
                </a:lnTo>
                <a:close/>
              </a:path>
              <a:path w="36575" h="36563">
                <a:moveTo>
                  <a:pt x="36576" y="3047"/>
                </a:moveTo>
                <a:lnTo>
                  <a:pt x="0" y="3047"/>
                </a:lnTo>
                <a:lnTo>
                  <a:pt x="0" y="33515"/>
                </a:lnTo>
                <a:lnTo>
                  <a:pt x="36576" y="33515"/>
                </a:lnTo>
                <a:lnTo>
                  <a:pt x="36576" y="30467"/>
                </a:lnTo>
                <a:lnTo>
                  <a:pt x="6096" y="30467"/>
                </a:lnTo>
                <a:lnTo>
                  <a:pt x="6096" y="6083"/>
                </a:lnTo>
                <a:lnTo>
                  <a:pt x="36576" y="6083"/>
                </a:lnTo>
                <a:lnTo>
                  <a:pt x="36576" y="3047"/>
                </a:lnTo>
                <a:close/>
              </a:path>
              <a:path w="36575" h="36563">
                <a:moveTo>
                  <a:pt x="36576" y="6083"/>
                </a:moveTo>
                <a:lnTo>
                  <a:pt x="30480" y="6083"/>
                </a:lnTo>
                <a:lnTo>
                  <a:pt x="30480" y="30467"/>
                </a:lnTo>
                <a:lnTo>
                  <a:pt x="36576" y="30467"/>
                </a:lnTo>
                <a:lnTo>
                  <a:pt x="36576" y="6083"/>
                </a:lnTo>
                <a:close/>
              </a:path>
              <a:path w="36575" h="36563">
                <a:moveTo>
                  <a:pt x="9144" y="6083"/>
                </a:moveTo>
                <a:lnTo>
                  <a:pt x="6096" y="6083"/>
                </a:lnTo>
                <a:lnTo>
                  <a:pt x="6096" y="9131"/>
                </a:lnTo>
                <a:lnTo>
                  <a:pt x="9144" y="6083"/>
                </a:lnTo>
                <a:close/>
              </a:path>
              <a:path w="36575" h="36563">
                <a:moveTo>
                  <a:pt x="30480" y="6083"/>
                </a:moveTo>
                <a:lnTo>
                  <a:pt x="27432" y="6083"/>
                </a:lnTo>
                <a:lnTo>
                  <a:pt x="30480" y="9131"/>
                </a:lnTo>
                <a:lnTo>
                  <a:pt x="30480" y="6083"/>
                </a:lnTo>
                <a:close/>
              </a:path>
              <a:path w="36575" h="36563">
                <a:moveTo>
                  <a:pt x="30480" y="0"/>
                </a:moveTo>
                <a:lnTo>
                  <a:pt x="6096" y="0"/>
                </a:lnTo>
                <a:lnTo>
                  <a:pt x="3048" y="3047"/>
                </a:lnTo>
                <a:lnTo>
                  <a:pt x="33528" y="3047"/>
                </a:lnTo>
                <a:lnTo>
                  <a:pt x="30480" y="0"/>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71" name="object 80">
            <a:extLst>
              <a:ext uri="{FF2B5EF4-FFF2-40B4-BE49-F238E27FC236}">
                <a16:creationId xmlns:a16="http://schemas.microsoft.com/office/drawing/2014/main" id="{740AA32B-72F6-49A4-B014-59C26FEF7536}"/>
              </a:ext>
            </a:extLst>
          </p:cNvPr>
          <p:cNvSpPr>
            <a:spLocks/>
          </p:cNvSpPr>
          <p:nvPr/>
        </p:nvSpPr>
        <p:spPr bwMode="auto">
          <a:xfrm>
            <a:off x="5404368" y="2799052"/>
            <a:ext cx="42863" cy="39688"/>
          </a:xfrm>
          <a:custGeom>
            <a:avLst/>
            <a:gdLst>
              <a:gd name="T0" fmla="*/ 40003 w 42659"/>
              <a:gd name="T1" fmla="*/ 0 h 39611"/>
              <a:gd name="T2" fmla="*/ 3065 w 42659"/>
              <a:gd name="T3" fmla="*/ 0 h 39611"/>
              <a:gd name="T4" fmla="*/ 0 w 42659"/>
              <a:gd name="T5" fmla="*/ 3060 h 39611"/>
              <a:gd name="T6" fmla="*/ 0 w 42659"/>
              <a:gd name="T7" fmla="*/ 36718 h 39611"/>
              <a:gd name="T8" fmla="*/ 3065 w 42659"/>
              <a:gd name="T9" fmla="*/ 39765 h 39611"/>
              <a:gd name="T10" fmla="*/ 40003 w 42659"/>
              <a:gd name="T11" fmla="*/ 39765 h 39611"/>
              <a:gd name="T12" fmla="*/ 43068 w 42659"/>
              <a:gd name="T13" fmla="*/ 36718 h 39611"/>
              <a:gd name="T14" fmla="*/ 43068 w 42659"/>
              <a:gd name="T15" fmla="*/ 3060 h 39611"/>
              <a:gd name="T16" fmla="*/ 40003 w 42659"/>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659" h="39611">
                <a:moveTo>
                  <a:pt x="39624" y="0"/>
                </a:moveTo>
                <a:lnTo>
                  <a:pt x="3035" y="0"/>
                </a:lnTo>
                <a:lnTo>
                  <a:pt x="0" y="3048"/>
                </a:lnTo>
                <a:lnTo>
                  <a:pt x="0" y="36576"/>
                </a:lnTo>
                <a:lnTo>
                  <a:pt x="3035" y="39611"/>
                </a:lnTo>
                <a:lnTo>
                  <a:pt x="39624" y="39611"/>
                </a:lnTo>
                <a:lnTo>
                  <a:pt x="42659" y="36576"/>
                </a:lnTo>
                <a:lnTo>
                  <a:pt x="42659" y="3048"/>
                </a:lnTo>
                <a:lnTo>
                  <a:pt x="39624"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72" name="object 81">
            <a:extLst>
              <a:ext uri="{FF2B5EF4-FFF2-40B4-BE49-F238E27FC236}">
                <a16:creationId xmlns:a16="http://schemas.microsoft.com/office/drawing/2014/main" id="{CFDAD5DD-D704-482B-AA64-DCF19835939A}"/>
              </a:ext>
            </a:extLst>
          </p:cNvPr>
          <p:cNvSpPr>
            <a:spLocks/>
          </p:cNvSpPr>
          <p:nvPr/>
        </p:nvSpPr>
        <p:spPr bwMode="auto">
          <a:xfrm>
            <a:off x="5410718" y="2805402"/>
            <a:ext cx="30163" cy="30163"/>
          </a:xfrm>
          <a:custGeom>
            <a:avLst/>
            <a:gdLst>
              <a:gd name="T0" fmla="*/ 26867 w 30479"/>
              <a:gd name="T1" fmla="*/ 0 h 30480"/>
              <a:gd name="T2" fmla="*/ 0 w 30479"/>
              <a:gd name="T3" fmla="*/ 0 h 30480"/>
              <a:gd name="T4" fmla="*/ 0 w 30479"/>
              <a:gd name="T5" fmla="*/ 29849 h 30480"/>
              <a:gd name="T6" fmla="*/ 26867 w 30479"/>
              <a:gd name="T7" fmla="*/ 29849 h 30480"/>
              <a:gd name="T8" fmla="*/ 29851 w 30479"/>
              <a:gd name="T9" fmla="*/ 26865 h 30480"/>
              <a:gd name="T10" fmla="*/ 29851 w 30479"/>
              <a:gd name="T11" fmla="*/ 2985 h 30480"/>
              <a:gd name="T12" fmla="*/ 26867 w 30479"/>
              <a:gd name="T13" fmla="*/ 0 h 3048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479" h="30480">
                <a:moveTo>
                  <a:pt x="27432" y="0"/>
                </a:moveTo>
                <a:lnTo>
                  <a:pt x="0" y="0"/>
                </a:lnTo>
                <a:lnTo>
                  <a:pt x="0" y="30480"/>
                </a:lnTo>
                <a:lnTo>
                  <a:pt x="27432" y="30480"/>
                </a:lnTo>
                <a:lnTo>
                  <a:pt x="30480" y="27432"/>
                </a:lnTo>
                <a:lnTo>
                  <a:pt x="30480" y="3048"/>
                </a:lnTo>
                <a:lnTo>
                  <a:pt x="27432"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73" name="object 82">
            <a:extLst>
              <a:ext uri="{FF2B5EF4-FFF2-40B4-BE49-F238E27FC236}">
                <a16:creationId xmlns:a16="http://schemas.microsoft.com/office/drawing/2014/main" id="{7C424606-3A35-4740-ABC5-3B878EB8D09A}"/>
              </a:ext>
            </a:extLst>
          </p:cNvPr>
          <p:cNvSpPr>
            <a:spLocks/>
          </p:cNvSpPr>
          <p:nvPr/>
        </p:nvSpPr>
        <p:spPr bwMode="auto">
          <a:xfrm>
            <a:off x="5407543" y="2802227"/>
            <a:ext cx="36513" cy="36513"/>
          </a:xfrm>
          <a:custGeom>
            <a:avLst/>
            <a:gdLst>
              <a:gd name="T0" fmla="*/ 33414 w 36575"/>
              <a:gd name="T1" fmla="*/ 33436 h 36563"/>
              <a:gd name="T2" fmla="*/ 3038 w 36575"/>
              <a:gd name="T3" fmla="*/ 33436 h 36563"/>
              <a:gd name="T4" fmla="*/ 6076 w 36575"/>
              <a:gd name="T5" fmla="*/ 36463 h 36563"/>
              <a:gd name="T6" fmla="*/ 30376 w 36575"/>
              <a:gd name="T7" fmla="*/ 36463 h 36563"/>
              <a:gd name="T8" fmla="*/ 33414 w 36575"/>
              <a:gd name="T9" fmla="*/ 33436 h 36563"/>
              <a:gd name="T10" fmla="*/ 33414 w 36575"/>
              <a:gd name="T11" fmla="*/ 0 h 36563"/>
              <a:gd name="T12" fmla="*/ 3038 w 36575"/>
              <a:gd name="T13" fmla="*/ 0 h 36563"/>
              <a:gd name="T14" fmla="*/ 0 w 36575"/>
              <a:gd name="T15" fmla="*/ 3040 h 36563"/>
              <a:gd name="T16" fmla="*/ 0 w 36575"/>
              <a:gd name="T17" fmla="*/ 33436 h 36563"/>
              <a:gd name="T18" fmla="*/ 36452 w 36575"/>
              <a:gd name="T19" fmla="*/ 33436 h 36563"/>
              <a:gd name="T20" fmla="*/ 36452 w 36575"/>
              <a:gd name="T21" fmla="*/ 30396 h 36563"/>
              <a:gd name="T22" fmla="*/ 6076 w 36575"/>
              <a:gd name="T23" fmla="*/ 30396 h 36563"/>
              <a:gd name="T24" fmla="*/ 6076 w 36575"/>
              <a:gd name="T25" fmla="*/ 6080 h 36563"/>
              <a:gd name="T26" fmla="*/ 36452 w 36575"/>
              <a:gd name="T27" fmla="*/ 6080 h 36563"/>
              <a:gd name="T28" fmla="*/ 36452 w 36575"/>
              <a:gd name="T29" fmla="*/ 3040 h 36563"/>
              <a:gd name="T30" fmla="*/ 33414 w 36575"/>
              <a:gd name="T31" fmla="*/ 0 h 36563"/>
              <a:gd name="T32" fmla="*/ 6076 w 36575"/>
              <a:gd name="T33" fmla="*/ 27345 h 36563"/>
              <a:gd name="T34" fmla="*/ 6076 w 36575"/>
              <a:gd name="T35" fmla="*/ 30396 h 36563"/>
              <a:gd name="T36" fmla="*/ 9113 w 36575"/>
              <a:gd name="T37" fmla="*/ 30396 h 36563"/>
              <a:gd name="T38" fmla="*/ 6076 w 36575"/>
              <a:gd name="T39" fmla="*/ 27345 h 36563"/>
              <a:gd name="T40" fmla="*/ 30376 w 36575"/>
              <a:gd name="T41" fmla="*/ 27345 h 36563"/>
              <a:gd name="T42" fmla="*/ 27339 w 36575"/>
              <a:gd name="T43" fmla="*/ 30396 h 36563"/>
              <a:gd name="T44" fmla="*/ 30376 w 36575"/>
              <a:gd name="T45" fmla="*/ 30396 h 36563"/>
              <a:gd name="T46" fmla="*/ 30376 w 36575"/>
              <a:gd name="T47" fmla="*/ 27345 h 36563"/>
              <a:gd name="T48" fmla="*/ 36452 w 36575"/>
              <a:gd name="T49" fmla="*/ 6080 h 36563"/>
              <a:gd name="T50" fmla="*/ 30376 w 36575"/>
              <a:gd name="T51" fmla="*/ 6080 h 36563"/>
              <a:gd name="T52" fmla="*/ 30376 w 36575"/>
              <a:gd name="T53" fmla="*/ 30396 h 36563"/>
              <a:gd name="T54" fmla="*/ 36452 w 36575"/>
              <a:gd name="T55" fmla="*/ 30396 h 36563"/>
              <a:gd name="T56" fmla="*/ 36452 w 36575"/>
              <a:gd name="T57" fmla="*/ 6080 h 3656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6575" h="36563">
                <a:moveTo>
                  <a:pt x="33528" y="33528"/>
                </a:moveTo>
                <a:lnTo>
                  <a:pt x="3048" y="33528"/>
                </a:lnTo>
                <a:lnTo>
                  <a:pt x="6096" y="36563"/>
                </a:lnTo>
                <a:lnTo>
                  <a:pt x="30480" y="36563"/>
                </a:lnTo>
                <a:lnTo>
                  <a:pt x="33528" y="33528"/>
                </a:lnTo>
                <a:close/>
              </a:path>
              <a:path w="36575" h="36563">
                <a:moveTo>
                  <a:pt x="33528" y="0"/>
                </a:moveTo>
                <a:lnTo>
                  <a:pt x="3048" y="0"/>
                </a:lnTo>
                <a:lnTo>
                  <a:pt x="0" y="3048"/>
                </a:lnTo>
                <a:lnTo>
                  <a:pt x="0" y="33528"/>
                </a:lnTo>
                <a:lnTo>
                  <a:pt x="36576" y="33528"/>
                </a:lnTo>
                <a:lnTo>
                  <a:pt x="36576" y="30480"/>
                </a:lnTo>
                <a:lnTo>
                  <a:pt x="6096" y="30480"/>
                </a:lnTo>
                <a:lnTo>
                  <a:pt x="6096" y="6096"/>
                </a:lnTo>
                <a:lnTo>
                  <a:pt x="36576" y="6096"/>
                </a:lnTo>
                <a:lnTo>
                  <a:pt x="36576" y="3048"/>
                </a:lnTo>
                <a:lnTo>
                  <a:pt x="33528" y="0"/>
                </a:lnTo>
                <a:close/>
              </a:path>
              <a:path w="36575" h="36563">
                <a:moveTo>
                  <a:pt x="6096" y="27419"/>
                </a:moveTo>
                <a:lnTo>
                  <a:pt x="6096" y="30480"/>
                </a:lnTo>
                <a:lnTo>
                  <a:pt x="9144" y="30480"/>
                </a:lnTo>
                <a:lnTo>
                  <a:pt x="6096" y="27419"/>
                </a:lnTo>
                <a:close/>
              </a:path>
              <a:path w="36575" h="36563">
                <a:moveTo>
                  <a:pt x="30480" y="27419"/>
                </a:moveTo>
                <a:lnTo>
                  <a:pt x="27432" y="30480"/>
                </a:lnTo>
                <a:lnTo>
                  <a:pt x="30480" y="30480"/>
                </a:lnTo>
                <a:lnTo>
                  <a:pt x="30480" y="27419"/>
                </a:lnTo>
                <a:close/>
              </a:path>
              <a:path w="36575" h="36563">
                <a:moveTo>
                  <a:pt x="36576" y="6096"/>
                </a:moveTo>
                <a:lnTo>
                  <a:pt x="30480" y="6096"/>
                </a:lnTo>
                <a:lnTo>
                  <a:pt x="30480" y="30480"/>
                </a:lnTo>
                <a:lnTo>
                  <a:pt x="36576" y="30480"/>
                </a:lnTo>
                <a:lnTo>
                  <a:pt x="36576" y="6096"/>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74" name="object 83">
            <a:extLst>
              <a:ext uri="{FF2B5EF4-FFF2-40B4-BE49-F238E27FC236}">
                <a16:creationId xmlns:a16="http://schemas.microsoft.com/office/drawing/2014/main" id="{C98194D7-F225-439D-8D53-7FBAA6A4468C}"/>
              </a:ext>
            </a:extLst>
          </p:cNvPr>
          <p:cNvSpPr>
            <a:spLocks/>
          </p:cNvSpPr>
          <p:nvPr/>
        </p:nvSpPr>
        <p:spPr bwMode="auto">
          <a:xfrm>
            <a:off x="5404368" y="2845090"/>
            <a:ext cx="42863" cy="39687"/>
          </a:xfrm>
          <a:custGeom>
            <a:avLst/>
            <a:gdLst>
              <a:gd name="T0" fmla="*/ 40003 w 42659"/>
              <a:gd name="T1" fmla="*/ 0 h 39611"/>
              <a:gd name="T2" fmla="*/ 3065 w 42659"/>
              <a:gd name="T3" fmla="*/ 0 h 39611"/>
              <a:gd name="T4" fmla="*/ 0 w 42659"/>
              <a:gd name="T5" fmla="*/ 3060 h 39611"/>
              <a:gd name="T6" fmla="*/ 0 w 42659"/>
              <a:gd name="T7" fmla="*/ 36703 h 39611"/>
              <a:gd name="T8" fmla="*/ 3065 w 42659"/>
              <a:gd name="T9" fmla="*/ 39763 h 39611"/>
              <a:gd name="T10" fmla="*/ 40003 w 42659"/>
              <a:gd name="T11" fmla="*/ 39763 h 39611"/>
              <a:gd name="T12" fmla="*/ 43068 w 42659"/>
              <a:gd name="T13" fmla="*/ 36703 h 39611"/>
              <a:gd name="T14" fmla="*/ 43068 w 42659"/>
              <a:gd name="T15" fmla="*/ 3060 h 39611"/>
              <a:gd name="T16" fmla="*/ 40003 w 42659"/>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659" h="39611">
                <a:moveTo>
                  <a:pt x="39624" y="0"/>
                </a:moveTo>
                <a:lnTo>
                  <a:pt x="3035" y="0"/>
                </a:lnTo>
                <a:lnTo>
                  <a:pt x="0" y="3048"/>
                </a:lnTo>
                <a:lnTo>
                  <a:pt x="0" y="36563"/>
                </a:lnTo>
                <a:lnTo>
                  <a:pt x="3035" y="39611"/>
                </a:lnTo>
                <a:lnTo>
                  <a:pt x="39624" y="39611"/>
                </a:lnTo>
                <a:lnTo>
                  <a:pt x="42659" y="36563"/>
                </a:lnTo>
                <a:lnTo>
                  <a:pt x="42659" y="3048"/>
                </a:lnTo>
                <a:lnTo>
                  <a:pt x="39624"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75" name="object 84">
            <a:extLst>
              <a:ext uri="{FF2B5EF4-FFF2-40B4-BE49-F238E27FC236}">
                <a16:creationId xmlns:a16="http://schemas.microsoft.com/office/drawing/2014/main" id="{E4985A48-51EE-4EA6-AD11-25CD3D8D756E}"/>
              </a:ext>
            </a:extLst>
          </p:cNvPr>
          <p:cNvSpPr>
            <a:spLocks/>
          </p:cNvSpPr>
          <p:nvPr/>
        </p:nvSpPr>
        <p:spPr bwMode="auto">
          <a:xfrm>
            <a:off x="5410718" y="2849852"/>
            <a:ext cx="30163" cy="31750"/>
          </a:xfrm>
          <a:custGeom>
            <a:avLst/>
            <a:gdLst>
              <a:gd name="T0" fmla="*/ 26867 w 30479"/>
              <a:gd name="T1" fmla="*/ 0 h 30467"/>
              <a:gd name="T2" fmla="*/ 0 w 30479"/>
              <a:gd name="T3" fmla="*/ 0 h 30467"/>
              <a:gd name="T4" fmla="*/ 0 w 30479"/>
              <a:gd name="T5" fmla="*/ 33087 h 30467"/>
              <a:gd name="T6" fmla="*/ 26867 w 30479"/>
              <a:gd name="T7" fmla="*/ 33087 h 30467"/>
              <a:gd name="T8" fmla="*/ 29851 w 30479"/>
              <a:gd name="T9" fmla="*/ 29777 h 30467"/>
              <a:gd name="T10" fmla="*/ 29851 w 30479"/>
              <a:gd name="T11" fmla="*/ 3309 h 30467"/>
              <a:gd name="T12" fmla="*/ 26867 w 30479"/>
              <a:gd name="T13" fmla="*/ 0 h 3046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479" h="30467">
                <a:moveTo>
                  <a:pt x="27432" y="0"/>
                </a:moveTo>
                <a:lnTo>
                  <a:pt x="0" y="0"/>
                </a:lnTo>
                <a:lnTo>
                  <a:pt x="0" y="30467"/>
                </a:lnTo>
                <a:lnTo>
                  <a:pt x="27432" y="30467"/>
                </a:lnTo>
                <a:lnTo>
                  <a:pt x="30480" y="27419"/>
                </a:lnTo>
                <a:lnTo>
                  <a:pt x="30480" y="3047"/>
                </a:lnTo>
                <a:lnTo>
                  <a:pt x="27432"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76" name="object 85">
            <a:extLst>
              <a:ext uri="{FF2B5EF4-FFF2-40B4-BE49-F238E27FC236}">
                <a16:creationId xmlns:a16="http://schemas.microsoft.com/office/drawing/2014/main" id="{38527F17-9AAB-4D6E-87E2-93DDD7343DDE}"/>
              </a:ext>
            </a:extLst>
          </p:cNvPr>
          <p:cNvSpPr>
            <a:spLocks/>
          </p:cNvSpPr>
          <p:nvPr/>
        </p:nvSpPr>
        <p:spPr bwMode="auto">
          <a:xfrm>
            <a:off x="5407543" y="2848265"/>
            <a:ext cx="36513" cy="36512"/>
          </a:xfrm>
          <a:custGeom>
            <a:avLst/>
            <a:gdLst>
              <a:gd name="T0" fmla="*/ 33414 w 36575"/>
              <a:gd name="T1" fmla="*/ 33421 h 36563"/>
              <a:gd name="T2" fmla="*/ 3038 w 36575"/>
              <a:gd name="T3" fmla="*/ 33421 h 36563"/>
              <a:gd name="T4" fmla="*/ 6076 w 36575"/>
              <a:gd name="T5" fmla="*/ 36461 h 36563"/>
              <a:gd name="T6" fmla="*/ 30376 w 36575"/>
              <a:gd name="T7" fmla="*/ 36461 h 36563"/>
              <a:gd name="T8" fmla="*/ 33414 w 36575"/>
              <a:gd name="T9" fmla="*/ 33421 h 36563"/>
              <a:gd name="T10" fmla="*/ 36452 w 36575"/>
              <a:gd name="T11" fmla="*/ 3039 h 36563"/>
              <a:gd name="T12" fmla="*/ 0 w 36575"/>
              <a:gd name="T13" fmla="*/ 3039 h 36563"/>
              <a:gd name="T14" fmla="*/ 0 w 36575"/>
              <a:gd name="T15" fmla="*/ 33421 h 36563"/>
              <a:gd name="T16" fmla="*/ 36452 w 36575"/>
              <a:gd name="T17" fmla="*/ 33421 h 36563"/>
              <a:gd name="T18" fmla="*/ 36452 w 36575"/>
              <a:gd name="T19" fmla="*/ 30383 h 36563"/>
              <a:gd name="T20" fmla="*/ 6076 w 36575"/>
              <a:gd name="T21" fmla="*/ 30383 h 36563"/>
              <a:gd name="T22" fmla="*/ 6076 w 36575"/>
              <a:gd name="T23" fmla="*/ 6078 h 36563"/>
              <a:gd name="T24" fmla="*/ 36452 w 36575"/>
              <a:gd name="T25" fmla="*/ 6078 h 36563"/>
              <a:gd name="T26" fmla="*/ 36452 w 36575"/>
              <a:gd name="T27" fmla="*/ 3039 h 36563"/>
              <a:gd name="T28" fmla="*/ 6076 w 36575"/>
              <a:gd name="T29" fmla="*/ 27330 h 36563"/>
              <a:gd name="T30" fmla="*/ 6076 w 36575"/>
              <a:gd name="T31" fmla="*/ 30383 h 36563"/>
              <a:gd name="T32" fmla="*/ 9113 w 36575"/>
              <a:gd name="T33" fmla="*/ 30383 h 36563"/>
              <a:gd name="T34" fmla="*/ 6076 w 36575"/>
              <a:gd name="T35" fmla="*/ 27330 h 36563"/>
              <a:gd name="T36" fmla="*/ 30376 w 36575"/>
              <a:gd name="T37" fmla="*/ 27330 h 36563"/>
              <a:gd name="T38" fmla="*/ 27339 w 36575"/>
              <a:gd name="T39" fmla="*/ 30383 h 36563"/>
              <a:gd name="T40" fmla="*/ 30376 w 36575"/>
              <a:gd name="T41" fmla="*/ 30383 h 36563"/>
              <a:gd name="T42" fmla="*/ 30376 w 36575"/>
              <a:gd name="T43" fmla="*/ 27330 h 36563"/>
              <a:gd name="T44" fmla="*/ 36452 w 36575"/>
              <a:gd name="T45" fmla="*/ 6078 h 36563"/>
              <a:gd name="T46" fmla="*/ 30376 w 36575"/>
              <a:gd name="T47" fmla="*/ 6078 h 36563"/>
              <a:gd name="T48" fmla="*/ 30376 w 36575"/>
              <a:gd name="T49" fmla="*/ 30383 h 36563"/>
              <a:gd name="T50" fmla="*/ 36452 w 36575"/>
              <a:gd name="T51" fmla="*/ 30383 h 36563"/>
              <a:gd name="T52" fmla="*/ 36452 w 36575"/>
              <a:gd name="T53" fmla="*/ 6078 h 36563"/>
              <a:gd name="T54" fmla="*/ 33414 w 36575"/>
              <a:gd name="T55" fmla="*/ 0 h 36563"/>
              <a:gd name="T56" fmla="*/ 3038 w 36575"/>
              <a:gd name="T57" fmla="*/ 0 h 36563"/>
              <a:gd name="T58" fmla="*/ 3038 w 36575"/>
              <a:gd name="T59" fmla="*/ 3039 h 36563"/>
              <a:gd name="T60" fmla="*/ 33414 w 36575"/>
              <a:gd name="T61" fmla="*/ 3039 h 36563"/>
              <a:gd name="T62" fmla="*/ 33414 w 36575"/>
              <a:gd name="T63" fmla="*/ 0 h 365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6575" h="36563">
                <a:moveTo>
                  <a:pt x="33528" y="33515"/>
                </a:moveTo>
                <a:lnTo>
                  <a:pt x="3048" y="33515"/>
                </a:lnTo>
                <a:lnTo>
                  <a:pt x="6096" y="36563"/>
                </a:lnTo>
                <a:lnTo>
                  <a:pt x="30480" y="36563"/>
                </a:lnTo>
                <a:lnTo>
                  <a:pt x="33528" y="33515"/>
                </a:lnTo>
                <a:close/>
              </a:path>
              <a:path w="36575" h="36563">
                <a:moveTo>
                  <a:pt x="36576" y="3047"/>
                </a:moveTo>
                <a:lnTo>
                  <a:pt x="0" y="3047"/>
                </a:lnTo>
                <a:lnTo>
                  <a:pt x="0" y="33515"/>
                </a:lnTo>
                <a:lnTo>
                  <a:pt x="36576" y="33515"/>
                </a:lnTo>
                <a:lnTo>
                  <a:pt x="36576" y="30467"/>
                </a:lnTo>
                <a:lnTo>
                  <a:pt x="6096" y="30467"/>
                </a:lnTo>
                <a:lnTo>
                  <a:pt x="6096" y="6095"/>
                </a:lnTo>
                <a:lnTo>
                  <a:pt x="36576" y="6095"/>
                </a:lnTo>
                <a:lnTo>
                  <a:pt x="36576" y="3047"/>
                </a:lnTo>
                <a:close/>
              </a:path>
              <a:path w="36575" h="36563">
                <a:moveTo>
                  <a:pt x="6096" y="27406"/>
                </a:moveTo>
                <a:lnTo>
                  <a:pt x="6096" y="30467"/>
                </a:lnTo>
                <a:lnTo>
                  <a:pt x="9144" y="30467"/>
                </a:lnTo>
                <a:lnTo>
                  <a:pt x="6096" y="27406"/>
                </a:lnTo>
                <a:close/>
              </a:path>
              <a:path w="36575" h="36563">
                <a:moveTo>
                  <a:pt x="30480" y="27406"/>
                </a:moveTo>
                <a:lnTo>
                  <a:pt x="27432" y="30467"/>
                </a:lnTo>
                <a:lnTo>
                  <a:pt x="30480" y="30467"/>
                </a:lnTo>
                <a:lnTo>
                  <a:pt x="30480" y="27406"/>
                </a:lnTo>
                <a:close/>
              </a:path>
              <a:path w="36575" h="36563">
                <a:moveTo>
                  <a:pt x="36576" y="6095"/>
                </a:moveTo>
                <a:lnTo>
                  <a:pt x="30480" y="6095"/>
                </a:lnTo>
                <a:lnTo>
                  <a:pt x="30480" y="30467"/>
                </a:lnTo>
                <a:lnTo>
                  <a:pt x="36576" y="30467"/>
                </a:lnTo>
                <a:lnTo>
                  <a:pt x="36576" y="6095"/>
                </a:lnTo>
                <a:close/>
              </a:path>
              <a:path w="36575" h="36563">
                <a:moveTo>
                  <a:pt x="33528" y="0"/>
                </a:moveTo>
                <a:lnTo>
                  <a:pt x="3048" y="0"/>
                </a:lnTo>
                <a:lnTo>
                  <a:pt x="3048" y="3047"/>
                </a:lnTo>
                <a:lnTo>
                  <a:pt x="33528" y="3047"/>
                </a:lnTo>
                <a:lnTo>
                  <a:pt x="33528" y="0"/>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77" name="object 86">
            <a:extLst>
              <a:ext uri="{FF2B5EF4-FFF2-40B4-BE49-F238E27FC236}">
                <a16:creationId xmlns:a16="http://schemas.microsoft.com/office/drawing/2014/main" id="{03C550FC-02A0-4051-98D9-CCF730B636D6}"/>
              </a:ext>
            </a:extLst>
          </p:cNvPr>
          <p:cNvSpPr>
            <a:spLocks/>
          </p:cNvSpPr>
          <p:nvPr/>
        </p:nvSpPr>
        <p:spPr bwMode="auto">
          <a:xfrm>
            <a:off x="5466281" y="2179927"/>
            <a:ext cx="0" cy="646113"/>
          </a:xfrm>
          <a:custGeom>
            <a:avLst/>
            <a:gdLst>
              <a:gd name="T0" fmla="*/ 0 h 646163"/>
              <a:gd name="T1" fmla="*/ 646063 h 646163"/>
              <a:gd name="T2" fmla="*/ 0 60000 65536"/>
              <a:gd name="T3" fmla="*/ 0 60000 65536"/>
            </a:gdLst>
            <a:ahLst/>
            <a:cxnLst>
              <a:cxn ang="T2">
                <a:pos x="0" y="T0"/>
              </a:cxn>
              <a:cxn ang="T3">
                <a:pos x="0" y="T1"/>
              </a:cxn>
            </a:cxnLst>
            <a:rect l="0" t="0" r="r" b="b"/>
            <a:pathLst>
              <a:path h="646163">
                <a:moveTo>
                  <a:pt x="0" y="0"/>
                </a:moveTo>
                <a:lnTo>
                  <a:pt x="0" y="646163"/>
                </a:lnTo>
              </a:path>
            </a:pathLst>
          </a:custGeom>
          <a:noFill/>
          <a:ln w="28702">
            <a:solidFill>
              <a:srgbClr val="ACBDCA"/>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78" name="object 87">
            <a:extLst>
              <a:ext uri="{FF2B5EF4-FFF2-40B4-BE49-F238E27FC236}">
                <a16:creationId xmlns:a16="http://schemas.microsoft.com/office/drawing/2014/main" id="{80B6E572-B291-447E-944A-D608175BC18A}"/>
              </a:ext>
            </a:extLst>
          </p:cNvPr>
          <p:cNvSpPr>
            <a:spLocks/>
          </p:cNvSpPr>
          <p:nvPr/>
        </p:nvSpPr>
        <p:spPr bwMode="auto">
          <a:xfrm>
            <a:off x="7195068" y="2268827"/>
            <a:ext cx="0" cy="423863"/>
          </a:xfrm>
          <a:custGeom>
            <a:avLst/>
            <a:gdLst>
              <a:gd name="T0" fmla="*/ 0 h 423684"/>
              <a:gd name="T1" fmla="*/ 424042 h 423684"/>
              <a:gd name="T2" fmla="*/ 0 60000 65536"/>
              <a:gd name="T3" fmla="*/ 0 60000 65536"/>
            </a:gdLst>
            <a:ahLst/>
            <a:cxnLst>
              <a:cxn ang="T2">
                <a:pos x="0" y="T0"/>
              </a:cxn>
              <a:cxn ang="T3">
                <a:pos x="0" y="T1"/>
              </a:cxn>
            </a:cxnLst>
            <a:rect l="0" t="0" r="r" b="b"/>
            <a:pathLst>
              <a:path h="423684">
                <a:moveTo>
                  <a:pt x="0" y="0"/>
                </a:moveTo>
                <a:lnTo>
                  <a:pt x="0" y="423684"/>
                </a:lnTo>
              </a:path>
            </a:pathLst>
          </a:custGeom>
          <a:noFill/>
          <a:ln w="28701">
            <a:solidFill>
              <a:srgbClr val="ACBDCA"/>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79" name="object 88">
            <a:extLst>
              <a:ext uri="{FF2B5EF4-FFF2-40B4-BE49-F238E27FC236}">
                <a16:creationId xmlns:a16="http://schemas.microsoft.com/office/drawing/2014/main" id="{0E609CDB-E7B5-4259-BB67-5C63E8B299D3}"/>
              </a:ext>
            </a:extLst>
          </p:cNvPr>
          <p:cNvSpPr>
            <a:spLocks/>
          </p:cNvSpPr>
          <p:nvPr/>
        </p:nvSpPr>
        <p:spPr bwMode="auto">
          <a:xfrm>
            <a:off x="7123631" y="2692690"/>
            <a:ext cx="142875" cy="276225"/>
          </a:xfrm>
          <a:custGeom>
            <a:avLst/>
            <a:gdLst>
              <a:gd name="T0" fmla="*/ 0 w 143255"/>
              <a:gd name="T1" fmla="*/ 275088 h 277367"/>
              <a:gd name="T2" fmla="*/ 142496 w 143255"/>
              <a:gd name="T3" fmla="*/ 275088 h 277367"/>
              <a:gd name="T4" fmla="*/ 142496 w 143255"/>
              <a:gd name="T5" fmla="*/ 0 h 277367"/>
              <a:gd name="T6" fmla="*/ 0 w 143255"/>
              <a:gd name="T7" fmla="*/ 0 h 277367"/>
              <a:gd name="T8" fmla="*/ 0 w 143255"/>
              <a:gd name="T9" fmla="*/ 275088 h 27736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3255" h="277367">
                <a:moveTo>
                  <a:pt x="0" y="277367"/>
                </a:moveTo>
                <a:lnTo>
                  <a:pt x="143255" y="277367"/>
                </a:lnTo>
                <a:lnTo>
                  <a:pt x="143255" y="0"/>
                </a:lnTo>
                <a:lnTo>
                  <a:pt x="0" y="0"/>
                </a:lnTo>
                <a:lnTo>
                  <a:pt x="0" y="277367"/>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80" name="object 89">
            <a:extLst>
              <a:ext uri="{FF2B5EF4-FFF2-40B4-BE49-F238E27FC236}">
                <a16:creationId xmlns:a16="http://schemas.microsoft.com/office/drawing/2014/main" id="{83C67EAF-A523-470D-B66B-A6469BC9B39B}"/>
              </a:ext>
            </a:extLst>
          </p:cNvPr>
          <p:cNvSpPr>
            <a:spLocks/>
          </p:cNvSpPr>
          <p:nvPr/>
        </p:nvSpPr>
        <p:spPr bwMode="auto">
          <a:xfrm>
            <a:off x="7117281" y="2689515"/>
            <a:ext cx="155575" cy="285750"/>
          </a:xfrm>
          <a:custGeom>
            <a:avLst/>
            <a:gdLst>
              <a:gd name="T0" fmla="*/ 155715 w 155435"/>
              <a:gd name="T1" fmla="*/ 0 h 286512"/>
              <a:gd name="T2" fmla="*/ 0 w 155435"/>
              <a:gd name="T3" fmla="*/ 0 h 286512"/>
              <a:gd name="T4" fmla="*/ 0 w 155435"/>
              <a:gd name="T5" fmla="*/ 284990 h 286512"/>
              <a:gd name="T6" fmla="*/ 155715 w 155435"/>
              <a:gd name="T7" fmla="*/ 284990 h 286512"/>
              <a:gd name="T8" fmla="*/ 155715 w 155435"/>
              <a:gd name="T9" fmla="*/ 278926 h 286512"/>
              <a:gd name="T10" fmla="*/ 12201 w 155435"/>
              <a:gd name="T11" fmla="*/ 278926 h 286512"/>
              <a:gd name="T12" fmla="*/ 6093 w 155435"/>
              <a:gd name="T13" fmla="*/ 275894 h 286512"/>
              <a:gd name="T14" fmla="*/ 12201 w 155435"/>
              <a:gd name="T15" fmla="*/ 275894 h 286512"/>
              <a:gd name="T16" fmla="*/ 12201 w 155435"/>
              <a:gd name="T17" fmla="*/ 9096 h 286512"/>
              <a:gd name="T18" fmla="*/ 6093 w 155435"/>
              <a:gd name="T19" fmla="*/ 9096 h 286512"/>
              <a:gd name="T20" fmla="*/ 12201 w 155435"/>
              <a:gd name="T21" fmla="*/ 3032 h 286512"/>
              <a:gd name="T22" fmla="*/ 155715 w 155435"/>
              <a:gd name="T23" fmla="*/ 3032 h 286512"/>
              <a:gd name="T24" fmla="*/ 155715 w 155435"/>
              <a:gd name="T25" fmla="*/ 0 h 286512"/>
              <a:gd name="T26" fmla="*/ 12201 w 155435"/>
              <a:gd name="T27" fmla="*/ 275894 h 286512"/>
              <a:gd name="T28" fmla="*/ 6093 w 155435"/>
              <a:gd name="T29" fmla="*/ 275894 h 286512"/>
              <a:gd name="T30" fmla="*/ 12201 w 155435"/>
              <a:gd name="T31" fmla="*/ 278926 h 286512"/>
              <a:gd name="T32" fmla="*/ 12201 w 155435"/>
              <a:gd name="T33" fmla="*/ 275894 h 286512"/>
              <a:gd name="T34" fmla="*/ 146555 w 155435"/>
              <a:gd name="T35" fmla="*/ 275894 h 286512"/>
              <a:gd name="T36" fmla="*/ 12201 w 155435"/>
              <a:gd name="T37" fmla="*/ 275894 h 286512"/>
              <a:gd name="T38" fmla="*/ 12201 w 155435"/>
              <a:gd name="T39" fmla="*/ 278926 h 286512"/>
              <a:gd name="T40" fmla="*/ 146555 w 155435"/>
              <a:gd name="T41" fmla="*/ 278926 h 286512"/>
              <a:gd name="T42" fmla="*/ 146555 w 155435"/>
              <a:gd name="T43" fmla="*/ 275894 h 286512"/>
              <a:gd name="T44" fmla="*/ 146555 w 155435"/>
              <a:gd name="T45" fmla="*/ 3032 h 286512"/>
              <a:gd name="T46" fmla="*/ 146555 w 155435"/>
              <a:gd name="T47" fmla="*/ 278926 h 286512"/>
              <a:gd name="T48" fmla="*/ 149609 w 155435"/>
              <a:gd name="T49" fmla="*/ 275894 h 286512"/>
              <a:gd name="T50" fmla="*/ 155715 w 155435"/>
              <a:gd name="T51" fmla="*/ 275894 h 286512"/>
              <a:gd name="T52" fmla="*/ 155715 w 155435"/>
              <a:gd name="T53" fmla="*/ 9096 h 286512"/>
              <a:gd name="T54" fmla="*/ 149609 w 155435"/>
              <a:gd name="T55" fmla="*/ 9096 h 286512"/>
              <a:gd name="T56" fmla="*/ 146555 w 155435"/>
              <a:gd name="T57" fmla="*/ 3032 h 286512"/>
              <a:gd name="T58" fmla="*/ 155715 w 155435"/>
              <a:gd name="T59" fmla="*/ 275894 h 286512"/>
              <a:gd name="T60" fmla="*/ 149609 w 155435"/>
              <a:gd name="T61" fmla="*/ 275894 h 286512"/>
              <a:gd name="T62" fmla="*/ 146555 w 155435"/>
              <a:gd name="T63" fmla="*/ 278926 h 286512"/>
              <a:gd name="T64" fmla="*/ 155715 w 155435"/>
              <a:gd name="T65" fmla="*/ 278926 h 286512"/>
              <a:gd name="T66" fmla="*/ 155715 w 155435"/>
              <a:gd name="T67" fmla="*/ 275894 h 286512"/>
              <a:gd name="T68" fmla="*/ 12201 w 155435"/>
              <a:gd name="T69" fmla="*/ 3032 h 286512"/>
              <a:gd name="T70" fmla="*/ 6093 w 155435"/>
              <a:gd name="T71" fmla="*/ 9096 h 286512"/>
              <a:gd name="T72" fmla="*/ 12201 w 155435"/>
              <a:gd name="T73" fmla="*/ 9096 h 286512"/>
              <a:gd name="T74" fmla="*/ 12201 w 155435"/>
              <a:gd name="T75" fmla="*/ 3032 h 286512"/>
              <a:gd name="T76" fmla="*/ 146555 w 155435"/>
              <a:gd name="T77" fmla="*/ 3032 h 286512"/>
              <a:gd name="T78" fmla="*/ 12201 w 155435"/>
              <a:gd name="T79" fmla="*/ 3032 h 286512"/>
              <a:gd name="T80" fmla="*/ 12201 w 155435"/>
              <a:gd name="T81" fmla="*/ 9096 h 286512"/>
              <a:gd name="T82" fmla="*/ 146555 w 155435"/>
              <a:gd name="T83" fmla="*/ 9096 h 286512"/>
              <a:gd name="T84" fmla="*/ 146555 w 155435"/>
              <a:gd name="T85" fmla="*/ 3032 h 286512"/>
              <a:gd name="T86" fmla="*/ 155715 w 155435"/>
              <a:gd name="T87" fmla="*/ 3032 h 286512"/>
              <a:gd name="T88" fmla="*/ 146555 w 155435"/>
              <a:gd name="T89" fmla="*/ 3032 h 286512"/>
              <a:gd name="T90" fmla="*/ 149609 w 155435"/>
              <a:gd name="T91" fmla="*/ 9096 h 286512"/>
              <a:gd name="T92" fmla="*/ 155715 w 155435"/>
              <a:gd name="T93" fmla="*/ 9096 h 286512"/>
              <a:gd name="T94" fmla="*/ 155715 w 155435"/>
              <a:gd name="T95" fmla="*/ 3032 h 2865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55435" h="286512">
                <a:moveTo>
                  <a:pt x="155435" y="0"/>
                </a:moveTo>
                <a:lnTo>
                  <a:pt x="0" y="0"/>
                </a:lnTo>
                <a:lnTo>
                  <a:pt x="0" y="286512"/>
                </a:lnTo>
                <a:lnTo>
                  <a:pt x="155435" y="286512"/>
                </a:lnTo>
                <a:lnTo>
                  <a:pt x="155435" y="280416"/>
                </a:lnTo>
                <a:lnTo>
                  <a:pt x="12179" y="280416"/>
                </a:lnTo>
                <a:lnTo>
                  <a:pt x="6083" y="277368"/>
                </a:lnTo>
                <a:lnTo>
                  <a:pt x="12179" y="277368"/>
                </a:lnTo>
                <a:lnTo>
                  <a:pt x="12179" y="9144"/>
                </a:lnTo>
                <a:lnTo>
                  <a:pt x="6083" y="9144"/>
                </a:lnTo>
                <a:lnTo>
                  <a:pt x="12179" y="3048"/>
                </a:lnTo>
                <a:lnTo>
                  <a:pt x="155435" y="3048"/>
                </a:lnTo>
                <a:lnTo>
                  <a:pt x="155435" y="0"/>
                </a:lnTo>
                <a:close/>
              </a:path>
              <a:path w="155435" h="286512">
                <a:moveTo>
                  <a:pt x="12179" y="277368"/>
                </a:moveTo>
                <a:lnTo>
                  <a:pt x="6083" y="277368"/>
                </a:lnTo>
                <a:lnTo>
                  <a:pt x="12179" y="280416"/>
                </a:lnTo>
                <a:lnTo>
                  <a:pt x="12179" y="277368"/>
                </a:lnTo>
                <a:close/>
              </a:path>
              <a:path w="155435" h="286512">
                <a:moveTo>
                  <a:pt x="146291" y="277368"/>
                </a:moveTo>
                <a:lnTo>
                  <a:pt x="12179" y="277368"/>
                </a:lnTo>
                <a:lnTo>
                  <a:pt x="12179" y="280416"/>
                </a:lnTo>
                <a:lnTo>
                  <a:pt x="146291" y="280416"/>
                </a:lnTo>
                <a:lnTo>
                  <a:pt x="146291" y="277368"/>
                </a:lnTo>
                <a:close/>
              </a:path>
              <a:path w="155435" h="286512">
                <a:moveTo>
                  <a:pt x="146291" y="3048"/>
                </a:moveTo>
                <a:lnTo>
                  <a:pt x="146291" y="280416"/>
                </a:lnTo>
                <a:lnTo>
                  <a:pt x="149339" y="277368"/>
                </a:lnTo>
                <a:lnTo>
                  <a:pt x="155435" y="277368"/>
                </a:lnTo>
                <a:lnTo>
                  <a:pt x="155435" y="9144"/>
                </a:lnTo>
                <a:lnTo>
                  <a:pt x="149339" y="9144"/>
                </a:lnTo>
                <a:lnTo>
                  <a:pt x="146291" y="3048"/>
                </a:lnTo>
                <a:close/>
              </a:path>
              <a:path w="155435" h="286512">
                <a:moveTo>
                  <a:pt x="155435" y="277368"/>
                </a:moveTo>
                <a:lnTo>
                  <a:pt x="149339" y="277368"/>
                </a:lnTo>
                <a:lnTo>
                  <a:pt x="146291" y="280416"/>
                </a:lnTo>
                <a:lnTo>
                  <a:pt x="155435" y="280416"/>
                </a:lnTo>
                <a:lnTo>
                  <a:pt x="155435" y="277368"/>
                </a:lnTo>
                <a:close/>
              </a:path>
              <a:path w="155435" h="286512">
                <a:moveTo>
                  <a:pt x="12179" y="3048"/>
                </a:moveTo>
                <a:lnTo>
                  <a:pt x="6083" y="9144"/>
                </a:lnTo>
                <a:lnTo>
                  <a:pt x="12179" y="9144"/>
                </a:lnTo>
                <a:lnTo>
                  <a:pt x="12179" y="3048"/>
                </a:lnTo>
                <a:close/>
              </a:path>
              <a:path w="155435" h="286512">
                <a:moveTo>
                  <a:pt x="146291" y="3048"/>
                </a:moveTo>
                <a:lnTo>
                  <a:pt x="12179" y="3048"/>
                </a:lnTo>
                <a:lnTo>
                  <a:pt x="12179" y="9144"/>
                </a:lnTo>
                <a:lnTo>
                  <a:pt x="146291" y="9144"/>
                </a:lnTo>
                <a:lnTo>
                  <a:pt x="146291" y="3048"/>
                </a:lnTo>
                <a:close/>
              </a:path>
              <a:path w="155435" h="286512">
                <a:moveTo>
                  <a:pt x="155435" y="3048"/>
                </a:moveTo>
                <a:lnTo>
                  <a:pt x="146291" y="3048"/>
                </a:lnTo>
                <a:lnTo>
                  <a:pt x="149339" y="9144"/>
                </a:lnTo>
                <a:lnTo>
                  <a:pt x="155435" y="9144"/>
                </a:lnTo>
                <a:lnTo>
                  <a:pt x="155435" y="3048"/>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81" name="object 90">
            <a:extLst>
              <a:ext uri="{FF2B5EF4-FFF2-40B4-BE49-F238E27FC236}">
                <a16:creationId xmlns:a16="http://schemas.microsoft.com/office/drawing/2014/main" id="{568EEB84-4663-44DE-9E82-F665C347FA5B}"/>
              </a:ext>
            </a:extLst>
          </p:cNvPr>
          <p:cNvSpPr>
            <a:spLocks/>
          </p:cNvSpPr>
          <p:nvPr/>
        </p:nvSpPr>
        <p:spPr bwMode="auto">
          <a:xfrm>
            <a:off x="7252218" y="2692690"/>
            <a:ext cx="0" cy="276225"/>
          </a:xfrm>
          <a:custGeom>
            <a:avLst/>
            <a:gdLst>
              <a:gd name="T0" fmla="*/ 0 h 277367"/>
              <a:gd name="T1" fmla="*/ 275088 h 277367"/>
              <a:gd name="T2" fmla="*/ 0 60000 65536"/>
              <a:gd name="T3" fmla="*/ 0 60000 65536"/>
            </a:gdLst>
            <a:ahLst/>
            <a:cxnLst>
              <a:cxn ang="T2">
                <a:pos x="0" y="T0"/>
              </a:cxn>
              <a:cxn ang="T3">
                <a:pos x="0" y="T1"/>
              </a:cxn>
            </a:cxnLst>
            <a:rect l="0" t="0" r="r" b="b"/>
            <a:pathLst>
              <a:path h="277367">
                <a:moveTo>
                  <a:pt x="0" y="0"/>
                </a:moveTo>
                <a:lnTo>
                  <a:pt x="0" y="277367"/>
                </a:lnTo>
              </a:path>
            </a:pathLst>
          </a:custGeom>
          <a:noFill/>
          <a:ln w="28702">
            <a:solidFill>
              <a:srgbClr val="6783A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82" name="object 91">
            <a:extLst>
              <a:ext uri="{FF2B5EF4-FFF2-40B4-BE49-F238E27FC236}">
                <a16:creationId xmlns:a16="http://schemas.microsoft.com/office/drawing/2014/main" id="{80A227B4-CD52-49F4-8D0D-93607A379681}"/>
              </a:ext>
            </a:extLst>
          </p:cNvPr>
          <p:cNvSpPr>
            <a:spLocks/>
          </p:cNvSpPr>
          <p:nvPr/>
        </p:nvSpPr>
        <p:spPr bwMode="auto">
          <a:xfrm>
            <a:off x="7233168" y="2689515"/>
            <a:ext cx="39688" cy="285750"/>
          </a:xfrm>
          <a:custGeom>
            <a:avLst/>
            <a:gdLst>
              <a:gd name="T0" fmla="*/ 39752 w 39624"/>
              <a:gd name="T1" fmla="*/ 0 h 286512"/>
              <a:gd name="T2" fmla="*/ 0 w 39624"/>
              <a:gd name="T3" fmla="*/ 0 h 286512"/>
              <a:gd name="T4" fmla="*/ 0 w 39624"/>
              <a:gd name="T5" fmla="*/ 284990 h 286512"/>
              <a:gd name="T6" fmla="*/ 39752 w 39624"/>
              <a:gd name="T7" fmla="*/ 284990 h 286512"/>
              <a:gd name="T8" fmla="*/ 39752 w 39624"/>
              <a:gd name="T9" fmla="*/ 278925 h 286512"/>
              <a:gd name="T10" fmla="*/ 12232 w 39624"/>
              <a:gd name="T11" fmla="*/ 278926 h 286512"/>
              <a:gd name="T12" fmla="*/ 6116 w 39624"/>
              <a:gd name="T13" fmla="*/ 275894 h 286512"/>
              <a:gd name="T14" fmla="*/ 12232 w 39624"/>
              <a:gd name="T15" fmla="*/ 275894 h 286512"/>
              <a:gd name="T16" fmla="*/ 12232 w 39624"/>
              <a:gd name="T17" fmla="*/ 9096 h 286512"/>
              <a:gd name="T18" fmla="*/ 6116 w 39624"/>
              <a:gd name="T19" fmla="*/ 9096 h 286512"/>
              <a:gd name="T20" fmla="*/ 12232 w 39624"/>
              <a:gd name="T21" fmla="*/ 3032 h 286512"/>
              <a:gd name="T22" fmla="*/ 39752 w 39624"/>
              <a:gd name="T23" fmla="*/ 3032 h 286512"/>
              <a:gd name="T24" fmla="*/ 39752 w 39624"/>
              <a:gd name="T25" fmla="*/ 0 h 286512"/>
              <a:gd name="T26" fmla="*/ 12232 w 39624"/>
              <a:gd name="T27" fmla="*/ 275894 h 286512"/>
              <a:gd name="T28" fmla="*/ 6116 w 39624"/>
              <a:gd name="T29" fmla="*/ 275894 h 286512"/>
              <a:gd name="T30" fmla="*/ 12232 w 39624"/>
              <a:gd name="T31" fmla="*/ 278926 h 286512"/>
              <a:gd name="T32" fmla="*/ 12232 w 39624"/>
              <a:gd name="T33" fmla="*/ 275894 h 286512"/>
              <a:gd name="T34" fmla="*/ 30578 w 39624"/>
              <a:gd name="T35" fmla="*/ 275894 h 286512"/>
              <a:gd name="T36" fmla="*/ 12232 w 39624"/>
              <a:gd name="T37" fmla="*/ 275894 h 286512"/>
              <a:gd name="T38" fmla="*/ 12232 w 39624"/>
              <a:gd name="T39" fmla="*/ 278926 h 286512"/>
              <a:gd name="T40" fmla="*/ 30578 w 39624"/>
              <a:gd name="T41" fmla="*/ 278926 h 286512"/>
              <a:gd name="T42" fmla="*/ 30578 w 39624"/>
              <a:gd name="T43" fmla="*/ 275894 h 286512"/>
              <a:gd name="T44" fmla="*/ 30578 w 39624"/>
              <a:gd name="T45" fmla="*/ 3032 h 286512"/>
              <a:gd name="T46" fmla="*/ 30578 w 39624"/>
              <a:gd name="T47" fmla="*/ 278926 h 286512"/>
              <a:gd name="T48" fmla="*/ 33636 w 39624"/>
              <a:gd name="T49" fmla="*/ 275894 h 286512"/>
              <a:gd name="T50" fmla="*/ 39752 w 39624"/>
              <a:gd name="T51" fmla="*/ 275894 h 286512"/>
              <a:gd name="T52" fmla="*/ 39752 w 39624"/>
              <a:gd name="T53" fmla="*/ 9096 h 286512"/>
              <a:gd name="T54" fmla="*/ 33636 w 39624"/>
              <a:gd name="T55" fmla="*/ 9096 h 286512"/>
              <a:gd name="T56" fmla="*/ 30578 w 39624"/>
              <a:gd name="T57" fmla="*/ 3032 h 286512"/>
              <a:gd name="T58" fmla="*/ 39752 w 39624"/>
              <a:gd name="T59" fmla="*/ 275894 h 286512"/>
              <a:gd name="T60" fmla="*/ 33636 w 39624"/>
              <a:gd name="T61" fmla="*/ 275894 h 286512"/>
              <a:gd name="T62" fmla="*/ 30578 w 39624"/>
              <a:gd name="T63" fmla="*/ 278926 h 286512"/>
              <a:gd name="T64" fmla="*/ 39752 w 39624"/>
              <a:gd name="T65" fmla="*/ 278925 h 286512"/>
              <a:gd name="T66" fmla="*/ 39752 w 39624"/>
              <a:gd name="T67" fmla="*/ 275894 h 286512"/>
              <a:gd name="T68" fmla="*/ 12232 w 39624"/>
              <a:gd name="T69" fmla="*/ 3032 h 286512"/>
              <a:gd name="T70" fmla="*/ 6116 w 39624"/>
              <a:gd name="T71" fmla="*/ 9096 h 286512"/>
              <a:gd name="T72" fmla="*/ 12232 w 39624"/>
              <a:gd name="T73" fmla="*/ 9096 h 286512"/>
              <a:gd name="T74" fmla="*/ 12232 w 39624"/>
              <a:gd name="T75" fmla="*/ 3032 h 286512"/>
              <a:gd name="T76" fmla="*/ 30578 w 39624"/>
              <a:gd name="T77" fmla="*/ 3032 h 286512"/>
              <a:gd name="T78" fmla="*/ 12232 w 39624"/>
              <a:gd name="T79" fmla="*/ 3032 h 286512"/>
              <a:gd name="T80" fmla="*/ 12232 w 39624"/>
              <a:gd name="T81" fmla="*/ 9096 h 286512"/>
              <a:gd name="T82" fmla="*/ 30578 w 39624"/>
              <a:gd name="T83" fmla="*/ 9096 h 286512"/>
              <a:gd name="T84" fmla="*/ 30578 w 39624"/>
              <a:gd name="T85" fmla="*/ 3032 h 286512"/>
              <a:gd name="T86" fmla="*/ 39752 w 39624"/>
              <a:gd name="T87" fmla="*/ 3032 h 286512"/>
              <a:gd name="T88" fmla="*/ 30578 w 39624"/>
              <a:gd name="T89" fmla="*/ 3032 h 286512"/>
              <a:gd name="T90" fmla="*/ 33636 w 39624"/>
              <a:gd name="T91" fmla="*/ 9096 h 286512"/>
              <a:gd name="T92" fmla="*/ 39752 w 39624"/>
              <a:gd name="T93" fmla="*/ 9096 h 286512"/>
              <a:gd name="T94" fmla="*/ 39752 w 39624"/>
              <a:gd name="T95" fmla="*/ 3032 h 2865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9624" h="286512">
                <a:moveTo>
                  <a:pt x="39624" y="0"/>
                </a:moveTo>
                <a:lnTo>
                  <a:pt x="0" y="0"/>
                </a:lnTo>
                <a:lnTo>
                  <a:pt x="0" y="286512"/>
                </a:lnTo>
                <a:lnTo>
                  <a:pt x="39624" y="286512"/>
                </a:lnTo>
                <a:lnTo>
                  <a:pt x="39624" y="280415"/>
                </a:lnTo>
                <a:lnTo>
                  <a:pt x="12192" y="280416"/>
                </a:lnTo>
                <a:lnTo>
                  <a:pt x="6096" y="277368"/>
                </a:lnTo>
                <a:lnTo>
                  <a:pt x="12192" y="277368"/>
                </a:lnTo>
                <a:lnTo>
                  <a:pt x="12192" y="9144"/>
                </a:lnTo>
                <a:lnTo>
                  <a:pt x="6096" y="9144"/>
                </a:lnTo>
                <a:lnTo>
                  <a:pt x="12192" y="3048"/>
                </a:lnTo>
                <a:lnTo>
                  <a:pt x="39624" y="3048"/>
                </a:lnTo>
                <a:lnTo>
                  <a:pt x="39624" y="0"/>
                </a:lnTo>
                <a:close/>
              </a:path>
              <a:path w="39624" h="286512">
                <a:moveTo>
                  <a:pt x="12192" y="277368"/>
                </a:moveTo>
                <a:lnTo>
                  <a:pt x="6096" y="277368"/>
                </a:lnTo>
                <a:lnTo>
                  <a:pt x="12192" y="280416"/>
                </a:lnTo>
                <a:lnTo>
                  <a:pt x="12192" y="277368"/>
                </a:lnTo>
                <a:close/>
              </a:path>
              <a:path w="39624" h="286512">
                <a:moveTo>
                  <a:pt x="30480" y="277368"/>
                </a:moveTo>
                <a:lnTo>
                  <a:pt x="12192" y="277368"/>
                </a:lnTo>
                <a:lnTo>
                  <a:pt x="12192" y="280416"/>
                </a:lnTo>
                <a:lnTo>
                  <a:pt x="30480" y="280416"/>
                </a:lnTo>
                <a:lnTo>
                  <a:pt x="30480" y="277368"/>
                </a:lnTo>
                <a:close/>
              </a:path>
              <a:path w="39624" h="286512">
                <a:moveTo>
                  <a:pt x="30480" y="3048"/>
                </a:moveTo>
                <a:lnTo>
                  <a:pt x="30480" y="280416"/>
                </a:lnTo>
                <a:lnTo>
                  <a:pt x="33528" y="277368"/>
                </a:lnTo>
                <a:lnTo>
                  <a:pt x="39624" y="277368"/>
                </a:lnTo>
                <a:lnTo>
                  <a:pt x="39624" y="9144"/>
                </a:lnTo>
                <a:lnTo>
                  <a:pt x="33528" y="9144"/>
                </a:lnTo>
                <a:lnTo>
                  <a:pt x="30480" y="3048"/>
                </a:lnTo>
                <a:close/>
              </a:path>
              <a:path w="39624" h="286512">
                <a:moveTo>
                  <a:pt x="39624" y="277368"/>
                </a:moveTo>
                <a:lnTo>
                  <a:pt x="33528" y="277368"/>
                </a:lnTo>
                <a:lnTo>
                  <a:pt x="30480" y="280416"/>
                </a:lnTo>
                <a:lnTo>
                  <a:pt x="39624" y="280415"/>
                </a:lnTo>
                <a:lnTo>
                  <a:pt x="39624" y="277368"/>
                </a:lnTo>
                <a:close/>
              </a:path>
              <a:path w="39624" h="286512">
                <a:moveTo>
                  <a:pt x="12192" y="3048"/>
                </a:moveTo>
                <a:lnTo>
                  <a:pt x="6096" y="9144"/>
                </a:lnTo>
                <a:lnTo>
                  <a:pt x="12192" y="9144"/>
                </a:lnTo>
                <a:lnTo>
                  <a:pt x="12192" y="3048"/>
                </a:lnTo>
                <a:close/>
              </a:path>
              <a:path w="39624" h="286512">
                <a:moveTo>
                  <a:pt x="30480" y="3048"/>
                </a:moveTo>
                <a:lnTo>
                  <a:pt x="12192" y="3048"/>
                </a:lnTo>
                <a:lnTo>
                  <a:pt x="12192" y="9144"/>
                </a:lnTo>
                <a:lnTo>
                  <a:pt x="30480" y="9144"/>
                </a:lnTo>
                <a:lnTo>
                  <a:pt x="30480" y="3048"/>
                </a:lnTo>
                <a:close/>
              </a:path>
              <a:path w="39624" h="286512">
                <a:moveTo>
                  <a:pt x="39624" y="3048"/>
                </a:moveTo>
                <a:lnTo>
                  <a:pt x="30480" y="3048"/>
                </a:lnTo>
                <a:lnTo>
                  <a:pt x="33528" y="9144"/>
                </a:lnTo>
                <a:lnTo>
                  <a:pt x="39624" y="9144"/>
                </a:lnTo>
                <a:lnTo>
                  <a:pt x="39624" y="3048"/>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83" name="object 92">
            <a:extLst>
              <a:ext uri="{FF2B5EF4-FFF2-40B4-BE49-F238E27FC236}">
                <a16:creationId xmlns:a16="http://schemas.microsoft.com/office/drawing/2014/main" id="{D5B705B6-D93F-4505-939B-8A3E5925B80F}"/>
              </a:ext>
            </a:extLst>
          </p:cNvPr>
          <p:cNvSpPr>
            <a:spLocks/>
          </p:cNvSpPr>
          <p:nvPr/>
        </p:nvSpPr>
        <p:spPr bwMode="auto">
          <a:xfrm>
            <a:off x="7129981" y="2700627"/>
            <a:ext cx="41275" cy="9525"/>
          </a:xfrm>
          <a:custGeom>
            <a:avLst/>
            <a:gdLst>
              <a:gd name="T0" fmla="*/ 0 w 42672"/>
              <a:gd name="T1" fmla="*/ 4967 h 9131"/>
              <a:gd name="T2" fmla="*/ 39924 w 42672"/>
              <a:gd name="T3" fmla="*/ 4967 h 9131"/>
              <a:gd name="T4" fmla="*/ 0 60000 65536"/>
              <a:gd name="T5" fmla="*/ 0 60000 65536"/>
            </a:gdLst>
            <a:ahLst/>
            <a:cxnLst>
              <a:cxn ang="T4">
                <a:pos x="T0" y="T1"/>
              </a:cxn>
              <a:cxn ang="T5">
                <a:pos x="T2" y="T3"/>
              </a:cxn>
            </a:cxnLst>
            <a:rect l="0" t="0" r="r" b="b"/>
            <a:pathLst>
              <a:path w="42672" h="9131">
                <a:moveTo>
                  <a:pt x="0" y="4565"/>
                </a:moveTo>
                <a:lnTo>
                  <a:pt x="42672" y="4565"/>
                </a:lnTo>
              </a:path>
            </a:pathLst>
          </a:custGeom>
          <a:noFill/>
          <a:ln w="10401">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84" name="object 93">
            <a:extLst>
              <a:ext uri="{FF2B5EF4-FFF2-40B4-BE49-F238E27FC236}">
                <a16:creationId xmlns:a16="http://schemas.microsoft.com/office/drawing/2014/main" id="{D23899E4-015D-46E2-9FF6-2CEB25D46A52}"/>
              </a:ext>
            </a:extLst>
          </p:cNvPr>
          <p:cNvSpPr>
            <a:spLocks/>
          </p:cNvSpPr>
          <p:nvPr/>
        </p:nvSpPr>
        <p:spPr bwMode="auto">
          <a:xfrm>
            <a:off x="7153793" y="2905415"/>
            <a:ext cx="17463" cy="42862"/>
          </a:xfrm>
          <a:custGeom>
            <a:avLst/>
            <a:gdLst>
              <a:gd name="T0" fmla="*/ 0 w 18275"/>
              <a:gd name="T1" fmla="*/ 21526 h 42672"/>
              <a:gd name="T2" fmla="*/ 16687 w 18275"/>
              <a:gd name="T3" fmla="*/ 21526 h 42672"/>
              <a:gd name="T4" fmla="*/ 0 60000 65536"/>
              <a:gd name="T5" fmla="*/ 0 60000 65536"/>
            </a:gdLst>
            <a:ahLst/>
            <a:cxnLst>
              <a:cxn ang="T4">
                <a:pos x="T0" y="T1"/>
              </a:cxn>
              <a:cxn ang="T5">
                <a:pos x="T2" y="T3"/>
              </a:cxn>
            </a:cxnLst>
            <a:rect l="0" t="0" r="r" b="b"/>
            <a:pathLst>
              <a:path w="18275" h="42672">
                <a:moveTo>
                  <a:pt x="0" y="21336"/>
                </a:moveTo>
                <a:lnTo>
                  <a:pt x="18275" y="21336"/>
                </a:lnTo>
              </a:path>
            </a:pathLst>
          </a:custGeom>
          <a:noFill/>
          <a:ln w="43942">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85" name="object 94">
            <a:extLst>
              <a:ext uri="{FF2B5EF4-FFF2-40B4-BE49-F238E27FC236}">
                <a16:creationId xmlns:a16="http://schemas.microsoft.com/office/drawing/2014/main" id="{DC513E34-623E-49BD-9ECC-DFE1693BBB47}"/>
              </a:ext>
            </a:extLst>
          </p:cNvPr>
          <p:cNvSpPr>
            <a:spLocks/>
          </p:cNvSpPr>
          <p:nvPr/>
        </p:nvSpPr>
        <p:spPr bwMode="auto">
          <a:xfrm>
            <a:off x="7147443" y="2911765"/>
            <a:ext cx="6350" cy="9525"/>
          </a:xfrm>
          <a:custGeom>
            <a:avLst/>
            <a:gdLst>
              <a:gd name="T0" fmla="*/ 0 w 6096"/>
              <a:gd name="T1" fmla="*/ 4967 h 9131"/>
              <a:gd name="T2" fmla="*/ 6615 w 6096"/>
              <a:gd name="T3" fmla="*/ 4967 h 9131"/>
              <a:gd name="T4" fmla="*/ 0 60000 65536"/>
              <a:gd name="T5" fmla="*/ 0 60000 65536"/>
            </a:gdLst>
            <a:ahLst/>
            <a:cxnLst>
              <a:cxn ang="T4">
                <a:pos x="T0" y="T1"/>
              </a:cxn>
              <a:cxn ang="T5">
                <a:pos x="T2" y="T3"/>
              </a:cxn>
            </a:cxnLst>
            <a:rect l="0" t="0" r="r" b="b"/>
            <a:pathLst>
              <a:path w="6096" h="9131">
                <a:moveTo>
                  <a:pt x="0" y="4565"/>
                </a:moveTo>
                <a:lnTo>
                  <a:pt x="6096" y="4565"/>
                </a:lnTo>
              </a:path>
            </a:pathLst>
          </a:custGeom>
          <a:noFill/>
          <a:ln w="10401">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86" name="object 95">
            <a:extLst>
              <a:ext uri="{FF2B5EF4-FFF2-40B4-BE49-F238E27FC236}">
                <a16:creationId xmlns:a16="http://schemas.microsoft.com/office/drawing/2014/main" id="{D4C27B33-C260-4075-BA91-DD0AD442EAAE}"/>
              </a:ext>
            </a:extLst>
          </p:cNvPr>
          <p:cNvSpPr>
            <a:spLocks/>
          </p:cNvSpPr>
          <p:nvPr/>
        </p:nvSpPr>
        <p:spPr bwMode="auto">
          <a:xfrm>
            <a:off x="7147443" y="2932402"/>
            <a:ext cx="6350" cy="9525"/>
          </a:xfrm>
          <a:custGeom>
            <a:avLst/>
            <a:gdLst>
              <a:gd name="T0" fmla="*/ 0 w 6096"/>
              <a:gd name="T1" fmla="*/ 4961 h 9144"/>
              <a:gd name="T2" fmla="*/ 6615 w 6096"/>
              <a:gd name="T3" fmla="*/ 4961 h 9144"/>
              <a:gd name="T4" fmla="*/ 0 60000 65536"/>
              <a:gd name="T5" fmla="*/ 0 60000 65536"/>
            </a:gdLst>
            <a:ahLst/>
            <a:cxnLst>
              <a:cxn ang="T4">
                <a:pos x="T0" y="T1"/>
              </a:cxn>
              <a:cxn ang="T5">
                <a:pos x="T2" y="T3"/>
              </a:cxn>
            </a:cxnLst>
            <a:rect l="0" t="0" r="r" b="b"/>
            <a:pathLst>
              <a:path w="6096" h="9144">
                <a:moveTo>
                  <a:pt x="0" y="4572"/>
                </a:moveTo>
                <a:lnTo>
                  <a:pt x="6096" y="4572"/>
                </a:lnTo>
              </a:path>
            </a:pathLst>
          </a:custGeom>
          <a:noFill/>
          <a:ln w="10414">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87" name="object 96">
            <a:extLst>
              <a:ext uri="{FF2B5EF4-FFF2-40B4-BE49-F238E27FC236}">
                <a16:creationId xmlns:a16="http://schemas.microsoft.com/office/drawing/2014/main" id="{CC8611B6-7BCA-45C0-B1E7-6225FE6907BB}"/>
              </a:ext>
            </a:extLst>
          </p:cNvPr>
          <p:cNvSpPr>
            <a:spLocks/>
          </p:cNvSpPr>
          <p:nvPr/>
        </p:nvSpPr>
        <p:spPr bwMode="auto">
          <a:xfrm>
            <a:off x="7207768" y="2924465"/>
            <a:ext cx="22225" cy="23812"/>
          </a:xfrm>
          <a:custGeom>
            <a:avLst/>
            <a:gdLst>
              <a:gd name="T0" fmla="*/ 0 w 21336"/>
              <a:gd name="T1" fmla="*/ 11627 h 24384"/>
              <a:gd name="T2" fmla="*/ 23151 w 21336"/>
              <a:gd name="T3" fmla="*/ 11627 h 24384"/>
              <a:gd name="T4" fmla="*/ 0 60000 65536"/>
              <a:gd name="T5" fmla="*/ 0 60000 65536"/>
            </a:gdLst>
            <a:ahLst/>
            <a:cxnLst>
              <a:cxn ang="T4">
                <a:pos x="T0" y="T1"/>
              </a:cxn>
              <a:cxn ang="T5">
                <a:pos x="T2" y="T3"/>
              </a:cxn>
            </a:cxnLst>
            <a:rect l="0" t="0" r="r" b="b"/>
            <a:pathLst>
              <a:path w="21336" h="24384">
                <a:moveTo>
                  <a:pt x="0" y="12192"/>
                </a:moveTo>
                <a:lnTo>
                  <a:pt x="21336" y="12192"/>
                </a:lnTo>
              </a:path>
            </a:pathLst>
          </a:custGeom>
          <a:noFill/>
          <a:ln w="25654">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88" name="object 97">
            <a:extLst>
              <a:ext uri="{FF2B5EF4-FFF2-40B4-BE49-F238E27FC236}">
                <a16:creationId xmlns:a16="http://schemas.microsoft.com/office/drawing/2014/main" id="{5E745FA9-0AFE-475B-92FF-136AE08873CF}"/>
              </a:ext>
            </a:extLst>
          </p:cNvPr>
          <p:cNvSpPr>
            <a:spLocks/>
          </p:cNvSpPr>
          <p:nvPr/>
        </p:nvSpPr>
        <p:spPr bwMode="auto">
          <a:xfrm>
            <a:off x="7203006" y="2932402"/>
            <a:ext cx="4762" cy="9525"/>
          </a:xfrm>
          <a:custGeom>
            <a:avLst/>
            <a:gdLst>
              <a:gd name="T0" fmla="*/ 0 w 6096"/>
              <a:gd name="T1" fmla="*/ 4961 h 9144"/>
              <a:gd name="T2" fmla="*/ 3720 w 6096"/>
              <a:gd name="T3" fmla="*/ 4961 h 9144"/>
              <a:gd name="T4" fmla="*/ 0 60000 65536"/>
              <a:gd name="T5" fmla="*/ 0 60000 65536"/>
            </a:gdLst>
            <a:ahLst/>
            <a:cxnLst>
              <a:cxn ang="T4">
                <a:pos x="T0" y="T1"/>
              </a:cxn>
              <a:cxn ang="T5">
                <a:pos x="T2" y="T3"/>
              </a:cxn>
            </a:cxnLst>
            <a:rect l="0" t="0" r="r" b="b"/>
            <a:pathLst>
              <a:path w="6096" h="9144">
                <a:moveTo>
                  <a:pt x="0" y="4572"/>
                </a:moveTo>
                <a:lnTo>
                  <a:pt x="6096" y="4572"/>
                </a:lnTo>
              </a:path>
            </a:pathLst>
          </a:custGeom>
          <a:noFill/>
          <a:ln w="10414">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89" name="object 98">
            <a:extLst>
              <a:ext uri="{FF2B5EF4-FFF2-40B4-BE49-F238E27FC236}">
                <a16:creationId xmlns:a16="http://schemas.microsoft.com/office/drawing/2014/main" id="{0C59F0B7-2EAE-442E-AAE2-A8C59E4F121A}"/>
              </a:ext>
            </a:extLst>
          </p:cNvPr>
          <p:cNvSpPr>
            <a:spLocks/>
          </p:cNvSpPr>
          <p:nvPr/>
        </p:nvSpPr>
        <p:spPr bwMode="auto">
          <a:xfrm>
            <a:off x="7131568" y="2716502"/>
            <a:ext cx="42863" cy="42863"/>
          </a:xfrm>
          <a:custGeom>
            <a:avLst/>
            <a:gdLst>
              <a:gd name="T0" fmla="*/ 39979 w 42672"/>
              <a:gd name="T1" fmla="*/ 0 h 42659"/>
              <a:gd name="T2" fmla="*/ 3076 w 42672"/>
              <a:gd name="T3" fmla="*/ 0 h 42659"/>
              <a:gd name="T4" fmla="*/ 0 w 42672"/>
              <a:gd name="T5" fmla="*/ 6153 h 42659"/>
              <a:gd name="T6" fmla="*/ 0 w 42672"/>
              <a:gd name="T7" fmla="*/ 39990 h 42659"/>
              <a:gd name="T8" fmla="*/ 3076 w 42672"/>
              <a:gd name="T9" fmla="*/ 43068 h 42659"/>
              <a:gd name="T10" fmla="*/ 39979 w 42672"/>
              <a:gd name="T11" fmla="*/ 43068 h 42659"/>
              <a:gd name="T12" fmla="*/ 43055 w 42672"/>
              <a:gd name="T13" fmla="*/ 39990 h 42659"/>
              <a:gd name="T14" fmla="*/ 43055 w 42672"/>
              <a:gd name="T15" fmla="*/ 6153 h 42659"/>
              <a:gd name="T16" fmla="*/ 39979 w 42672"/>
              <a:gd name="T17" fmla="*/ 0 h 426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672" h="42659">
                <a:moveTo>
                  <a:pt x="39624" y="0"/>
                </a:moveTo>
                <a:lnTo>
                  <a:pt x="3048" y="0"/>
                </a:lnTo>
                <a:lnTo>
                  <a:pt x="0" y="6095"/>
                </a:lnTo>
                <a:lnTo>
                  <a:pt x="0" y="39611"/>
                </a:lnTo>
                <a:lnTo>
                  <a:pt x="3048" y="42659"/>
                </a:lnTo>
                <a:lnTo>
                  <a:pt x="39624" y="42659"/>
                </a:lnTo>
                <a:lnTo>
                  <a:pt x="42672" y="39611"/>
                </a:lnTo>
                <a:lnTo>
                  <a:pt x="42672" y="6095"/>
                </a:lnTo>
                <a:lnTo>
                  <a:pt x="39624"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90" name="object 99">
            <a:extLst>
              <a:ext uri="{FF2B5EF4-FFF2-40B4-BE49-F238E27FC236}">
                <a16:creationId xmlns:a16="http://schemas.microsoft.com/office/drawing/2014/main" id="{4DA35504-E033-4ED4-AD17-95BE2ABF57EE}"/>
              </a:ext>
            </a:extLst>
          </p:cNvPr>
          <p:cNvSpPr>
            <a:spLocks/>
          </p:cNvSpPr>
          <p:nvPr/>
        </p:nvSpPr>
        <p:spPr bwMode="auto">
          <a:xfrm>
            <a:off x="7137918" y="2722852"/>
            <a:ext cx="30163" cy="30163"/>
          </a:xfrm>
          <a:custGeom>
            <a:avLst/>
            <a:gdLst>
              <a:gd name="T0" fmla="*/ 26867 w 30479"/>
              <a:gd name="T1" fmla="*/ 0 h 30467"/>
              <a:gd name="T2" fmla="*/ 0 w 30479"/>
              <a:gd name="T3" fmla="*/ 0 h 30467"/>
              <a:gd name="T4" fmla="*/ 0 w 30479"/>
              <a:gd name="T5" fmla="*/ 29862 h 30467"/>
              <a:gd name="T6" fmla="*/ 26867 w 30479"/>
              <a:gd name="T7" fmla="*/ 29862 h 30467"/>
              <a:gd name="T8" fmla="*/ 29851 w 30479"/>
              <a:gd name="T9" fmla="*/ 26874 h 30467"/>
              <a:gd name="T10" fmla="*/ 29851 w 30479"/>
              <a:gd name="T11" fmla="*/ 2975 h 30467"/>
              <a:gd name="T12" fmla="*/ 26867 w 30479"/>
              <a:gd name="T13" fmla="*/ 0 h 3046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479" h="30467">
                <a:moveTo>
                  <a:pt x="27432" y="0"/>
                </a:moveTo>
                <a:lnTo>
                  <a:pt x="0" y="0"/>
                </a:lnTo>
                <a:lnTo>
                  <a:pt x="0" y="30467"/>
                </a:lnTo>
                <a:lnTo>
                  <a:pt x="27432" y="30467"/>
                </a:lnTo>
                <a:lnTo>
                  <a:pt x="30480" y="27419"/>
                </a:lnTo>
                <a:lnTo>
                  <a:pt x="30480" y="3035"/>
                </a:lnTo>
                <a:lnTo>
                  <a:pt x="27432"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91" name="object 100">
            <a:extLst>
              <a:ext uri="{FF2B5EF4-FFF2-40B4-BE49-F238E27FC236}">
                <a16:creationId xmlns:a16="http://schemas.microsoft.com/office/drawing/2014/main" id="{91D7EDAC-8D41-4A9E-A6B9-DAAA7F263E79}"/>
              </a:ext>
            </a:extLst>
          </p:cNvPr>
          <p:cNvSpPr>
            <a:spLocks/>
          </p:cNvSpPr>
          <p:nvPr/>
        </p:nvSpPr>
        <p:spPr bwMode="auto">
          <a:xfrm>
            <a:off x="7134743" y="2719677"/>
            <a:ext cx="36513" cy="36513"/>
          </a:xfrm>
          <a:custGeom>
            <a:avLst/>
            <a:gdLst>
              <a:gd name="T0" fmla="*/ 33423 w 36563"/>
              <a:gd name="T1" fmla="*/ 33423 h 36563"/>
              <a:gd name="T2" fmla="*/ 3027 w 36563"/>
              <a:gd name="T3" fmla="*/ 33423 h 36563"/>
              <a:gd name="T4" fmla="*/ 3027 w 36563"/>
              <a:gd name="T5" fmla="*/ 36463 h 36563"/>
              <a:gd name="T6" fmla="*/ 33423 w 36563"/>
              <a:gd name="T7" fmla="*/ 36463 h 36563"/>
              <a:gd name="T8" fmla="*/ 33423 w 36563"/>
              <a:gd name="T9" fmla="*/ 33423 h 36563"/>
              <a:gd name="T10" fmla="*/ 36463 w 36563"/>
              <a:gd name="T11" fmla="*/ 3039 h 36563"/>
              <a:gd name="T12" fmla="*/ 0 w 36563"/>
              <a:gd name="T13" fmla="*/ 3039 h 36563"/>
              <a:gd name="T14" fmla="*/ 0 w 36563"/>
              <a:gd name="T15" fmla="*/ 33423 h 36563"/>
              <a:gd name="T16" fmla="*/ 36463 w 36563"/>
              <a:gd name="T17" fmla="*/ 33423 h 36563"/>
              <a:gd name="T18" fmla="*/ 36463 w 36563"/>
              <a:gd name="T19" fmla="*/ 30383 h 36563"/>
              <a:gd name="T20" fmla="*/ 6067 w 36563"/>
              <a:gd name="T21" fmla="*/ 30383 h 36563"/>
              <a:gd name="T22" fmla="*/ 6067 w 36563"/>
              <a:gd name="T23" fmla="*/ 6067 h 36563"/>
              <a:gd name="T24" fmla="*/ 36463 w 36563"/>
              <a:gd name="T25" fmla="*/ 6067 h 36563"/>
              <a:gd name="T26" fmla="*/ 36463 w 36563"/>
              <a:gd name="T27" fmla="*/ 3039 h 36563"/>
              <a:gd name="T28" fmla="*/ 36463 w 36563"/>
              <a:gd name="T29" fmla="*/ 6067 h 36563"/>
              <a:gd name="T30" fmla="*/ 30383 w 36563"/>
              <a:gd name="T31" fmla="*/ 6067 h 36563"/>
              <a:gd name="T32" fmla="*/ 30383 w 36563"/>
              <a:gd name="T33" fmla="*/ 30383 h 36563"/>
              <a:gd name="T34" fmla="*/ 36463 w 36563"/>
              <a:gd name="T35" fmla="*/ 30383 h 36563"/>
              <a:gd name="T36" fmla="*/ 36463 w 36563"/>
              <a:gd name="T37" fmla="*/ 6067 h 36563"/>
              <a:gd name="T38" fmla="*/ 9107 w 36563"/>
              <a:gd name="T39" fmla="*/ 6067 h 36563"/>
              <a:gd name="T40" fmla="*/ 6067 w 36563"/>
              <a:gd name="T41" fmla="*/ 6067 h 36563"/>
              <a:gd name="T42" fmla="*/ 6067 w 36563"/>
              <a:gd name="T43" fmla="*/ 9107 h 36563"/>
              <a:gd name="T44" fmla="*/ 9107 w 36563"/>
              <a:gd name="T45" fmla="*/ 6067 h 36563"/>
              <a:gd name="T46" fmla="*/ 30383 w 36563"/>
              <a:gd name="T47" fmla="*/ 6067 h 36563"/>
              <a:gd name="T48" fmla="*/ 27345 w 36563"/>
              <a:gd name="T49" fmla="*/ 6067 h 36563"/>
              <a:gd name="T50" fmla="*/ 30383 w 36563"/>
              <a:gd name="T51" fmla="*/ 9107 h 36563"/>
              <a:gd name="T52" fmla="*/ 30383 w 36563"/>
              <a:gd name="T53" fmla="*/ 6067 h 36563"/>
              <a:gd name="T54" fmla="*/ 30383 w 36563"/>
              <a:gd name="T55" fmla="*/ 0 h 36563"/>
              <a:gd name="T56" fmla="*/ 6067 w 36563"/>
              <a:gd name="T57" fmla="*/ 0 h 36563"/>
              <a:gd name="T58" fmla="*/ 3027 w 36563"/>
              <a:gd name="T59" fmla="*/ 3039 h 36563"/>
              <a:gd name="T60" fmla="*/ 33423 w 36563"/>
              <a:gd name="T61" fmla="*/ 3039 h 36563"/>
              <a:gd name="T62" fmla="*/ 30383 w 36563"/>
              <a:gd name="T63" fmla="*/ 0 h 365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6563" h="36563">
                <a:moveTo>
                  <a:pt x="33515" y="33515"/>
                </a:moveTo>
                <a:lnTo>
                  <a:pt x="3035" y="33515"/>
                </a:lnTo>
                <a:lnTo>
                  <a:pt x="3035" y="36563"/>
                </a:lnTo>
                <a:lnTo>
                  <a:pt x="33515" y="36563"/>
                </a:lnTo>
                <a:lnTo>
                  <a:pt x="33515" y="33515"/>
                </a:lnTo>
                <a:close/>
              </a:path>
              <a:path w="36563" h="36563">
                <a:moveTo>
                  <a:pt x="36563" y="3047"/>
                </a:moveTo>
                <a:lnTo>
                  <a:pt x="0" y="3047"/>
                </a:lnTo>
                <a:lnTo>
                  <a:pt x="0" y="33515"/>
                </a:lnTo>
                <a:lnTo>
                  <a:pt x="36563" y="33515"/>
                </a:lnTo>
                <a:lnTo>
                  <a:pt x="36563" y="30467"/>
                </a:lnTo>
                <a:lnTo>
                  <a:pt x="6083" y="30467"/>
                </a:lnTo>
                <a:lnTo>
                  <a:pt x="6083" y="6083"/>
                </a:lnTo>
                <a:lnTo>
                  <a:pt x="36563" y="6083"/>
                </a:lnTo>
                <a:lnTo>
                  <a:pt x="36563" y="3047"/>
                </a:lnTo>
                <a:close/>
              </a:path>
              <a:path w="36563" h="36563">
                <a:moveTo>
                  <a:pt x="36563" y="6083"/>
                </a:moveTo>
                <a:lnTo>
                  <a:pt x="30467" y="6083"/>
                </a:lnTo>
                <a:lnTo>
                  <a:pt x="30467" y="30467"/>
                </a:lnTo>
                <a:lnTo>
                  <a:pt x="36563" y="30467"/>
                </a:lnTo>
                <a:lnTo>
                  <a:pt x="36563" y="6083"/>
                </a:lnTo>
                <a:close/>
              </a:path>
              <a:path w="36563" h="36563">
                <a:moveTo>
                  <a:pt x="9131" y="6083"/>
                </a:moveTo>
                <a:lnTo>
                  <a:pt x="6083" y="6083"/>
                </a:lnTo>
                <a:lnTo>
                  <a:pt x="6083" y="9131"/>
                </a:lnTo>
                <a:lnTo>
                  <a:pt x="9131" y="6083"/>
                </a:lnTo>
                <a:close/>
              </a:path>
              <a:path w="36563" h="36563">
                <a:moveTo>
                  <a:pt x="30467" y="6083"/>
                </a:moveTo>
                <a:lnTo>
                  <a:pt x="27419" y="6083"/>
                </a:lnTo>
                <a:lnTo>
                  <a:pt x="30467" y="9131"/>
                </a:lnTo>
                <a:lnTo>
                  <a:pt x="30467" y="6083"/>
                </a:lnTo>
                <a:close/>
              </a:path>
              <a:path w="36563" h="36563">
                <a:moveTo>
                  <a:pt x="30467" y="0"/>
                </a:moveTo>
                <a:lnTo>
                  <a:pt x="6083" y="0"/>
                </a:lnTo>
                <a:lnTo>
                  <a:pt x="3035" y="3047"/>
                </a:lnTo>
                <a:lnTo>
                  <a:pt x="33515" y="3047"/>
                </a:lnTo>
                <a:lnTo>
                  <a:pt x="30467" y="0"/>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92" name="object 101">
            <a:extLst>
              <a:ext uri="{FF2B5EF4-FFF2-40B4-BE49-F238E27FC236}">
                <a16:creationId xmlns:a16="http://schemas.microsoft.com/office/drawing/2014/main" id="{0AC10593-7F3A-4FF6-B5A2-954E7AA8F066}"/>
              </a:ext>
            </a:extLst>
          </p:cNvPr>
          <p:cNvSpPr>
            <a:spLocks/>
          </p:cNvSpPr>
          <p:nvPr/>
        </p:nvSpPr>
        <p:spPr bwMode="auto">
          <a:xfrm>
            <a:off x="7131568" y="2765715"/>
            <a:ext cx="42863" cy="39687"/>
          </a:xfrm>
          <a:custGeom>
            <a:avLst/>
            <a:gdLst>
              <a:gd name="T0" fmla="*/ 39979 w 42672"/>
              <a:gd name="T1" fmla="*/ 0 h 39611"/>
              <a:gd name="T2" fmla="*/ 3076 w 42672"/>
              <a:gd name="T3" fmla="*/ 0 h 39611"/>
              <a:gd name="T4" fmla="*/ 0 w 42672"/>
              <a:gd name="T5" fmla="*/ 3060 h 39611"/>
              <a:gd name="T6" fmla="*/ 0 w 42672"/>
              <a:gd name="T7" fmla="*/ 36703 h 39611"/>
              <a:gd name="T8" fmla="*/ 3076 w 42672"/>
              <a:gd name="T9" fmla="*/ 39763 h 39611"/>
              <a:gd name="T10" fmla="*/ 39979 w 42672"/>
              <a:gd name="T11" fmla="*/ 39763 h 39611"/>
              <a:gd name="T12" fmla="*/ 43055 w 42672"/>
              <a:gd name="T13" fmla="*/ 36703 h 39611"/>
              <a:gd name="T14" fmla="*/ 43055 w 42672"/>
              <a:gd name="T15" fmla="*/ 3060 h 39611"/>
              <a:gd name="T16" fmla="*/ 39979 w 42672"/>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672" h="39611">
                <a:moveTo>
                  <a:pt x="39624" y="0"/>
                </a:moveTo>
                <a:lnTo>
                  <a:pt x="3048" y="0"/>
                </a:lnTo>
                <a:lnTo>
                  <a:pt x="0" y="3048"/>
                </a:lnTo>
                <a:lnTo>
                  <a:pt x="0" y="36563"/>
                </a:lnTo>
                <a:lnTo>
                  <a:pt x="3048" y="39611"/>
                </a:lnTo>
                <a:lnTo>
                  <a:pt x="39624" y="39611"/>
                </a:lnTo>
                <a:lnTo>
                  <a:pt x="42672" y="36563"/>
                </a:lnTo>
                <a:lnTo>
                  <a:pt x="42672" y="3048"/>
                </a:lnTo>
                <a:lnTo>
                  <a:pt x="39624"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93" name="object 102">
            <a:extLst>
              <a:ext uri="{FF2B5EF4-FFF2-40B4-BE49-F238E27FC236}">
                <a16:creationId xmlns:a16="http://schemas.microsoft.com/office/drawing/2014/main" id="{C626AD99-155E-44CA-946F-153CC7B9B2B4}"/>
              </a:ext>
            </a:extLst>
          </p:cNvPr>
          <p:cNvSpPr>
            <a:spLocks/>
          </p:cNvSpPr>
          <p:nvPr/>
        </p:nvSpPr>
        <p:spPr bwMode="auto">
          <a:xfrm>
            <a:off x="7137918" y="2768890"/>
            <a:ext cx="30163" cy="30162"/>
          </a:xfrm>
          <a:custGeom>
            <a:avLst/>
            <a:gdLst>
              <a:gd name="T0" fmla="*/ 26867 w 30479"/>
              <a:gd name="T1" fmla="*/ 0 h 30467"/>
              <a:gd name="T2" fmla="*/ 0 w 30479"/>
              <a:gd name="T3" fmla="*/ 0 h 30467"/>
              <a:gd name="T4" fmla="*/ 0 w 30479"/>
              <a:gd name="T5" fmla="*/ 29860 h 30467"/>
              <a:gd name="T6" fmla="*/ 26867 w 30479"/>
              <a:gd name="T7" fmla="*/ 29860 h 30467"/>
              <a:gd name="T8" fmla="*/ 29851 w 30479"/>
              <a:gd name="T9" fmla="*/ 26885 h 30467"/>
              <a:gd name="T10" fmla="*/ 29851 w 30479"/>
              <a:gd name="T11" fmla="*/ 2987 h 30467"/>
              <a:gd name="T12" fmla="*/ 26867 w 30479"/>
              <a:gd name="T13" fmla="*/ 0 h 3046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479" h="30467">
                <a:moveTo>
                  <a:pt x="27432" y="0"/>
                </a:moveTo>
                <a:lnTo>
                  <a:pt x="0" y="0"/>
                </a:lnTo>
                <a:lnTo>
                  <a:pt x="0" y="30467"/>
                </a:lnTo>
                <a:lnTo>
                  <a:pt x="27432" y="30467"/>
                </a:lnTo>
                <a:lnTo>
                  <a:pt x="30480" y="27432"/>
                </a:lnTo>
                <a:lnTo>
                  <a:pt x="30480" y="3048"/>
                </a:lnTo>
                <a:lnTo>
                  <a:pt x="27432"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94" name="object 103">
            <a:extLst>
              <a:ext uri="{FF2B5EF4-FFF2-40B4-BE49-F238E27FC236}">
                <a16:creationId xmlns:a16="http://schemas.microsoft.com/office/drawing/2014/main" id="{537963B8-35E1-487A-A632-7890AF073C36}"/>
              </a:ext>
            </a:extLst>
          </p:cNvPr>
          <p:cNvSpPr>
            <a:spLocks/>
          </p:cNvSpPr>
          <p:nvPr/>
        </p:nvSpPr>
        <p:spPr bwMode="auto">
          <a:xfrm>
            <a:off x="7134743" y="2765715"/>
            <a:ext cx="36513" cy="36512"/>
          </a:xfrm>
          <a:custGeom>
            <a:avLst/>
            <a:gdLst>
              <a:gd name="T0" fmla="*/ 36463 w 36563"/>
              <a:gd name="T1" fmla="*/ 3040 h 36563"/>
              <a:gd name="T2" fmla="*/ 0 w 36563"/>
              <a:gd name="T3" fmla="*/ 3040 h 36563"/>
              <a:gd name="T4" fmla="*/ 0 w 36563"/>
              <a:gd name="T5" fmla="*/ 33421 h 36563"/>
              <a:gd name="T6" fmla="*/ 3027 w 36563"/>
              <a:gd name="T7" fmla="*/ 36461 h 36563"/>
              <a:gd name="T8" fmla="*/ 33423 w 36563"/>
              <a:gd name="T9" fmla="*/ 36461 h 36563"/>
              <a:gd name="T10" fmla="*/ 36463 w 36563"/>
              <a:gd name="T11" fmla="*/ 33421 h 36563"/>
              <a:gd name="T12" fmla="*/ 36463 w 36563"/>
              <a:gd name="T13" fmla="*/ 30395 h 36563"/>
              <a:gd name="T14" fmla="*/ 6067 w 36563"/>
              <a:gd name="T15" fmla="*/ 30395 h 36563"/>
              <a:gd name="T16" fmla="*/ 6067 w 36563"/>
              <a:gd name="T17" fmla="*/ 6079 h 36563"/>
              <a:gd name="T18" fmla="*/ 36463 w 36563"/>
              <a:gd name="T19" fmla="*/ 6079 h 36563"/>
              <a:gd name="T20" fmla="*/ 36463 w 36563"/>
              <a:gd name="T21" fmla="*/ 3040 h 36563"/>
              <a:gd name="T22" fmla="*/ 36463 w 36563"/>
              <a:gd name="T23" fmla="*/ 6079 h 36563"/>
              <a:gd name="T24" fmla="*/ 30383 w 36563"/>
              <a:gd name="T25" fmla="*/ 6079 h 36563"/>
              <a:gd name="T26" fmla="*/ 30383 w 36563"/>
              <a:gd name="T27" fmla="*/ 30395 h 36563"/>
              <a:gd name="T28" fmla="*/ 36463 w 36563"/>
              <a:gd name="T29" fmla="*/ 30395 h 36563"/>
              <a:gd name="T30" fmla="*/ 36463 w 36563"/>
              <a:gd name="T31" fmla="*/ 6079 h 36563"/>
              <a:gd name="T32" fmla="*/ 9107 w 36563"/>
              <a:gd name="T33" fmla="*/ 6079 h 36563"/>
              <a:gd name="T34" fmla="*/ 6067 w 36563"/>
              <a:gd name="T35" fmla="*/ 6079 h 36563"/>
              <a:gd name="T36" fmla="*/ 6067 w 36563"/>
              <a:gd name="T37" fmla="*/ 9118 h 36563"/>
              <a:gd name="T38" fmla="*/ 9107 w 36563"/>
              <a:gd name="T39" fmla="*/ 6079 h 36563"/>
              <a:gd name="T40" fmla="*/ 30383 w 36563"/>
              <a:gd name="T41" fmla="*/ 6079 h 36563"/>
              <a:gd name="T42" fmla="*/ 27345 w 36563"/>
              <a:gd name="T43" fmla="*/ 6079 h 36563"/>
              <a:gd name="T44" fmla="*/ 30383 w 36563"/>
              <a:gd name="T45" fmla="*/ 9118 h 36563"/>
              <a:gd name="T46" fmla="*/ 30383 w 36563"/>
              <a:gd name="T47" fmla="*/ 6079 h 36563"/>
              <a:gd name="T48" fmla="*/ 30383 w 36563"/>
              <a:gd name="T49" fmla="*/ 0 h 36563"/>
              <a:gd name="T50" fmla="*/ 6067 w 36563"/>
              <a:gd name="T51" fmla="*/ 0 h 36563"/>
              <a:gd name="T52" fmla="*/ 3027 w 36563"/>
              <a:gd name="T53" fmla="*/ 3040 h 36563"/>
              <a:gd name="T54" fmla="*/ 33423 w 36563"/>
              <a:gd name="T55" fmla="*/ 3040 h 36563"/>
              <a:gd name="T56" fmla="*/ 30383 w 36563"/>
              <a:gd name="T57" fmla="*/ 0 h 3656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6563" h="36563">
                <a:moveTo>
                  <a:pt x="36563" y="3048"/>
                </a:moveTo>
                <a:lnTo>
                  <a:pt x="0" y="3048"/>
                </a:lnTo>
                <a:lnTo>
                  <a:pt x="0" y="33515"/>
                </a:lnTo>
                <a:lnTo>
                  <a:pt x="3035" y="36563"/>
                </a:lnTo>
                <a:lnTo>
                  <a:pt x="33515" y="36563"/>
                </a:lnTo>
                <a:lnTo>
                  <a:pt x="36563" y="33515"/>
                </a:lnTo>
                <a:lnTo>
                  <a:pt x="36563" y="30480"/>
                </a:lnTo>
                <a:lnTo>
                  <a:pt x="6083" y="30480"/>
                </a:lnTo>
                <a:lnTo>
                  <a:pt x="6083" y="6096"/>
                </a:lnTo>
                <a:lnTo>
                  <a:pt x="36563" y="6096"/>
                </a:lnTo>
                <a:lnTo>
                  <a:pt x="36563" y="3048"/>
                </a:lnTo>
                <a:close/>
              </a:path>
              <a:path w="36563" h="36563">
                <a:moveTo>
                  <a:pt x="36563" y="6096"/>
                </a:moveTo>
                <a:lnTo>
                  <a:pt x="30467" y="6096"/>
                </a:lnTo>
                <a:lnTo>
                  <a:pt x="30467" y="30480"/>
                </a:lnTo>
                <a:lnTo>
                  <a:pt x="36563" y="30480"/>
                </a:lnTo>
                <a:lnTo>
                  <a:pt x="36563" y="6096"/>
                </a:lnTo>
                <a:close/>
              </a:path>
              <a:path w="36563" h="36563">
                <a:moveTo>
                  <a:pt x="9131" y="6096"/>
                </a:moveTo>
                <a:lnTo>
                  <a:pt x="6083" y="6096"/>
                </a:lnTo>
                <a:lnTo>
                  <a:pt x="6083" y="9144"/>
                </a:lnTo>
                <a:lnTo>
                  <a:pt x="9131" y="6096"/>
                </a:lnTo>
                <a:close/>
              </a:path>
              <a:path w="36563" h="36563">
                <a:moveTo>
                  <a:pt x="30467" y="6096"/>
                </a:moveTo>
                <a:lnTo>
                  <a:pt x="27419" y="6096"/>
                </a:lnTo>
                <a:lnTo>
                  <a:pt x="30467" y="9144"/>
                </a:lnTo>
                <a:lnTo>
                  <a:pt x="30467" y="6096"/>
                </a:lnTo>
                <a:close/>
              </a:path>
              <a:path w="36563" h="36563">
                <a:moveTo>
                  <a:pt x="30467" y="0"/>
                </a:moveTo>
                <a:lnTo>
                  <a:pt x="6083" y="0"/>
                </a:lnTo>
                <a:lnTo>
                  <a:pt x="3035" y="3048"/>
                </a:lnTo>
                <a:lnTo>
                  <a:pt x="33515" y="3048"/>
                </a:lnTo>
                <a:lnTo>
                  <a:pt x="30467" y="0"/>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95" name="object 104">
            <a:extLst>
              <a:ext uri="{FF2B5EF4-FFF2-40B4-BE49-F238E27FC236}">
                <a16:creationId xmlns:a16="http://schemas.microsoft.com/office/drawing/2014/main" id="{9B69F063-63A3-4129-B543-D08FCE13430D}"/>
              </a:ext>
            </a:extLst>
          </p:cNvPr>
          <p:cNvSpPr>
            <a:spLocks/>
          </p:cNvSpPr>
          <p:nvPr/>
        </p:nvSpPr>
        <p:spPr bwMode="auto">
          <a:xfrm>
            <a:off x="7131568" y="2808577"/>
            <a:ext cx="42863" cy="39688"/>
          </a:xfrm>
          <a:custGeom>
            <a:avLst/>
            <a:gdLst>
              <a:gd name="T0" fmla="*/ 39979 w 42672"/>
              <a:gd name="T1" fmla="*/ 0 h 39611"/>
              <a:gd name="T2" fmla="*/ 3076 w 42672"/>
              <a:gd name="T3" fmla="*/ 0 h 39611"/>
              <a:gd name="T4" fmla="*/ 0 w 42672"/>
              <a:gd name="T5" fmla="*/ 3060 h 39611"/>
              <a:gd name="T6" fmla="*/ 0 w 42672"/>
              <a:gd name="T7" fmla="*/ 36705 h 39611"/>
              <a:gd name="T8" fmla="*/ 3076 w 42672"/>
              <a:gd name="T9" fmla="*/ 39765 h 39611"/>
              <a:gd name="T10" fmla="*/ 39979 w 42672"/>
              <a:gd name="T11" fmla="*/ 39765 h 39611"/>
              <a:gd name="T12" fmla="*/ 43055 w 42672"/>
              <a:gd name="T13" fmla="*/ 36705 h 39611"/>
              <a:gd name="T14" fmla="*/ 43055 w 42672"/>
              <a:gd name="T15" fmla="*/ 3060 h 39611"/>
              <a:gd name="T16" fmla="*/ 39979 w 42672"/>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672" h="39611">
                <a:moveTo>
                  <a:pt x="39624" y="0"/>
                </a:moveTo>
                <a:lnTo>
                  <a:pt x="3048" y="0"/>
                </a:lnTo>
                <a:lnTo>
                  <a:pt x="0" y="3048"/>
                </a:lnTo>
                <a:lnTo>
                  <a:pt x="0" y="36563"/>
                </a:lnTo>
                <a:lnTo>
                  <a:pt x="3048" y="39611"/>
                </a:lnTo>
                <a:lnTo>
                  <a:pt x="39624" y="39611"/>
                </a:lnTo>
                <a:lnTo>
                  <a:pt x="42672" y="36563"/>
                </a:lnTo>
                <a:lnTo>
                  <a:pt x="42672" y="3048"/>
                </a:lnTo>
                <a:lnTo>
                  <a:pt x="39624"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96" name="object 105">
            <a:extLst>
              <a:ext uri="{FF2B5EF4-FFF2-40B4-BE49-F238E27FC236}">
                <a16:creationId xmlns:a16="http://schemas.microsoft.com/office/drawing/2014/main" id="{7022B307-B540-4C78-A6A2-39AEC145E95A}"/>
              </a:ext>
            </a:extLst>
          </p:cNvPr>
          <p:cNvSpPr>
            <a:spLocks/>
          </p:cNvSpPr>
          <p:nvPr/>
        </p:nvSpPr>
        <p:spPr bwMode="auto">
          <a:xfrm>
            <a:off x="7137918" y="2813340"/>
            <a:ext cx="30163" cy="31750"/>
          </a:xfrm>
          <a:custGeom>
            <a:avLst/>
            <a:gdLst>
              <a:gd name="T0" fmla="*/ 26867 w 30479"/>
              <a:gd name="T1" fmla="*/ 0 h 30467"/>
              <a:gd name="T2" fmla="*/ 0 w 30479"/>
              <a:gd name="T3" fmla="*/ 0 h 30467"/>
              <a:gd name="T4" fmla="*/ 0 w 30479"/>
              <a:gd name="T5" fmla="*/ 33087 h 30467"/>
              <a:gd name="T6" fmla="*/ 26867 w 30479"/>
              <a:gd name="T7" fmla="*/ 33087 h 30467"/>
              <a:gd name="T8" fmla="*/ 29851 w 30479"/>
              <a:gd name="T9" fmla="*/ 29777 h 30467"/>
              <a:gd name="T10" fmla="*/ 29851 w 30479"/>
              <a:gd name="T11" fmla="*/ 3309 h 30467"/>
              <a:gd name="T12" fmla="*/ 26867 w 30479"/>
              <a:gd name="T13" fmla="*/ 0 h 3046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479" h="30467">
                <a:moveTo>
                  <a:pt x="27432" y="0"/>
                </a:moveTo>
                <a:lnTo>
                  <a:pt x="0" y="0"/>
                </a:lnTo>
                <a:lnTo>
                  <a:pt x="0" y="30467"/>
                </a:lnTo>
                <a:lnTo>
                  <a:pt x="27432" y="30467"/>
                </a:lnTo>
                <a:lnTo>
                  <a:pt x="30480" y="27419"/>
                </a:lnTo>
                <a:lnTo>
                  <a:pt x="30480" y="3047"/>
                </a:lnTo>
                <a:lnTo>
                  <a:pt x="27432"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97" name="object 106">
            <a:extLst>
              <a:ext uri="{FF2B5EF4-FFF2-40B4-BE49-F238E27FC236}">
                <a16:creationId xmlns:a16="http://schemas.microsoft.com/office/drawing/2014/main" id="{7E02759B-06D6-40F8-A33D-75BCF8F0BAB2}"/>
              </a:ext>
            </a:extLst>
          </p:cNvPr>
          <p:cNvSpPr>
            <a:spLocks/>
          </p:cNvSpPr>
          <p:nvPr/>
        </p:nvSpPr>
        <p:spPr bwMode="auto">
          <a:xfrm>
            <a:off x="7134743" y="2811752"/>
            <a:ext cx="36513" cy="36513"/>
          </a:xfrm>
          <a:custGeom>
            <a:avLst/>
            <a:gdLst>
              <a:gd name="T0" fmla="*/ 33423 w 36563"/>
              <a:gd name="T1" fmla="*/ 33423 h 36563"/>
              <a:gd name="T2" fmla="*/ 3027 w 36563"/>
              <a:gd name="T3" fmla="*/ 33423 h 36563"/>
              <a:gd name="T4" fmla="*/ 6067 w 36563"/>
              <a:gd name="T5" fmla="*/ 36463 h 36563"/>
              <a:gd name="T6" fmla="*/ 30383 w 36563"/>
              <a:gd name="T7" fmla="*/ 36463 h 36563"/>
              <a:gd name="T8" fmla="*/ 33423 w 36563"/>
              <a:gd name="T9" fmla="*/ 33423 h 36563"/>
              <a:gd name="T10" fmla="*/ 36463 w 36563"/>
              <a:gd name="T11" fmla="*/ 3039 h 36563"/>
              <a:gd name="T12" fmla="*/ 0 w 36563"/>
              <a:gd name="T13" fmla="*/ 3039 h 36563"/>
              <a:gd name="T14" fmla="*/ 0 w 36563"/>
              <a:gd name="T15" fmla="*/ 33423 h 36563"/>
              <a:gd name="T16" fmla="*/ 36463 w 36563"/>
              <a:gd name="T17" fmla="*/ 33423 h 36563"/>
              <a:gd name="T18" fmla="*/ 36463 w 36563"/>
              <a:gd name="T19" fmla="*/ 30383 h 36563"/>
              <a:gd name="T20" fmla="*/ 6067 w 36563"/>
              <a:gd name="T21" fmla="*/ 30383 h 36563"/>
              <a:gd name="T22" fmla="*/ 6067 w 36563"/>
              <a:gd name="T23" fmla="*/ 6079 h 36563"/>
              <a:gd name="T24" fmla="*/ 36463 w 36563"/>
              <a:gd name="T25" fmla="*/ 6079 h 36563"/>
              <a:gd name="T26" fmla="*/ 36463 w 36563"/>
              <a:gd name="T27" fmla="*/ 3039 h 36563"/>
              <a:gd name="T28" fmla="*/ 6067 w 36563"/>
              <a:gd name="T29" fmla="*/ 27332 h 36563"/>
              <a:gd name="T30" fmla="*/ 6067 w 36563"/>
              <a:gd name="T31" fmla="*/ 30383 h 36563"/>
              <a:gd name="T32" fmla="*/ 9107 w 36563"/>
              <a:gd name="T33" fmla="*/ 30383 h 36563"/>
              <a:gd name="T34" fmla="*/ 6067 w 36563"/>
              <a:gd name="T35" fmla="*/ 27332 h 36563"/>
              <a:gd name="T36" fmla="*/ 30383 w 36563"/>
              <a:gd name="T37" fmla="*/ 27332 h 36563"/>
              <a:gd name="T38" fmla="*/ 27345 w 36563"/>
              <a:gd name="T39" fmla="*/ 30383 h 36563"/>
              <a:gd name="T40" fmla="*/ 30383 w 36563"/>
              <a:gd name="T41" fmla="*/ 30383 h 36563"/>
              <a:gd name="T42" fmla="*/ 30383 w 36563"/>
              <a:gd name="T43" fmla="*/ 27332 h 36563"/>
              <a:gd name="T44" fmla="*/ 36463 w 36563"/>
              <a:gd name="T45" fmla="*/ 6079 h 36563"/>
              <a:gd name="T46" fmla="*/ 30383 w 36563"/>
              <a:gd name="T47" fmla="*/ 6079 h 36563"/>
              <a:gd name="T48" fmla="*/ 30383 w 36563"/>
              <a:gd name="T49" fmla="*/ 30383 h 36563"/>
              <a:gd name="T50" fmla="*/ 36463 w 36563"/>
              <a:gd name="T51" fmla="*/ 30383 h 36563"/>
              <a:gd name="T52" fmla="*/ 36463 w 36563"/>
              <a:gd name="T53" fmla="*/ 6079 h 36563"/>
              <a:gd name="T54" fmla="*/ 9107 w 36563"/>
              <a:gd name="T55" fmla="*/ 6079 h 36563"/>
              <a:gd name="T56" fmla="*/ 6067 w 36563"/>
              <a:gd name="T57" fmla="*/ 6079 h 36563"/>
              <a:gd name="T58" fmla="*/ 6067 w 36563"/>
              <a:gd name="T59" fmla="*/ 9107 h 36563"/>
              <a:gd name="T60" fmla="*/ 9107 w 36563"/>
              <a:gd name="T61" fmla="*/ 6079 h 36563"/>
              <a:gd name="T62" fmla="*/ 30383 w 36563"/>
              <a:gd name="T63" fmla="*/ 6079 h 36563"/>
              <a:gd name="T64" fmla="*/ 27345 w 36563"/>
              <a:gd name="T65" fmla="*/ 6079 h 36563"/>
              <a:gd name="T66" fmla="*/ 30383 w 36563"/>
              <a:gd name="T67" fmla="*/ 9107 h 36563"/>
              <a:gd name="T68" fmla="*/ 30383 w 36563"/>
              <a:gd name="T69" fmla="*/ 6079 h 36563"/>
              <a:gd name="T70" fmla="*/ 30383 w 36563"/>
              <a:gd name="T71" fmla="*/ 0 h 36563"/>
              <a:gd name="T72" fmla="*/ 6067 w 36563"/>
              <a:gd name="T73" fmla="*/ 0 h 36563"/>
              <a:gd name="T74" fmla="*/ 3027 w 36563"/>
              <a:gd name="T75" fmla="*/ 3039 h 36563"/>
              <a:gd name="T76" fmla="*/ 33423 w 36563"/>
              <a:gd name="T77" fmla="*/ 3039 h 36563"/>
              <a:gd name="T78" fmla="*/ 30383 w 36563"/>
              <a:gd name="T79" fmla="*/ 0 h 365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6563" h="36563">
                <a:moveTo>
                  <a:pt x="33515" y="33515"/>
                </a:moveTo>
                <a:lnTo>
                  <a:pt x="3035" y="33515"/>
                </a:lnTo>
                <a:lnTo>
                  <a:pt x="6083" y="36563"/>
                </a:lnTo>
                <a:lnTo>
                  <a:pt x="30467" y="36563"/>
                </a:lnTo>
                <a:lnTo>
                  <a:pt x="33515" y="33515"/>
                </a:lnTo>
                <a:close/>
              </a:path>
              <a:path w="36563" h="36563">
                <a:moveTo>
                  <a:pt x="36563" y="3047"/>
                </a:moveTo>
                <a:lnTo>
                  <a:pt x="0" y="3047"/>
                </a:lnTo>
                <a:lnTo>
                  <a:pt x="0" y="33515"/>
                </a:lnTo>
                <a:lnTo>
                  <a:pt x="36563" y="33515"/>
                </a:lnTo>
                <a:lnTo>
                  <a:pt x="36563" y="30467"/>
                </a:lnTo>
                <a:lnTo>
                  <a:pt x="6083" y="30467"/>
                </a:lnTo>
                <a:lnTo>
                  <a:pt x="6083" y="6095"/>
                </a:lnTo>
                <a:lnTo>
                  <a:pt x="36563" y="6095"/>
                </a:lnTo>
                <a:lnTo>
                  <a:pt x="36563" y="3047"/>
                </a:lnTo>
                <a:close/>
              </a:path>
              <a:path w="36563" h="36563">
                <a:moveTo>
                  <a:pt x="6083" y="27406"/>
                </a:moveTo>
                <a:lnTo>
                  <a:pt x="6083" y="30467"/>
                </a:lnTo>
                <a:lnTo>
                  <a:pt x="9131" y="30467"/>
                </a:lnTo>
                <a:lnTo>
                  <a:pt x="6083" y="27406"/>
                </a:lnTo>
                <a:close/>
              </a:path>
              <a:path w="36563" h="36563">
                <a:moveTo>
                  <a:pt x="30467" y="27406"/>
                </a:moveTo>
                <a:lnTo>
                  <a:pt x="27419" y="30467"/>
                </a:lnTo>
                <a:lnTo>
                  <a:pt x="30467" y="30467"/>
                </a:lnTo>
                <a:lnTo>
                  <a:pt x="30467" y="27406"/>
                </a:lnTo>
                <a:close/>
              </a:path>
              <a:path w="36563" h="36563">
                <a:moveTo>
                  <a:pt x="36563" y="6095"/>
                </a:moveTo>
                <a:lnTo>
                  <a:pt x="30467" y="6095"/>
                </a:lnTo>
                <a:lnTo>
                  <a:pt x="30467" y="30467"/>
                </a:lnTo>
                <a:lnTo>
                  <a:pt x="36563" y="30467"/>
                </a:lnTo>
                <a:lnTo>
                  <a:pt x="36563" y="6095"/>
                </a:lnTo>
                <a:close/>
              </a:path>
              <a:path w="36563" h="36563">
                <a:moveTo>
                  <a:pt x="9131" y="6095"/>
                </a:moveTo>
                <a:lnTo>
                  <a:pt x="6083" y="6095"/>
                </a:lnTo>
                <a:lnTo>
                  <a:pt x="6083" y="9131"/>
                </a:lnTo>
                <a:lnTo>
                  <a:pt x="9131" y="6095"/>
                </a:lnTo>
                <a:close/>
              </a:path>
              <a:path w="36563" h="36563">
                <a:moveTo>
                  <a:pt x="30467" y="6095"/>
                </a:moveTo>
                <a:lnTo>
                  <a:pt x="27419" y="6095"/>
                </a:lnTo>
                <a:lnTo>
                  <a:pt x="30467" y="9131"/>
                </a:lnTo>
                <a:lnTo>
                  <a:pt x="30467" y="6095"/>
                </a:lnTo>
                <a:close/>
              </a:path>
              <a:path w="36563" h="36563">
                <a:moveTo>
                  <a:pt x="30467" y="0"/>
                </a:moveTo>
                <a:lnTo>
                  <a:pt x="6083" y="0"/>
                </a:lnTo>
                <a:lnTo>
                  <a:pt x="3035" y="3047"/>
                </a:lnTo>
                <a:lnTo>
                  <a:pt x="33515" y="3047"/>
                </a:lnTo>
                <a:lnTo>
                  <a:pt x="30467" y="0"/>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98" name="object 107">
            <a:extLst>
              <a:ext uri="{FF2B5EF4-FFF2-40B4-BE49-F238E27FC236}">
                <a16:creationId xmlns:a16="http://schemas.microsoft.com/office/drawing/2014/main" id="{A33150CD-4A7F-424B-BB5A-2FB4018251FC}"/>
              </a:ext>
            </a:extLst>
          </p:cNvPr>
          <p:cNvSpPr>
            <a:spLocks/>
          </p:cNvSpPr>
          <p:nvPr/>
        </p:nvSpPr>
        <p:spPr bwMode="auto">
          <a:xfrm>
            <a:off x="7131568" y="2853027"/>
            <a:ext cx="42863" cy="42863"/>
          </a:xfrm>
          <a:custGeom>
            <a:avLst/>
            <a:gdLst>
              <a:gd name="T0" fmla="*/ 39979 w 42672"/>
              <a:gd name="T1" fmla="*/ 0 h 42646"/>
              <a:gd name="T2" fmla="*/ 3076 w 42672"/>
              <a:gd name="T3" fmla="*/ 0 h 42646"/>
              <a:gd name="T4" fmla="*/ 0 w 42672"/>
              <a:gd name="T5" fmla="*/ 3066 h 42646"/>
              <a:gd name="T6" fmla="*/ 0 w 42672"/>
              <a:gd name="T7" fmla="*/ 36936 h 42646"/>
              <a:gd name="T8" fmla="*/ 3076 w 42672"/>
              <a:gd name="T9" fmla="*/ 43081 h 42646"/>
              <a:gd name="T10" fmla="*/ 39979 w 42672"/>
              <a:gd name="T11" fmla="*/ 43081 h 42646"/>
              <a:gd name="T12" fmla="*/ 43055 w 42672"/>
              <a:gd name="T13" fmla="*/ 36936 h 42646"/>
              <a:gd name="T14" fmla="*/ 43055 w 42672"/>
              <a:gd name="T15" fmla="*/ 3066 h 42646"/>
              <a:gd name="T16" fmla="*/ 39979 w 42672"/>
              <a:gd name="T17" fmla="*/ 0 h 426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672" h="42646">
                <a:moveTo>
                  <a:pt x="39624" y="0"/>
                </a:moveTo>
                <a:lnTo>
                  <a:pt x="3048" y="0"/>
                </a:lnTo>
                <a:lnTo>
                  <a:pt x="0" y="3035"/>
                </a:lnTo>
                <a:lnTo>
                  <a:pt x="0" y="36563"/>
                </a:lnTo>
                <a:lnTo>
                  <a:pt x="3048" y="42646"/>
                </a:lnTo>
                <a:lnTo>
                  <a:pt x="39624" y="42646"/>
                </a:lnTo>
                <a:lnTo>
                  <a:pt x="42672" y="36563"/>
                </a:lnTo>
                <a:lnTo>
                  <a:pt x="42672" y="3035"/>
                </a:lnTo>
                <a:lnTo>
                  <a:pt x="39624"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99" name="object 108">
            <a:extLst>
              <a:ext uri="{FF2B5EF4-FFF2-40B4-BE49-F238E27FC236}">
                <a16:creationId xmlns:a16="http://schemas.microsoft.com/office/drawing/2014/main" id="{AD9B4C0C-ECEC-404C-85FD-2C8938715C08}"/>
              </a:ext>
            </a:extLst>
          </p:cNvPr>
          <p:cNvSpPr>
            <a:spLocks/>
          </p:cNvSpPr>
          <p:nvPr/>
        </p:nvSpPr>
        <p:spPr bwMode="auto">
          <a:xfrm>
            <a:off x="7137918" y="2859377"/>
            <a:ext cx="30163" cy="30163"/>
          </a:xfrm>
          <a:custGeom>
            <a:avLst/>
            <a:gdLst>
              <a:gd name="T0" fmla="*/ 26867 w 30479"/>
              <a:gd name="T1" fmla="*/ 0 h 30480"/>
              <a:gd name="T2" fmla="*/ 0 w 30479"/>
              <a:gd name="T3" fmla="*/ 0 h 30480"/>
              <a:gd name="T4" fmla="*/ 0 w 30479"/>
              <a:gd name="T5" fmla="*/ 29849 h 30480"/>
              <a:gd name="T6" fmla="*/ 26867 w 30479"/>
              <a:gd name="T7" fmla="*/ 29849 h 30480"/>
              <a:gd name="T8" fmla="*/ 29851 w 30479"/>
              <a:gd name="T9" fmla="*/ 26865 h 30480"/>
              <a:gd name="T10" fmla="*/ 29851 w 30479"/>
              <a:gd name="T11" fmla="*/ 2985 h 30480"/>
              <a:gd name="T12" fmla="*/ 26867 w 30479"/>
              <a:gd name="T13" fmla="*/ 0 h 3048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479" h="30480">
                <a:moveTo>
                  <a:pt x="27432" y="0"/>
                </a:moveTo>
                <a:lnTo>
                  <a:pt x="0" y="0"/>
                </a:lnTo>
                <a:lnTo>
                  <a:pt x="0" y="30480"/>
                </a:lnTo>
                <a:lnTo>
                  <a:pt x="27432" y="30480"/>
                </a:lnTo>
                <a:lnTo>
                  <a:pt x="30480" y="27432"/>
                </a:lnTo>
                <a:lnTo>
                  <a:pt x="30480" y="3048"/>
                </a:lnTo>
                <a:lnTo>
                  <a:pt x="27432"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00" name="object 109">
            <a:extLst>
              <a:ext uri="{FF2B5EF4-FFF2-40B4-BE49-F238E27FC236}">
                <a16:creationId xmlns:a16="http://schemas.microsoft.com/office/drawing/2014/main" id="{4C62267D-2562-4D47-A71C-E30111AF93D7}"/>
              </a:ext>
            </a:extLst>
          </p:cNvPr>
          <p:cNvSpPr>
            <a:spLocks/>
          </p:cNvSpPr>
          <p:nvPr/>
        </p:nvSpPr>
        <p:spPr bwMode="auto">
          <a:xfrm>
            <a:off x="7134743" y="2856202"/>
            <a:ext cx="36513" cy="36513"/>
          </a:xfrm>
          <a:custGeom>
            <a:avLst/>
            <a:gdLst>
              <a:gd name="T0" fmla="*/ 33423 w 36563"/>
              <a:gd name="T1" fmla="*/ 33412 h 36576"/>
              <a:gd name="T2" fmla="*/ 3027 w 36563"/>
              <a:gd name="T3" fmla="*/ 33412 h 36576"/>
              <a:gd name="T4" fmla="*/ 3027 w 36563"/>
              <a:gd name="T5" fmla="*/ 36450 h 36576"/>
              <a:gd name="T6" fmla="*/ 30383 w 36563"/>
              <a:gd name="T7" fmla="*/ 36450 h 36576"/>
              <a:gd name="T8" fmla="*/ 33423 w 36563"/>
              <a:gd name="T9" fmla="*/ 33412 h 36576"/>
              <a:gd name="T10" fmla="*/ 36463 w 36563"/>
              <a:gd name="T11" fmla="*/ 3038 h 36576"/>
              <a:gd name="T12" fmla="*/ 0 w 36563"/>
              <a:gd name="T13" fmla="*/ 3038 h 36576"/>
              <a:gd name="T14" fmla="*/ 0 w 36563"/>
              <a:gd name="T15" fmla="*/ 33412 h 36576"/>
              <a:gd name="T16" fmla="*/ 36463 w 36563"/>
              <a:gd name="T17" fmla="*/ 33412 h 36576"/>
              <a:gd name="T18" fmla="*/ 36463 w 36563"/>
              <a:gd name="T19" fmla="*/ 30376 h 36576"/>
              <a:gd name="T20" fmla="*/ 6067 w 36563"/>
              <a:gd name="T21" fmla="*/ 30376 h 36576"/>
              <a:gd name="T22" fmla="*/ 6067 w 36563"/>
              <a:gd name="T23" fmla="*/ 6076 h 36576"/>
              <a:gd name="T24" fmla="*/ 36463 w 36563"/>
              <a:gd name="T25" fmla="*/ 6076 h 36576"/>
              <a:gd name="T26" fmla="*/ 36463 w 36563"/>
              <a:gd name="T27" fmla="*/ 3038 h 36576"/>
              <a:gd name="T28" fmla="*/ 36463 w 36563"/>
              <a:gd name="T29" fmla="*/ 6076 h 36576"/>
              <a:gd name="T30" fmla="*/ 30383 w 36563"/>
              <a:gd name="T31" fmla="*/ 6076 h 36576"/>
              <a:gd name="T32" fmla="*/ 30383 w 36563"/>
              <a:gd name="T33" fmla="*/ 30376 h 36576"/>
              <a:gd name="T34" fmla="*/ 36463 w 36563"/>
              <a:gd name="T35" fmla="*/ 30376 h 36576"/>
              <a:gd name="T36" fmla="*/ 36463 w 36563"/>
              <a:gd name="T37" fmla="*/ 6076 h 36576"/>
              <a:gd name="T38" fmla="*/ 9107 w 36563"/>
              <a:gd name="T39" fmla="*/ 6076 h 36576"/>
              <a:gd name="T40" fmla="*/ 6067 w 36563"/>
              <a:gd name="T41" fmla="*/ 6076 h 36576"/>
              <a:gd name="T42" fmla="*/ 6067 w 36563"/>
              <a:gd name="T43" fmla="*/ 9112 h 36576"/>
              <a:gd name="T44" fmla="*/ 9107 w 36563"/>
              <a:gd name="T45" fmla="*/ 6076 h 36576"/>
              <a:gd name="T46" fmla="*/ 30383 w 36563"/>
              <a:gd name="T47" fmla="*/ 6076 h 36576"/>
              <a:gd name="T48" fmla="*/ 27345 w 36563"/>
              <a:gd name="T49" fmla="*/ 6076 h 36576"/>
              <a:gd name="T50" fmla="*/ 30383 w 36563"/>
              <a:gd name="T51" fmla="*/ 9112 h 36576"/>
              <a:gd name="T52" fmla="*/ 30383 w 36563"/>
              <a:gd name="T53" fmla="*/ 6076 h 36576"/>
              <a:gd name="T54" fmla="*/ 30383 w 36563"/>
              <a:gd name="T55" fmla="*/ 0 h 36576"/>
              <a:gd name="T56" fmla="*/ 6067 w 36563"/>
              <a:gd name="T57" fmla="*/ 0 h 36576"/>
              <a:gd name="T58" fmla="*/ 3027 w 36563"/>
              <a:gd name="T59" fmla="*/ 3038 h 36576"/>
              <a:gd name="T60" fmla="*/ 33423 w 36563"/>
              <a:gd name="T61" fmla="*/ 3038 h 36576"/>
              <a:gd name="T62" fmla="*/ 30383 w 36563"/>
              <a:gd name="T63" fmla="*/ 0 h 3657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6563" h="36576">
                <a:moveTo>
                  <a:pt x="33515" y="33528"/>
                </a:moveTo>
                <a:lnTo>
                  <a:pt x="3035" y="33528"/>
                </a:lnTo>
                <a:lnTo>
                  <a:pt x="3035" y="36576"/>
                </a:lnTo>
                <a:lnTo>
                  <a:pt x="30467" y="36576"/>
                </a:lnTo>
                <a:lnTo>
                  <a:pt x="33515" y="33528"/>
                </a:lnTo>
                <a:close/>
              </a:path>
              <a:path w="36563" h="36576">
                <a:moveTo>
                  <a:pt x="36563" y="3048"/>
                </a:moveTo>
                <a:lnTo>
                  <a:pt x="0" y="3048"/>
                </a:lnTo>
                <a:lnTo>
                  <a:pt x="0" y="33528"/>
                </a:lnTo>
                <a:lnTo>
                  <a:pt x="36563" y="33528"/>
                </a:lnTo>
                <a:lnTo>
                  <a:pt x="36563" y="30480"/>
                </a:lnTo>
                <a:lnTo>
                  <a:pt x="6083" y="30480"/>
                </a:lnTo>
                <a:lnTo>
                  <a:pt x="6083" y="6096"/>
                </a:lnTo>
                <a:lnTo>
                  <a:pt x="36563" y="6096"/>
                </a:lnTo>
                <a:lnTo>
                  <a:pt x="36563" y="3048"/>
                </a:lnTo>
                <a:close/>
              </a:path>
              <a:path w="36563" h="36576">
                <a:moveTo>
                  <a:pt x="36563" y="6096"/>
                </a:moveTo>
                <a:lnTo>
                  <a:pt x="30467" y="6096"/>
                </a:lnTo>
                <a:lnTo>
                  <a:pt x="30467" y="30480"/>
                </a:lnTo>
                <a:lnTo>
                  <a:pt x="36563" y="30480"/>
                </a:lnTo>
                <a:lnTo>
                  <a:pt x="36563" y="6096"/>
                </a:lnTo>
                <a:close/>
              </a:path>
              <a:path w="36563" h="36576">
                <a:moveTo>
                  <a:pt x="9131" y="6096"/>
                </a:moveTo>
                <a:lnTo>
                  <a:pt x="6083" y="6096"/>
                </a:lnTo>
                <a:lnTo>
                  <a:pt x="6083" y="9144"/>
                </a:lnTo>
                <a:lnTo>
                  <a:pt x="9131" y="6096"/>
                </a:lnTo>
                <a:close/>
              </a:path>
              <a:path w="36563" h="36576">
                <a:moveTo>
                  <a:pt x="30467" y="6096"/>
                </a:moveTo>
                <a:lnTo>
                  <a:pt x="27419" y="6096"/>
                </a:lnTo>
                <a:lnTo>
                  <a:pt x="30467" y="9144"/>
                </a:lnTo>
                <a:lnTo>
                  <a:pt x="30467" y="6096"/>
                </a:lnTo>
                <a:close/>
              </a:path>
              <a:path w="36563" h="36576">
                <a:moveTo>
                  <a:pt x="30467" y="0"/>
                </a:moveTo>
                <a:lnTo>
                  <a:pt x="6083" y="0"/>
                </a:lnTo>
                <a:lnTo>
                  <a:pt x="3035" y="3048"/>
                </a:lnTo>
                <a:lnTo>
                  <a:pt x="33515" y="3048"/>
                </a:lnTo>
                <a:lnTo>
                  <a:pt x="30467" y="0"/>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01" name="object 110">
            <a:extLst>
              <a:ext uri="{FF2B5EF4-FFF2-40B4-BE49-F238E27FC236}">
                <a16:creationId xmlns:a16="http://schemas.microsoft.com/office/drawing/2014/main" id="{5B372A90-4EAF-4F80-A656-E8770C32EDD2}"/>
              </a:ext>
            </a:extLst>
          </p:cNvPr>
          <p:cNvSpPr>
            <a:spLocks noChangeArrowheads="1"/>
          </p:cNvSpPr>
          <p:nvPr/>
        </p:nvSpPr>
        <p:spPr bwMode="auto">
          <a:xfrm>
            <a:off x="6833118" y="1603665"/>
            <a:ext cx="722313" cy="795337"/>
          </a:xfrm>
          <a:prstGeom prst="rect">
            <a:avLst/>
          </a:prstGeom>
          <a:blipFill dpi="0" rotWithShape="1">
            <a:blip r:embed="rId9"/>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102" name="object 111">
            <a:extLst>
              <a:ext uri="{FF2B5EF4-FFF2-40B4-BE49-F238E27FC236}">
                <a16:creationId xmlns:a16="http://schemas.microsoft.com/office/drawing/2014/main" id="{4864FD88-B482-43B8-BF23-12FC530955C8}"/>
              </a:ext>
            </a:extLst>
          </p:cNvPr>
          <p:cNvSpPr>
            <a:spLocks/>
          </p:cNvSpPr>
          <p:nvPr/>
        </p:nvSpPr>
        <p:spPr bwMode="auto">
          <a:xfrm flipH="1">
            <a:off x="9520756" y="3753140"/>
            <a:ext cx="44450" cy="777875"/>
          </a:xfrm>
          <a:custGeom>
            <a:avLst/>
            <a:gdLst>
              <a:gd name="T0" fmla="*/ 0 w 45719"/>
              <a:gd name="T1" fmla="*/ 0 h 731520"/>
              <a:gd name="T2" fmla="*/ 0 w 45719"/>
              <a:gd name="T3" fmla="*/ 827167 h 731520"/>
              <a:gd name="T4" fmla="*/ 0 60000 65536"/>
              <a:gd name="T5" fmla="*/ 0 60000 65536"/>
            </a:gdLst>
            <a:ahLst/>
            <a:cxnLst>
              <a:cxn ang="T4">
                <a:pos x="T0" y="T1"/>
              </a:cxn>
              <a:cxn ang="T5">
                <a:pos x="T2" y="T3"/>
              </a:cxn>
            </a:cxnLst>
            <a:rect l="0" t="0" r="r" b="b"/>
            <a:pathLst>
              <a:path w="45719" h="731520">
                <a:moveTo>
                  <a:pt x="0" y="0"/>
                </a:moveTo>
                <a:lnTo>
                  <a:pt x="0" y="731520"/>
                </a:lnTo>
              </a:path>
            </a:pathLst>
          </a:custGeom>
          <a:noFill/>
          <a:ln w="25641">
            <a:solidFill>
              <a:srgbClr val="ACBDCA"/>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103" name="object 115">
            <a:extLst>
              <a:ext uri="{FF2B5EF4-FFF2-40B4-BE49-F238E27FC236}">
                <a16:creationId xmlns:a16="http://schemas.microsoft.com/office/drawing/2014/main" id="{7A52DEEC-8460-4F4D-B1AC-04CF3E4D298D}"/>
              </a:ext>
            </a:extLst>
          </p:cNvPr>
          <p:cNvSpPr>
            <a:spLocks/>
          </p:cNvSpPr>
          <p:nvPr/>
        </p:nvSpPr>
        <p:spPr bwMode="auto">
          <a:xfrm>
            <a:off x="9492181" y="3475327"/>
            <a:ext cx="146050" cy="277813"/>
          </a:xfrm>
          <a:custGeom>
            <a:avLst/>
            <a:gdLst>
              <a:gd name="T0" fmla="*/ 0 w 146291"/>
              <a:gd name="T1" fmla="*/ 278272 h 277355"/>
              <a:gd name="T2" fmla="*/ 145809 w 146291"/>
              <a:gd name="T3" fmla="*/ 278272 h 277355"/>
              <a:gd name="T4" fmla="*/ 145809 w 146291"/>
              <a:gd name="T5" fmla="*/ 0 h 277355"/>
              <a:gd name="T6" fmla="*/ 0 w 146291"/>
              <a:gd name="T7" fmla="*/ 0 h 277355"/>
              <a:gd name="T8" fmla="*/ 0 w 146291"/>
              <a:gd name="T9" fmla="*/ 278272 h 27735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6291" h="277355">
                <a:moveTo>
                  <a:pt x="0" y="277355"/>
                </a:moveTo>
                <a:lnTo>
                  <a:pt x="146291" y="277355"/>
                </a:lnTo>
                <a:lnTo>
                  <a:pt x="146291" y="0"/>
                </a:lnTo>
                <a:lnTo>
                  <a:pt x="0" y="0"/>
                </a:lnTo>
                <a:lnTo>
                  <a:pt x="0" y="277355"/>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04" name="object 116">
            <a:extLst>
              <a:ext uri="{FF2B5EF4-FFF2-40B4-BE49-F238E27FC236}">
                <a16:creationId xmlns:a16="http://schemas.microsoft.com/office/drawing/2014/main" id="{FA5D61C8-3A98-4BEC-8575-9A5A1618AE54}"/>
              </a:ext>
            </a:extLst>
          </p:cNvPr>
          <p:cNvSpPr>
            <a:spLocks/>
          </p:cNvSpPr>
          <p:nvPr/>
        </p:nvSpPr>
        <p:spPr bwMode="auto">
          <a:xfrm>
            <a:off x="9489006" y="3468977"/>
            <a:ext cx="152400" cy="290513"/>
          </a:xfrm>
          <a:custGeom>
            <a:avLst/>
            <a:gdLst>
              <a:gd name="T0" fmla="*/ 152400 w 152400"/>
              <a:gd name="T1" fmla="*/ 0 h 289560"/>
              <a:gd name="T2" fmla="*/ 0 w 152400"/>
              <a:gd name="T3" fmla="*/ 0 h 289560"/>
              <a:gd name="T4" fmla="*/ 0 w 152400"/>
              <a:gd name="T5" fmla="*/ 291468 h 289560"/>
              <a:gd name="T6" fmla="*/ 152400 w 152400"/>
              <a:gd name="T7" fmla="*/ 291468 h 289560"/>
              <a:gd name="T8" fmla="*/ 152400 w 152400"/>
              <a:gd name="T9" fmla="*/ 285320 h 289560"/>
              <a:gd name="T10" fmla="*/ 9131 w 152400"/>
              <a:gd name="T11" fmla="*/ 285320 h 289560"/>
              <a:gd name="T12" fmla="*/ 3048 w 152400"/>
              <a:gd name="T13" fmla="*/ 279196 h 289560"/>
              <a:gd name="T14" fmla="*/ 9131 w 152400"/>
              <a:gd name="T15" fmla="*/ 279196 h 289560"/>
              <a:gd name="T16" fmla="*/ 9131 w 152400"/>
              <a:gd name="T17" fmla="*/ 9203 h 289560"/>
              <a:gd name="T18" fmla="*/ 3048 w 152400"/>
              <a:gd name="T19" fmla="*/ 9203 h 289560"/>
              <a:gd name="T20" fmla="*/ 9131 w 152400"/>
              <a:gd name="T21" fmla="*/ 6135 h 289560"/>
              <a:gd name="T22" fmla="*/ 152400 w 152400"/>
              <a:gd name="T23" fmla="*/ 6135 h 289560"/>
              <a:gd name="T24" fmla="*/ 152400 w 152400"/>
              <a:gd name="T25" fmla="*/ 0 h 289560"/>
              <a:gd name="T26" fmla="*/ 9131 w 152400"/>
              <a:gd name="T27" fmla="*/ 279196 h 289560"/>
              <a:gd name="T28" fmla="*/ 3048 w 152400"/>
              <a:gd name="T29" fmla="*/ 279196 h 289560"/>
              <a:gd name="T30" fmla="*/ 9131 w 152400"/>
              <a:gd name="T31" fmla="*/ 285320 h 289560"/>
              <a:gd name="T32" fmla="*/ 9131 w 152400"/>
              <a:gd name="T33" fmla="*/ 279196 h 289560"/>
              <a:gd name="T34" fmla="*/ 143243 w 152400"/>
              <a:gd name="T35" fmla="*/ 279196 h 289560"/>
              <a:gd name="T36" fmla="*/ 9131 w 152400"/>
              <a:gd name="T37" fmla="*/ 279196 h 289560"/>
              <a:gd name="T38" fmla="*/ 9131 w 152400"/>
              <a:gd name="T39" fmla="*/ 285320 h 289560"/>
              <a:gd name="T40" fmla="*/ 143243 w 152400"/>
              <a:gd name="T41" fmla="*/ 285320 h 289560"/>
              <a:gd name="T42" fmla="*/ 143243 w 152400"/>
              <a:gd name="T43" fmla="*/ 279196 h 289560"/>
              <a:gd name="T44" fmla="*/ 143243 w 152400"/>
              <a:gd name="T45" fmla="*/ 6135 h 289560"/>
              <a:gd name="T46" fmla="*/ 143243 w 152400"/>
              <a:gd name="T47" fmla="*/ 285320 h 289560"/>
              <a:gd name="T48" fmla="*/ 149339 w 152400"/>
              <a:gd name="T49" fmla="*/ 279196 h 289560"/>
              <a:gd name="T50" fmla="*/ 152400 w 152400"/>
              <a:gd name="T51" fmla="*/ 279196 h 289560"/>
              <a:gd name="T52" fmla="*/ 152400 w 152400"/>
              <a:gd name="T53" fmla="*/ 9203 h 289560"/>
              <a:gd name="T54" fmla="*/ 149339 w 152400"/>
              <a:gd name="T55" fmla="*/ 9203 h 289560"/>
              <a:gd name="T56" fmla="*/ 143243 w 152400"/>
              <a:gd name="T57" fmla="*/ 6135 h 289560"/>
              <a:gd name="T58" fmla="*/ 152400 w 152400"/>
              <a:gd name="T59" fmla="*/ 279196 h 289560"/>
              <a:gd name="T60" fmla="*/ 149339 w 152400"/>
              <a:gd name="T61" fmla="*/ 279196 h 289560"/>
              <a:gd name="T62" fmla="*/ 143243 w 152400"/>
              <a:gd name="T63" fmla="*/ 285320 h 289560"/>
              <a:gd name="T64" fmla="*/ 152400 w 152400"/>
              <a:gd name="T65" fmla="*/ 285320 h 289560"/>
              <a:gd name="T66" fmla="*/ 152400 w 152400"/>
              <a:gd name="T67" fmla="*/ 279196 h 289560"/>
              <a:gd name="T68" fmla="*/ 9131 w 152400"/>
              <a:gd name="T69" fmla="*/ 6135 h 289560"/>
              <a:gd name="T70" fmla="*/ 3048 w 152400"/>
              <a:gd name="T71" fmla="*/ 9203 h 289560"/>
              <a:gd name="T72" fmla="*/ 9131 w 152400"/>
              <a:gd name="T73" fmla="*/ 9203 h 289560"/>
              <a:gd name="T74" fmla="*/ 9131 w 152400"/>
              <a:gd name="T75" fmla="*/ 6135 h 289560"/>
              <a:gd name="T76" fmla="*/ 143243 w 152400"/>
              <a:gd name="T77" fmla="*/ 6135 h 289560"/>
              <a:gd name="T78" fmla="*/ 9131 w 152400"/>
              <a:gd name="T79" fmla="*/ 6135 h 289560"/>
              <a:gd name="T80" fmla="*/ 9131 w 152400"/>
              <a:gd name="T81" fmla="*/ 9203 h 289560"/>
              <a:gd name="T82" fmla="*/ 143243 w 152400"/>
              <a:gd name="T83" fmla="*/ 9203 h 289560"/>
              <a:gd name="T84" fmla="*/ 143243 w 152400"/>
              <a:gd name="T85" fmla="*/ 6135 h 289560"/>
              <a:gd name="T86" fmla="*/ 152400 w 152400"/>
              <a:gd name="T87" fmla="*/ 6135 h 289560"/>
              <a:gd name="T88" fmla="*/ 143243 w 152400"/>
              <a:gd name="T89" fmla="*/ 6135 h 289560"/>
              <a:gd name="T90" fmla="*/ 149339 w 152400"/>
              <a:gd name="T91" fmla="*/ 9203 h 289560"/>
              <a:gd name="T92" fmla="*/ 152400 w 152400"/>
              <a:gd name="T93" fmla="*/ 9203 h 289560"/>
              <a:gd name="T94" fmla="*/ 152400 w 152400"/>
              <a:gd name="T95" fmla="*/ 6135 h 28956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52400" h="289560">
                <a:moveTo>
                  <a:pt x="152400" y="0"/>
                </a:moveTo>
                <a:lnTo>
                  <a:pt x="0" y="0"/>
                </a:lnTo>
                <a:lnTo>
                  <a:pt x="0" y="289559"/>
                </a:lnTo>
                <a:lnTo>
                  <a:pt x="152400" y="289559"/>
                </a:lnTo>
                <a:lnTo>
                  <a:pt x="152400" y="283451"/>
                </a:lnTo>
                <a:lnTo>
                  <a:pt x="9131" y="283451"/>
                </a:lnTo>
                <a:lnTo>
                  <a:pt x="3048" y="277367"/>
                </a:lnTo>
                <a:lnTo>
                  <a:pt x="9131" y="277367"/>
                </a:lnTo>
                <a:lnTo>
                  <a:pt x="9131" y="9143"/>
                </a:lnTo>
                <a:lnTo>
                  <a:pt x="3048" y="9143"/>
                </a:lnTo>
                <a:lnTo>
                  <a:pt x="9131" y="6095"/>
                </a:lnTo>
                <a:lnTo>
                  <a:pt x="152400" y="6095"/>
                </a:lnTo>
                <a:lnTo>
                  <a:pt x="152400" y="0"/>
                </a:lnTo>
                <a:close/>
              </a:path>
              <a:path w="152400" h="289560">
                <a:moveTo>
                  <a:pt x="9131" y="277367"/>
                </a:moveTo>
                <a:lnTo>
                  <a:pt x="3048" y="277367"/>
                </a:lnTo>
                <a:lnTo>
                  <a:pt x="9131" y="283451"/>
                </a:lnTo>
                <a:lnTo>
                  <a:pt x="9131" y="277367"/>
                </a:lnTo>
                <a:close/>
              </a:path>
              <a:path w="152400" h="289560">
                <a:moveTo>
                  <a:pt x="143243" y="277367"/>
                </a:moveTo>
                <a:lnTo>
                  <a:pt x="9131" y="277367"/>
                </a:lnTo>
                <a:lnTo>
                  <a:pt x="9131" y="283451"/>
                </a:lnTo>
                <a:lnTo>
                  <a:pt x="143243" y="283451"/>
                </a:lnTo>
                <a:lnTo>
                  <a:pt x="143243" y="277367"/>
                </a:lnTo>
                <a:close/>
              </a:path>
              <a:path w="152400" h="289560">
                <a:moveTo>
                  <a:pt x="143243" y="6095"/>
                </a:moveTo>
                <a:lnTo>
                  <a:pt x="143243" y="283451"/>
                </a:lnTo>
                <a:lnTo>
                  <a:pt x="149339" y="277367"/>
                </a:lnTo>
                <a:lnTo>
                  <a:pt x="152400" y="277367"/>
                </a:lnTo>
                <a:lnTo>
                  <a:pt x="152400" y="9143"/>
                </a:lnTo>
                <a:lnTo>
                  <a:pt x="149339" y="9143"/>
                </a:lnTo>
                <a:lnTo>
                  <a:pt x="143243" y="6095"/>
                </a:lnTo>
                <a:close/>
              </a:path>
              <a:path w="152400" h="289560">
                <a:moveTo>
                  <a:pt x="152400" y="277367"/>
                </a:moveTo>
                <a:lnTo>
                  <a:pt x="149339" y="277367"/>
                </a:lnTo>
                <a:lnTo>
                  <a:pt x="143243" y="283451"/>
                </a:lnTo>
                <a:lnTo>
                  <a:pt x="152400" y="283451"/>
                </a:lnTo>
                <a:lnTo>
                  <a:pt x="152400" y="277367"/>
                </a:lnTo>
                <a:close/>
              </a:path>
              <a:path w="152400" h="289560">
                <a:moveTo>
                  <a:pt x="9131" y="6095"/>
                </a:moveTo>
                <a:lnTo>
                  <a:pt x="3048" y="9143"/>
                </a:lnTo>
                <a:lnTo>
                  <a:pt x="9131" y="9143"/>
                </a:lnTo>
                <a:lnTo>
                  <a:pt x="9131" y="6095"/>
                </a:lnTo>
                <a:close/>
              </a:path>
              <a:path w="152400" h="289560">
                <a:moveTo>
                  <a:pt x="143243" y="6095"/>
                </a:moveTo>
                <a:lnTo>
                  <a:pt x="9131" y="6095"/>
                </a:lnTo>
                <a:lnTo>
                  <a:pt x="9131" y="9143"/>
                </a:lnTo>
                <a:lnTo>
                  <a:pt x="143243" y="9143"/>
                </a:lnTo>
                <a:lnTo>
                  <a:pt x="143243" y="6095"/>
                </a:lnTo>
                <a:close/>
              </a:path>
              <a:path w="152400" h="289560">
                <a:moveTo>
                  <a:pt x="152400" y="6095"/>
                </a:moveTo>
                <a:lnTo>
                  <a:pt x="143243" y="6095"/>
                </a:lnTo>
                <a:lnTo>
                  <a:pt x="149339" y="9143"/>
                </a:lnTo>
                <a:lnTo>
                  <a:pt x="152400" y="9143"/>
                </a:lnTo>
                <a:lnTo>
                  <a:pt x="152400"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05" name="object 117">
            <a:extLst>
              <a:ext uri="{FF2B5EF4-FFF2-40B4-BE49-F238E27FC236}">
                <a16:creationId xmlns:a16="http://schemas.microsoft.com/office/drawing/2014/main" id="{A39ADC37-05CA-4532-8693-4CB718E99B29}"/>
              </a:ext>
            </a:extLst>
          </p:cNvPr>
          <p:cNvSpPr>
            <a:spLocks/>
          </p:cNvSpPr>
          <p:nvPr/>
        </p:nvSpPr>
        <p:spPr bwMode="auto">
          <a:xfrm>
            <a:off x="9623943" y="3475327"/>
            <a:ext cx="0" cy="277813"/>
          </a:xfrm>
          <a:custGeom>
            <a:avLst/>
            <a:gdLst>
              <a:gd name="T0" fmla="*/ 0 h 277355"/>
              <a:gd name="T1" fmla="*/ 278272 h 277355"/>
              <a:gd name="T2" fmla="*/ 0 60000 65536"/>
              <a:gd name="T3" fmla="*/ 0 60000 65536"/>
            </a:gdLst>
            <a:ahLst/>
            <a:cxnLst>
              <a:cxn ang="T2">
                <a:pos x="0" y="T0"/>
              </a:cxn>
              <a:cxn ang="T3">
                <a:pos x="0" y="T1"/>
              </a:cxn>
            </a:cxnLst>
            <a:rect l="0" t="0" r="r" b="b"/>
            <a:pathLst>
              <a:path h="277355">
                <a:moveTo>
                  <a:pt x="0" y="0"/>
                </a:moveTo>
                <a:lnTo>
                  <a:pt x="0" y="277355"/>
                </a:lnTo>
              </a:path>
            </a:pathLst>
          </a:custGeom>
          <a:noFill/>
          <a:ln w="31737">
            <a:solidFill>
              <a:srgbClr val="6783A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106" name="object 118">
            <a:extLst>
              <a:ext uri="{FF2B5EF4-FFF2-40B4-BE49-F238E27FC236}">
                <a16:creationId xmlns:a16="http://schemas.microsoft.com/office/drawing/2014/main" id="{9AD30174-8FA3-4AFA-B420-FAE5CED7FD4D}"/>
              </a:ext>
            </a:extLst>
          </p:cNvPr>
          <p:cNvSpPr>
            <a:spLocks/>
          </p:cNvSpPr>
          <p:nvPr/>
        </p:nvSpPr>
        <p:spPr bwMode="auto">
          <a:xfrm>
            <a:off x="9604893" y="3468977"/>
            <a:ext cx="36513" cy="290513"/>
          </a:xfrm>
          <a:custGeom>
            <a:avLst/>
            <a:gdLst>
              <a:gd name="T0" fmla="*/ 36463 w 36563"/>
              <a:gd name="T1" fmla="*/ 0 h 289560"/>
              <a:gd name="T2" fmla="*/ 0 w 36563"/>
              <a:gd name="T3" fmla="*/ 0 h 289560"/>
              <a:gd name="T4" fmla="*/ 0 w 36563"/>
              <a:gd name="T5" fmla="*/ 291468 h 289560"/>
              <a:gd name="T6" fmla="*/ 36463 w 36563"/>
              <a:gd name="T7" fmla="*/ 291468 h 289560"/>
              <a:gd name="T8" fmla="*/ 36463 w 36563"/>
              <a:gd name="T9" fmla="*/ 285320 h 289560"/>
              <a:gd name="T10" fmla="*/ 9107 w 36563"/>
              <a:gd name="T11" fmla="*/ 285320 h 289560"/>
              <a:gd name="T12" fmla="*/ 3040 w 36563"/>
              <a:gd name="T13" fmla="*/ 279196 h 289560"/>
              <a:gd name="T14" fmla="*/ 9107 w 36563"/>
              <a:gd name="T15" fmla="*/ 279196 h 289560"/>
              <a:gd name="T16" fmla="*/ 9107 w 36563"/>
              <a:gd name="T17" fmla="*/ 9203 h 289560"/>
              <a:gd name="T18" fmla="*/ 3040 w 36563"/>
              <a:gd name="T19" fmla="*/ 9203 h 289560"/>
              <a:gd name="T20" fmla="*/ 9107 w 36563"/>
              <a:gd name="T21" fmla="*/ 6135 h 289560"/>
              <a:gd name="T22" fmla="*/ 36463 w 36563"/>
              <a:gd name="T23" fmla="*/ 6135 h 289560"/>
              <a:gd name="T24" fmla="*/ 36463 w 36563"/>
              <a:gd name="T25" fmla="*/ 0 h 289560"/>
              <a:gd name="T26" fmla="*/ 9107 w 36563"/>
              <a:gd name="T27" fmla="*/ 279196 h 289560"/>
              <a:gd name="T28" fmla="*/ 3040 w 36563"/>
              <a:gd name="T29" fmla="*/ 279196 h 289560"/>
              <a:gd name="T30" fmla="*/ 9107 w 36563"/>
              <a:gd name="T31" fmla="*/ 285320 h 289560"/>
              <a:gd name="T32" fmla="*/ 9107 w 36563"/>
              <a:gd name="T33" fmla="*/ 279196 h 289560"/>
              <a:gd name="T34" fmla="*/ 27345 w 36563"/>
              <a:gd name="T35" fmla="*/ 279196 h 289560"/>
              <a:gd name="T36" fmla="*/ 9107 w 36563"/>
              <a:gd name="T37" fmla="*/ 279196 h 289560"/>
              <a:gd name="T38" fmla="*/ 9107 w 36563"/>
              <a:gd name="T39" fmla="*/ 285320 h 289560"/>
              <a:gd name="T40" fmla="*/ 27345 w 36563"/>
              <a:gd name="T41" fmla="*/ 285320 h 289560"/>
              <a:gd name="T42" fmla="*/ 27345 w 36563"/>
              <a:gd name="T43" fmla="*/ 279196 h 289560"/>
              <a:gd name="T44" fmla="*/ 27345 w 36563"/>
              <a:gd name="T45" fmla="*/ 6135 h 289560"/>
              <a:gd name="T46" fmla="*/ 27345 w 36563"/>
              <a:gd name="T47" fmla="*/ 285320 h 289560"/>
              <a:gd name="T48" fmla="*/ 33423 w 36563"/>
              <a:gd name="T49" fmla="*/ 279196 h 289560"/>
              <a:gd name="T50" fmla="*/ 36463 w 36563"/>
              <a:gd name="T51" fmla="*/ 279196 h 289560"/>
              <a:gd name="T52" fmla="*/ 36463 w 36563"/>
              <a:gd name="T53" fmla="*/ 9203 h 289560"/>
              <a:gd name="T54" fmla="*/ 33423 w 36563"/>
              <a:gd name="T55" fmla="*/ 9203 h 289560"/>
              <a:gd name="T56" fmla="*/ 27345 w 36563"/>
              <a:gd name="T57" fmla="*/ 6135 h 289560"/>
              <a:gd name="T58" fmla="*/ 36463 w 36563"/>
              <a:gd name="T59" fmla="*/ 279196 h 289560"/>
              <a:gd name="T60" fmla="*/ 33423 w 36563"/>
              <a:gd name="T61" fmla="*/ 279196 h 289560"/>
              <a:gd name="T62" fmla="*/ 27345 w 36563"/>
              <a:gd name="T63" fmla="*/ 285320 h 289560"/>
              <a:gd name="T64" fmla="*/ 36463 w 36563"/>
              <a:gd name="T65" fmla="*/ 285320 h 289560"/>
              <a:gd name="T66" fmla="*/ 36463 w 36563"/>
              <a:gd name="T67" fmla="*/ 279196 h 289560"/>
              <a:gd name="T68" fmla="*/ 9107 w 36563"/>
              <a:gd name="T69" fmla="*/ 6135 h 289560"/>
              <a:gd name="T70" fmla="*/ 3040 w 36563"/>
              <a:gd name="T71" fmla="*/ 9203 h 289560"/>
              <a:gd name="T72" fmla="*/ 9107 w 36563"/>
              <a:gd name="T73" fmla="*/ 9203 h 289560"/>
              <a:gd name="T74" fmla="*/ 9107 w 36563"/>
              <a:gd name="T75" fmla="*/ 6135 h 289560"/>
              <a:gd name="T76" fmla="*/ 27345 w 36563"/>
              <a:gd name="T77" fmla="*/ 6135 h 289560"/>
              <a:gd name="T78" fmla="*/ 9107 w 36563"/>
              <a:gd name="T79" fmla="*/ 6135 h 289560"/>
              <a:gd name="T80" fmla="*/ 9107 w 36563"/>
              <a:gd name="T81" fmla="*/ 9203 h 289560"/>
              <a:gd name="T82" fmla="*/ 27345 w 36563"/>
              <a:gd name="T83" fmla="*/ 9203 h 289560"/>
              <a:gd name="T84" fmla="*/ 27345 w 36563"/>
              <a:gd name="T85" fmla="*/ 6135 h 289560"/>
              <a:gd name="T86" fmla="*/ 36463 w 36563"/>
              <a:gd name="T87" fmla="*/ 6135 h 289560"/>
              <a:gd name="T88" fmla="*/ 27345 w 36563"/>
              <a:gd name="T89" fmla="*/ 6135 h 289560"/>
              <a:gd name="T90" fmla="*/ 33423 w 36563"/>
              <a:gd name="T91" fmla="*/ 9203 h 289560"/>
              <a:gd name="T92" fmla="*/ 36463 w 36563"/>
              <a:gd name="T93" fmla="*/ 9203 h 289560"/>
              <a:gd name="T94" fmla="*/ 36463 w 36563"/>
              <a:gd name="T95" fmla="*/ 6135 h 28956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6563" h="289560">
                <a:moveTo>
                  <a:pt x="36563" y="0"/>
                </a:moveTo>
                <a:lnTo>
                  <a:pt x="0" y="0"/>
                </a:lnTo>
                <a:lnTo>
                  <a:pt x="0" y="289559"/>
                </a:lnTo>
                <a:lnTo>
                  <a:pt x="36563" y="289559"/>
                </a:lnTo>
                <a:lnTo>
                  <a:pt x="36563" y="283451"/>
                </a:lnTo>
                <a:lnTo>
                  <a:pt x="9131" y="283451"/>
                </a:lnTo>
                <a:lnTo>
                  <a:pt x="3048" y="277367"/>
                </a:lnTo>
                <a:lnTo>
                  <a:pt x="9131" y="277367"/>
                </a:lnTo>
                <a:lnTo>
                  <a:pt x="9131" y="9143"/>
                </a:lnTo>
                <a:lnTo>
                  <a:pt x="3048" y="9143"/>
                </a:lnTo>
                <a:lnTo>
                  <a:pt x="9131" y="6095"/>
                </a:lnTo>
                <a:lnTo>
                  <a:pt x="36563" y="6095"/>
                </a:lnTo>
                <a:lnTo>
                  <a:pt x="36563" y="0"/>
                </a:lnTo>
                <a:close/>
              </a:path>
              <a:path w="36563" h="289560">
                <a:moveTo>
                  <a:pt x="9131" y="277367"/>
                </a:moveTo>
                <a:lnTo>
                  <a:pt x="3048" y="277367"/>
                </a:lnTo>
                <a:lnTo>
                  <a:pt x="9131" y="283451"/>
                </a:lnTo>
                <a:lnTo>
                  <a:pt x="9131" y="277367"/>
                </a:lnTo>
                <a:close/>
              </a:path>
              <a:path w="36563" h="289560">
                <a:moveTo>
                  <a:pt x="27419" y="277367"/>
                </a:moveTo>
                <a:lnTo>
                  <a:pt x="9131" y="277367"/>
                </a:lnTo>
                <a:lnTo>
                  <a:pt x="9131" y="283451"/>
                </a:lnTo>
                <a:lnTo>
                  <a:pt x="27419" y="283451"/>
                </a:lnTo>
                <a:lnTo>
                  <a:pt x="27419" y="277367"/>
                </a:lnTo>
                <a:close/>
              </a:path>
              <a:path w="36563" h="289560">
                <a:moveTo>
                  <a:pt x="27419" y="6095"/>
                </a:moveTo>
                <a:lnTo>
                  <a:pt x="27419" y="283451"/>
                </a:lnTo>
                <a:lnTo>
                  <a:pt x="33515" y="277367"/>
                </a:lnTo>
                <a:lnTo>
                  <a:pt x="36563" y="277367"/>
                </a:lnTo>
                <a:lnTo>
                  <a:pt x="36563" y="9143"/>
                </a:lnTo>
                <a:lnTo>
                  <a:pt x="33515" y="9143"/>
                </a:lnTo>
                <a:lnTo>
                  <a:pt x="27419" y="6095"/>
                </a:lnTo>
                <a:close/>
              </a:path>
              <a:path w="36563" h="289560">
                <a:moveTo>
                  <a:pt x="36563" y="277367"/>
                </a:moveTo>
                <a:lnTo>
                  <a:pt x="33515" y="277367"/>
                </a:lnTo>
                <a:lnTo>
                  <a:pt x="27419" y="283451"/>
                </a:lnTo>
                <a:lnTo>
                  <a:pt x="36563" y="283451"/>
                </a:lnTo>
                <a:lnTo>
                  <a:pt x="36563" y="277367"/>
                </a:lnTo>
                <a:close/>
              </a:path>
              <a:path w="36563" h="289560">
                <a:moveTo>
                  <a:pt x="9131" y="6095"/>
                </a:moveTo>
                <a:lnTo>
                  <a:pt x="3048" y="9143"/>
                </a:lnTo>
                <a:lnTo>
                  <a:pt x="9131" y="9143"/>
                </a:lnTo>
                <a:lnTo>
                  <a:pt x="9131" y="6095"/>
                </a:lnTo>
                <a:close/>
              </a:path>
              <a:path w="36563" h="289560">
                <a:moveTo>
                  <a:pt x="27419" y="6095"/>
                </a:moveTo>
                <a:lnTo>
                  <a:pt x="9131" y="6095"/>
                </a:lnTo>
                <a:lnTo>
                  <a:pt x="9131" y="9143"/>
                </a:lnTo>
                <a:lnTo>
                  <a:pt x="27419" y="9143"/>
                </a:lnTo>
                <a:lnTo>
                  <a:pt x="27419" y="6095"/>
                </a:lnTo>
                <a:close/>
              </a:path>
              <a:path w="36563" h="289560">
                <a:moveTo>
                  <a:pt x="36563" y="6095"/>
                </a:moveTo>
                <a:lnTo>
                  <a:pt x="27419" y="6095"/>
                </a:lnTo>
                <a:lnTo>
                  <a:pt x="33515" y="9143"/>
                </a:lnTo>
                <a:lnTo>
                  <a:pt x="36563" y="9143"/>
                </a:lnTo>
                <a:lnTo>
                  <a:pt x="36563"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07" name="object 119">
            <a:extLst>
              <a:ext uri="{FF2B5EF4-FFF2-40B4-BE49-F238E27FC236}">
                <a16:creationId xmlns:a16="http://schemas.microsoft.com/office/drawing/2014/main" id="{F16A590D-BFE5-46FC-A6C9-5471309B5680}"/>
              </a:ext>
            </a:extLst>
          </p:cNvPr>
          <p:cNvSpPr>
            <a:spLocks/>
          </p:cNvSpPr>
          <p:nvPr/>
        </p:nvSpPr>
        <p:spPr bwMode="auto">
          <a:xfrm>
            <a:off x="9498531" y="3481677"/>
            <a:ext cx="46037" cy="9525"/>
          </a:xfrm>
          <a:custGeom>
            <a:avLst/>
            <a:gdLst>
              <a:gd name="T0" fmla="*/ 0 w 45720"/>
              <a:gd name="T1" fmla="*/ 4967 h 9131"/>
              <a:gd name="T2" fmla="*/ 46356 w 45720"/>
              <a:gd name="T3" fmla="*/ 4967 h 9131"/>
              <a:gd name="T4" fmla="*/ 0 60000 65536"/>
              <a:gd name="T5" fmla="*/ 0 60000 65536"/>
            </a:gdLst>
            <a:ahLst/>
            <a:cxnLst>
              <a:cxn ang="T4">
                <a:pos x="T0" y="T1"/>
              </a:cxn>
              <a:cxn ang="T5">
                <a:pos x="T2" y="T3"/>
              </a:cxn>
            </a:cxnLst>
            <a:rect l="0" t="0" r="r" b="b"/>
            <a:pathLst>
              <a:path w="45720" h="9131">
                <a:moveTo>
                  <a:pt x="0" y="4565"/>
                </a:moveTo>
                <a:lnTo>
                  <a:pt x="45720" y="4565"/>
                </a:lnTo>
              </a:path>
            </a:pathLst>
          </a:custGeom>
          <a:noFill/>
          <a:ln w="10401">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108" name="object 120">
            <a:extLst>
              <a:ext uri="{FF2B5EF4-FFF2-40B4-BE49-F238E27FC236}">
                <a16:creationId xmlns:a16="http://schemas.microsoft.com/office/drawing/2014/main" id="{BA560747-943B-4A87-BA02-BFA26E611E2E}"/>
              </a:ext>
            </a:extLst>
          </p:cNvPr>
          <p:cNvSpPr>
            <a:spLocks/>
          </p:cNvSpPr>
          <p:nvPr/>
        </p:nvSpPr>
        <p:spPr bwMode="auto">
          <a:xfrm>
            <a:off x="9522343" y="3686465"/>
            <a:ext cx="22225" cy="44450"/>
          </a:xfrm>
          <a:custGeom>
            <a:avLst/>
            <a:gdLst>
              <a:gd name="T0" fmla="*/ 0 w 21323"/>
              <a:gd name="T1" fmla="*/ 21614 h 45707"/>
              <a:gd name="T2" fmla="*/ 23165 w 21323"/>
              <a:gd name="T3" fmla="*/ 21614 h 45707"/>
              <a:gd name="T4" fmla="*/ 0 60000 65536"/>
              <a:gd name="T5" fmla="*/ 0 60000 65536"/>
            </a:gdLst>
            <a:ahLst/>
            <a:cxnLst>
              <a:cxn ang="T4">
                <a:pos x="T0" y="T1"/>
              </a:cxn>
              <a:cxn ang="T5">
                <a:pos x="T2" y="T3"/>
              </a:cxn>
            </a:cxnLst>
            <a:rect l="0" t="0" r="r" b="b"/>
            <a:pathLst>
              <a:path w="21323" h="45707">
                <a:moveTo>
                  <a:pt x="0" y="22853"/>
                </a:moveTo>
                <a:lnTo>
                  <a:pt x="21323" y="22853"/>
                </a:lnTo>
              </a:path>
            </a:pathLst>
          </a:custGeom>
          <a:noFill/>
          <a:ln w="46977">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109" name="object 121">
            <a:extLst>
              <a:ext uri="{FF2B5EF4-FFF2-40B4-BE49-F238E27FC236}">
                <a16:creationId xmlns:a16="http://schemas.microsoft.com/office/drawing/2014/main" id="{BEB3DE88-F562-4B33-BC96-46262DBB5E23}"/>
              </a:ext>
            </a:extLst>
          </p:cNvPr>
          <p:cNvSpPr>
            <a:spLocks/>
          </p:cNvSpPr>
          <p:nvPr/>
        </p:nvSpPr>
        <p:spPr bwMode="auto">
          <a:xfrm>
            <a:off x="9517581" y="3691227"/>
            <a:ext cx="7937" cy="9525"/>
          </a:xfrm>
          <a:custGeom>
            <a:avLst/>
            <a:gdLst>
              <a:gd name="T0" fmla="*/ 0 w 9144"/>
              <a:gd name="T1" fmla="*/ 4967 h 9131"/>
              <a:gd name="T2" fmla="*/ 6889 w 9144"/>
              <a:gd name="T3" fmla="*/ 4967 h 9131"/>
              <a:gd name="T4" fmla="*/ 0 60000 65536"/>
              <a:gd name="T5" fmla="*/ 0 60000 65536"/>
            </a:gdLst>
            <a:ahLst/>
            <a:cxnLst>
              <a:cxn ang="T4">
                <a:pos x="T0" y="T1"/>
              </a:cxn>
              <a:cxn ang="T5">
                <a:pos x="T2" y="T3"/>
              </a:cxn>
            </a:cxnLst>
            <a:rect l="0" t="0" r="r" b="b"/>
            <a:pathLst>
              <a:path w="9144" h="9131">
                <a:moveTo>
                  <a:pt x="0" y="4565"/>
                </a:moveTo>
                <a:lnTo>
                  <a:pt x="9144" y="4565"/>
                </a:lnTo>
              </a:path>
            </a:pathLst>
          </a:custGeom>
          <a:noFill/>
          <a:ln w="10401">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110" name="object 122">
            <a:extLst>
              <a:ext uri="{FF2B5EF4-FFF2-40B4-BE49-F238E27FC236}">
                <a16:creationId xmlns:a16="http://schemas.microsoft.com/office/drawing/2014/main" id="{7207BB20-E261-4CC8-9E31-FB7C9C227FCD}"/>
              </a:ext>
            </a:extLst>
          </p:cNvPr>
          <p:cNvSpPr>
            <a:spLocks/>
          </p:cNvSpPr>
          <p:nvPr/>
        </p:nvSpPr>
        <p:spPr bwMode="auto">
          <a:xfrm>
            <a:off x="9517581" y="3713452"/>
            <a:ext cx="7937" cy="9525"/>
          </a:xfrm>
          <a:custGeom>
            <a:avLst/>
            <a:gdLst>
              <a:gd name="T0" fmla="*/ 0 w 9144"/>
              <a:gd name="T1" fmla="*/ 4961 h 9144"/>
              <a:gd name="T2" fmla="*/ 6889 w 9144"/>
              <a:gd name="T3" fmla="*/ 4961 h 9144"/>
              <a:gd name="T4" fmla="*/ 0 60000 65536"/>
              <a:gd name="T5" fmla="*/ 0 60000 65536"/>
            </a:gdLst>
            <a:ahLst/>
            <a:cxnLst>
              <a:cxn ang="T4">
                <a:pos x="T0" y="T1"/>
              </a:cxn>
              <a:cxn ang="T5">
                <a:pos x="T2" y="T3"/>
              </a:cxn>
            </a:cxnLst>
            <a:rect l="0" t="0" r="r" b="b"/>
            <a:pathLst>
              <a:path w="9144" h="9144">
                <a:moveTo>
                  <a:pt x="0" y="4572"/>
                </a:moveTo>
                <a:lnTo>
                  <a:pt x="9144" y="4572"/>
                </a:lnTo>
              </a:path>
            </a:pathLst>
          </a:custGeom>
          <a:noFill/>
          <a:ln w="10413">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111" name="object 123">
            <a:extLst>
              <a:ext uri="{FF2B5EF4-FFF2-40B4-BE49-F238E27FC236}">
                <a16:creationId xmlns:a16="http://schemas.microsoft.com/office/drawing/2014/main" id="{55CFEBA3-1AA0-43AE-BD77-3DE5455C08B1}"/>
              </a:ext>
            </a:extLst>
          </p:cNvPr>
          <p:cNvSpPr>
            <a:spLocks/>
          </p:cNvSpPr>
          <p:nvPr/>
        </p:nvSpPr>
        <p:spPr bwMode="auto">
          <a:xfrm>
            <a:off x="9577906" y="3707102"/>
            <a:ext cx="20637" cy="23813"/>
          </a:xfrm>
          <a:custGeom>
            <a:avLst/>
            <a:gdLst>
              <a:gd name="T0" fmla="*/ 0 w 21335"/>
              <a:gd name="T1" fmla="*/ 11633 h 24371"/>
              <a:gd name="T2" fmla="*/ 19962 w 21335"/>
              <a:gd name="T3" fmla="*/ 11633 h 24371"/>
              <a:gd name="T4" fmla="*/ 0 60000 65536"/>
              <a:gd name="T5" fmla="*/ 0 60000 65536"/>
            </a:gdLst>
            <a:ahLst/>
            <a:cxnLst>
              <a:cxn ang="T4">
                <a:pos x="T0" y="T1"/>
              </a:cxn>
              <a:cxn ang="T5">
                <a:pos x="T2" y="T3"/>
              </a:cxn>
            </a:cxnLst>
            <a:rect l="0" t="0" r="r" b="b"/>
            <a:pathLst>
              <a:path w="21335" h="24371">
                <a:moveTo>
                  <a:pt x="0" y="12185"/>
                </a:moveTo>
                <a:lnTo>
                  <a:pt x="21335" y="12185"/>
                </a:lnTo>
              </a:path>
            </a:pathLst>
          </a:custGeom>
          <a:noFill/>
          <a:ln w="25641">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112" name="object 124">
            <a:extLst>
              <a:ext uri="{FF2B5EF4-FFF2-40B4-BE49-F238E27FC236}">
                <a16:creationId xmlns:a16="http://schemas.microsoft.com/office/drawing/2014/main" id="{44B923D2-923F-4F45-84FF-4F6FDD863DDE}"/>
              </a:ext>
            </a:extLst>
          </p:cNvPr>
          <p:cNvSpPr>
            <a:spLocks/>
          </p:cNvSpPr>
          <p:nvPr/>
        </p:nvSpPr>
        <p:spPr bwMode="auto">
          <a:xfrm>
            <a:off x="9571556" y="3713452"/>
            <a:ext cx="9525" cy="9525"/>
          </a:xfrm>
          <a:custGeom>
            <a:avLst/>
            <a:gdLst>
              <a:gd name="T0" fmla="*/ 0 w 9131"/>
              <a:gd name="T1" fmla="*/ 4961 h 9144"/>
              <a:gd name="T2" fmla="*/ 9936 w 9131"/>
              <a:gd name="T3" fmla="*/ 4961 h 9144"/>
              <a:gd name="T4" fmla="*/ 0 60000 65536"/>
              <a:gd name="T5" fmla="*/ 0 60000 65536"/>
            </a:gdLst>
            <a:ahLst/>
            <a:cxnLst>
              <a:cxn ang="T4">
                <a:pos x="T0" y="T1"/>
              </a:cxn>
              <a:cxn ang="T5">
                <a:pos x="T2" y="T3"/>
              </a:cxn>
            </a:cxnLst>
            <a:rect l="0" t="0" r="r" b="b"/>
            <a:pathLst>
              <a:path w="9131" h="9144">
                <a:moveTo>
                  <a:pt x="0" y="4572"/>
                </a:moveTo>
                <a:lnTo>
                  <a:pt x="9131" y="4572"/>
                </a:lnTo>
              </a:path>
            </a:pathLst>
          </a:custGeom>
          <a:noFill/>
          <a:ln w="10413">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113" name="object 125">
            <a:extLst>
              <a:ext uri="{FF2B5EF4-FFF2-40B4-BE49-F238E27FC236}">
                <a16:creationId xmlns:a16="http://schemas.microsoft.com/office/drawing/2014/main" id="{D22FED8A-826A-4152-9CA2-107624B1D240}"/>
              </a:ext>
            </a:extLst>
          </p:cNvPr>
          <p:cNvSpPr>
            <a:spLocks/>
          </p:cNvSpPr>
          <p:nvPr/>
        </p:nvSpPr>
        <p:spPr bwMode="auto">
          <a:xfrm>
            <a:off x="9501706" y="3499140"/>
            <a:ext cx="46037" cy="39687"/>
          </a:xfrm>
          <a:custGeom>
            <a:avLst/>
            <a:gdLst>
              <a:gd name="T0" fmla="*/ 40176 w 45720"/>
              <a:gd name="T1" fmla="*/ 0 h 39611"/>
              <a:gd name="T2" fmla="*/ 3090 w 45720"/>
              <a:gd name="T3" fmla="*/ 0 h 39611"/>
              <a:gd name="T4" fmla="*/ 0 w 45720"/>
              <a:gd name="T5" fmla="*/ 3060 h 39611"/>
              <a:gd name="T6" fmla="*/ 0 w 45720"/>
              <a:gd name="T7" fmla="*/ 36703 h 39611"/>
              <a:gd name="T8" fmla="*/ 3090 w 45720"/>
              <a:gd name="T9" fmla="*/ 39763 h 39611"/>
              <a:gd name="T10" fmla="*/ 40176 w 45720"/>
              <a:gd name="T11" fmla="*/ 39763 h 39611"/>
              <a:gd name="T12" fmla="*/ 46356 w 45720"/>
              <a:gd name="T13" fmla="*/ 36703 h 39611"/>
              <a:gd name="T14" fmla="*/ 46356 w 45720"/>
              <a:gd name="T15" fmla="*/ 3060 h 39611"/>
              <a:gd name="T16" fmla="*/ 40176 w 45720"/>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20" h="39611">
                <a:moveTo>
                  <a:pt x="39624" y="0"/>
                </a:moveTo>
                <a:lnTo>
                  <a:pt x="3048" y="0"/>
                </a:lnTo>
                <a:lnTo>
                  <a:pt x="0" y="3048"/>
                </a:lnTo>
                <a:lnTo>
                  <a:pt x="0" y="36563"/>
                </a:lnTo>
                <a:lnTo>
                  <a:pt x="3048" y="39611"/>
                </a:lnTo>
                <a:lnTo>
                  <a:pt x="39624" y="39611"/>
                </a:lnTo>
                <a:lnTo>
                  <a:pt x="45720" y="36563"/>
                </a:lnTo>
                <a:lnTo>
                  <a:pt x="45720" y="3048"/>
                </a:lnTo>
                <a:lnTo>
                  <a:pt x="39624"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14" name="object 126">
            <a:extLst>
              <a:ext uri="{FF2B5EF4-FFF2-40B4-BE49-F238E27FC236}">
                <a16:creationId xmlns:a16="http://schemas.microsoft.com/office/drawing/2014/main" id="{A6B75BED-8605-48B2-AE2F-FEA7449A50D2}"/>
              </a:ext>
            </a:extLst>
          </p:cNvPr>
          <p:cNvSpPr>
            <a:spLocks/>
          </p:cNvSpPr>
          <p:nvPr/>
        </p:nvSpPr>
        <p:spPr bwMode="auto">
          <a:xfrm>
            <a:off x="9508056" y="3505490"/>
            <a:ext cx="33337" cy="30162"/>
          </a:xfrm>
          <a:custGeom>
            <a:avLst/>
            <a:gdLst>
              <a:gd name="T0" fmla="*/ 30144 w 33515"/>
              <a:gd name="T1" fmla="*/ 0 h 30479"/>
              <a:gd name="T2" fmla="*/ 3016 w 33515"/>
              <a:gd name="T3" fmla="*/ 0 h 30479"/>
              <a:gd name="T4" fmla="*/ 0 w 33515"/>
              <a:gd name="T5" fmla="*/ 2984 h 30479"/>
              <a:gd name="T6" fmla="*/ 0 w 33515"/>
              <a:gd name="T7" fmla="*/ 26864 h 30479"/>
              <a:gd name="T8" fmla="*/ 3016 w 33515"/>
              <a:gd name="T9" fmla="*/ 29848 h 30479"/>
              <a:gd name="T10" fmla="*/ 30144 w 33515"/>
              <a:gd name="T11" fmla="*/ 29848 h 30479"/>
              <a:gd name="T12" fmla="*/ 33160 w 33515"/>
              <a:gd name="T13" fmla="*/ 26864 h 30479"/>
              <a:gd name="T14" fmla="*/ 33160 w 33515"/>
              <a:gd name="T15" fmla="*/ 2984 h 30479"/>
              <a:gd name="T16" fmla="*/ 30144 w 33515"/>
              <a:gd name="T17" fmla="*/ 0 h 304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30479">
                <a:moveTo>
                  <a:pt x="30467" y="0"/>
                </a:moveTo>
                <a:lnTo>
                  <a:pt x="3048" y="0"/>
                </a:lnTo>
                <a:lnTo>
                  <a:pt x="0" y="3047"/>
                </a:lnTo>
                <a:lnTo>
                  <a:pt x="0" y="27431"/>
                </a:lnTo>
                <a:lnTo>
                  <a:pt x="3048" y="30479"/>
                </a:lnTo>
                <a:lnTo>
                  <a:pt x="30467" y="30479"/>
                </a:lnTo>
                <a:lnTo>
                  <a:pt x="33515" y="27431"/>
                </a:lnTo>
                <a:lnTo>
                  <a:pt x="33515" y="3047"/>
                </a:lnTo>
                <a:lnTo>
                  <a:pt x="30467"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15" name="object 127">
            <a:extLst>
              <a:ext uri="{FF2B5EF4-FFF2-40B4-BE49-F238E27FC236}">
                <a16:creationId xmlns:a16="http://schemas.microsoft.com/office/drawing/2014/main" id="{26FE8673-7045-4153-B896-52696B9A1D26}"/>
              </a:ext>
            </a:extLst>
          </p:cNvPr>
          <p:cNvSpPr>
            <a:spLocks/>
          </p:cNvSpPr>
          <p:nvPr/>
        </p:nvSpPr>
        <p:spPr bwMode="auto">
          <a:xfrm>
            <a:off x="9504881" y="3502315"/>
            <a:ext cx="39687" cy="36512"/>
          </a:xfrm>
          <a:custGeom>
            <a:avLst/>
            <a:gdLst>
              <a:gd name="T0" fmla="*/ 36679 w 39624"/>
              <a:gd name="T1" fmla="*/ 0 h 36563"/>
              <a:gd name="T2" fmla="*/ 3058 w 39624"/>
              <a:gd name="T3" fmla="*/ 0 h 36563"/>
              <a:gd name="T4" fmla="*/ 3058 w 39624"/>
              <a:gd name="T5" fmla="*/ 3027 h 36563"/>
              <a:gd name="T6" fmla="*/ 0 w 39624"/>
              <a:gd name="T7" fmla="*/ 6067 h 36563"/>
              <a:gd name="T8" fmla="*/ 0 w 39624"/>
              <a:gd name="T9" fmla="*/ 27330 h 36563"/>
              <a:gd name="T10" fmla="*/ 3058 w 39624"/>
              <a:gd name="T11" fmla="*/ 33421 h 36563"/>
              <a:gd name="T12" fmla="*/ 9174 w 39624"/>
              <a:gd name="T13" fmla="*/ 36461 h 36563"/>
              <a:gd name="T14" fmla="*/ 30577 w 39624"/>
              <a:gd name="T15" fmla="*/ 36461 h 36563"/>
              <a:gd name="T16" fmla="*/ 36679 w 39624"/>
              <a:gd name="T17" fmla="*/ 33421 h 36563"/>
              <a:gd name="T18" fmla="*/ 38212 w 39624"/>
              <a:gd name="T19" fmla="*/ 30383 h 36563"/>
              <a:gd name="T20" fmla="*/ 6116 w 39624"/>
              <a:gd name="T21" fmla="*/ 30383 h 36563"/>
              <a:gd name="T22" fmla="*/ 6116 w 39624"/>
              <a:gd name="T23" fmla="*/ 6067 h 36563"/>
              <a:gd name="T24" fmla="*/ 39750 w 39624"/>
              <a:gd name="T25" fmla="*/ 6067 h 36563"/>
              <a:gd name="T26" fmla="*/ 36679 w 39624"/>
              <a:gd name="T27" fmla="*/ 3027 h 36563"/>
              <a:gd name="T28" fmla="*/ 36679 w 39624"/>
              <a:gd name="T29" fmla="*/ 0 h 36563"/>
              <a:gd name="T30" fmla="*/ 6116 w 39624"/>
              <a:gd name="T31" fmla="*/ 27330 h 36563"/>
              <a:gd name="T32" fmla="*/ 6116 w 39624"/>
              <a:gd name="T33" fmla="*/ 30383 h 36563"/>
              <a:gd name="T34" fmla="*/ 9174 w 39624"/>
              <a:gd name="T35" fmla="*/ 30383 h 36563"/>
              <a:gd name="T36" fmla="*/ 6116 w 39624"/>
              <a:gd name="T37" fmla="*/ 27330 h 36563"/>
              <a:gd name="T38" fmla="*/ 31595 w 39624"/>
              <a:gd name="T39" fmla="*/ 28342 h 36563"/>
              <a:gd name="T40" fmla="*/ 27520 w 39624"/>
              <a:gd name="T41" fmla="*/ 30383 h 36563"/>
              <a:gd name="T42" fmla="*/ 30577 w 39624"/>
              <a:gd name="T43" fmla="*/ 30383 h 36563"/>
              <a:gd name="T44" fmla="*/ 31595 w 39624"/>
              <a:gd name="T45" fmla="*/ 28342 h 36563"/>
              <a:gd name="T46" fmla="*/ 33621 w 39624"/>
              <a:gd name="T47" fmla="*/ 27330 h 36563"/>
              <a:gd name="T48" fmla="*/ 31595 w 39624"/>
              <a:gd name="T49" fmla="*/ 28342 h 36563"/>
              <a:gd name="T50" fmla="*/ 30577 w 39624"/>
              <a:gd name="T51" fmla="*/ 30383 h 36563"/>
              <a:gd name="T52" fmla="*/ 33621 w 39624"/>
              <a:gd name="T53" fmla="*/ 27330 h 36563"/>
              <a:gd name="T54" fmla="*/ 39750 w 39624"/>
              <a:gd name="T55" fmla="*/ 6067 h 36563"/>
              <a:gd name="T56" fmla="*/ 30577 w 39624"/>
              <a:gd name="T57" fmla="*/ 6067 h 36563"/>
              <a:gd name="T58" fmla="*/ 33621 w 39624"/>
              <a:gd name="T59" fmla="*/ 9105 h 36563"/>
              <a:gd name="T60" fmla="*/ 33621 w 39624"/>
              <a:gd name="T61" fmla="*/ 27330 h 36563"/>
              <a:gd name="T62" fmla="*/ 30577 w 39624"/>
              <a:gd name="T63" fmla="*/ 30383 h 36563"/>
              <a:gd name="T64" fmla="*/ 38212 w 39624"/>
              <a:gd name="T65" fmla="*/ 30383 h 36563"/>
              <a:gd name="T66" fmla="*/ 39750 w 39624"/>
              <a:gd name="T67" fmla="*/ 27330 h 36563"/>
              <a:gd name="T68" fmla="*/ 39750 w 39624"/>
              <a:gd name="T69" fmla="*/ 6067 h 36563"/>
              <a:gd name="T70" fmla="*/ 33621 w 39624"/>
              <a:gd name="T71" fmla="*/ 24290 h 36563"/>
              <a:gd name="T72" fmla="*/ 31595 w 39624"/>
              <a:gd name="T73" fmla="*/ 28342 h 36563"/>
              <a:gd name="T74" fmla="*/ 33621 w 39624"/>
              <a:gd name="T75" fmla="*/ 27330 h 36563"/>
              <a:gd name="T76" fmla="*/ 33621 w 39624"/>
              <a:gd name="T77" fmla="*/ 24290 h 3656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9624" h="36563">
                <a:moveTo>
                  <a:pt x="36563" y="0"/>
                </a:moveTo>
                <a:lnTo>
                  <a:pt x="3048" y="0"/>
                </a:lnTo>
                <a:lnTo>
                  <a:pt x="3048" y="3035"/>
                </a:lnTo>
                <a:lnTo>
                  <a:pt x="0" y="6083"/>
                </a:lnTo>
                <a:lnTo>
                  <a:pt x="0" y="27406"/>
                </a:lnTo>
                <a:lnTo>
                  <a:pt x="3048" y="33515"/>
                </a:lnTo>
                <a:lnTo>
                  <a:pt x="9144" y="36563"/>
                </a:lnTo>
                <a:lnTo>
                  <a:pt x="30480" y="36563"/>
                </a:lnTo>
                <a:lnTo>
                  <a:pt x="36563" y="33515"/>
                </a:lnTo>
                <a:lnTo>
                  <a:pt x="38090" y="30467"/>
                </a:lnTo>
                <a:lnTo>
                  <a:pt x="6096" y="30467"/>
                </a:lnTo>
                <a:lnTo>
                  <a:pt x="6096" y="6083"/>
                </a:lnTo>
                <a:lnTo>
                  <a:pt x="39624" y="6083"/>
                </a:lnTo>
                <a:lnTo>
                  <a:pt x="36563" y="3035"/>
                </a:lnTo>
                <a:lnTo>
                  <a:pt x="36563" y="0"/>
                </a:lnTo>
                <a:close/>
              </a:path>
              <a:path w="39624" h="36563">
                <a:moveTo>
                  <a:pt x="6096" y="27406"/>
                </a:moveTo>
                <a:lnTo>
                  <a:pt x="6096" y="30467"/>
                </a:lnTo>
                <a:lnTo>
                  <a:pt x="9144" y="30467"/>
                </a:lnTo>
                <a:lnTo>
                  <a:pt x="6096" y="27406"/>
                </a:lnTo>
                <a:close/>
              </a:path>
              <a:path w="39624" h="36563">
                <a:moveTo>
                  <a:pt x="31495" y="28422"/>
                </a:moveTo>
                <a:lnTo>
                  <a:pt x="27432" y="30467"/>
                </a:lnTo>
                <a:lnTo>
                  <a:pt x="30480" y="30467"/>
                </a:lnTo>
                <a:lnTo>
                  <a:pt x="31495" y="28422"/>
                </a:lnTo>
                <a:close/>
              </a:path>
              <a:path w="39624" h="36563">
                <a:moveTo>
                  <a:pt x="33515" y="27406"/>
                </a:moveTo>
                <a:lnTo>
                  <a:pt x="31495" y="28422"/>
                </a:lnTo>
                <a:lnTo>
                  <a:pt x="30480" y="30467"/>
                </a:lnTo>
                <a:lnTo>
                  <a:pt x="33515" y="27406"/>
                </a:lnTo>
                <a:close/>
              </a:path>
              <a:path w="39624" h="36563">
                <a:moveTo>
                  <a:pt x="39624" y="6083"/>
                </a:moveTo>
                <a:lnTo>
                  <a:pt x="30480" y="6083"/>
                </a:lnTo>
                <a:lnTo>
                  <a:pt x="33515" y="9131"/>
                </a:lnTo>
                <a:lnTo>
                  <a:pt x="33515" y="27406"/>
                </a:lnTo>
                <a:lnTo>
                  <a:pt x="30480" y="30467"/>
                </a:lnTo>
                <a:lnTo>
                  <a:pt x="38090" y="30467"/>
                </a:lnTo>
                <a:lnTo>
                  <a:pt x="39624" y="27406"/>
                </a:lnTo>
                <a:lnTo>
                  <a:pt x="39624" y="6083"/>
                </a:lnTo>
                <a:close/>
              </a:path>
              <a:path w="39624" h="36563">
                <a:moveTo>
                  <a:pt x="33515" y="24358"/>
                </a:moveTo>
                <a:lnTo>
                  <a:pt x="31495" y="28422"/>
                </a:lnTo>
                <a:lnTo>
                  <a:pt x="33515" y="27406"/>
                </a:lnTo>
                <a:lnTo>
                  <a:pt x="33515" y="24358"/>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16" name="object 128">
            <a:extLst>
              <a:ext uri="{FF2B5EF4-FFF2-40B4-BE49-F238E27FC236}">
                <a16:creationId xmlns:a16="http://schemas.microsoft.com/office/drawing/2014/main" id="{83D4DEE0-D3D4-429A-827B-8BABBBF52EC4}"/>
              </a:ext>
            </a:extLst>
          </p:cNvPr>
          <p:cNvSpPr>
            <a:spLocks/>
          </p:cNvSpPr>
          <p:nvPr/>
        </p:nvSpPr>
        <p:spPr bwMode="auto">
          <a:xfrm>
            <a:off x="9501706" y="3545177"/>
            <a:ext cx="46037" cy="39688"/>
          </a:xfrm>
          <a:custGeom>
            <a:avLst/>
            <a:gdLst>
              <a:gd name="T0" fmla="*/ 40176 w 45720"/>
              <a:gd name="T1" fmla="*/ 0 h 39611"/>
              <a:gd name="T2" fmla="*/ 3090 w 45720"/>
              <a:gd name="T3" fmla="*/ 0 h 39611"/>
              <a:gd name="T4" fmla="*/ 0 w 45720"/>
              <a:gd name="T5" fmla="*/ 3059 h 39611"/>
              <a:gd name="T6" fmla="*/ 0 w 45720"/>
              <a:gd name="T7" fmla="*/ 36705 h 39611"/>
              <a:gd name="T8" fmla="*/ 3090 w 45720"/>
              <a:gd name="T9" fmla="*/ 39765 h 39611"/>
              <a:gd name="T10" fmla="*/ 40176 w 45720"/>
              <a:gd name="T11" fmla="*/ 39765 h 39611"/>
              <a:gd name="T12" fmla="*/ 46356 w 45720"/>
              <a:gd name="T13" fmla="*/ 36705 h 39611"/>
              <a:gd name="T14" fmla="*/ 46356 w 45720"/>
              <a:gd name="T15" fmla="*/ 3059 h 39611"/>
              <a:gd name="T16" fmla="*/ 40176 w 45720"/>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20" h="39611">
                <a:moveTo>
                  <a:pt x="39624" y="0"/>
                </a:moveTo>
                <a:lnTo>
                  <a:pt x="3048" y="0"/>
                </a:lnTo>
                <a:lnTo>
                  <a:pt x="0" y="3047"/>
                </a:lnTo>
                <a:lnTo>
                  <a:pt x="0" y="36563"/>
                </a:lnTo>
                <a:lnTo>
                  <a:pt x="3048" y="39611"/>
                </a:lnTo>
                <a:lnTo>
                  <a:pt x="39624" y="39611"/>
                </a:lnTo>
                <a:lnTo>
                  <a:pt x="45720" y="36563"/>
                </a:lnTo>
                <a:lnTo>
                  <a:pt x="45720" y="3047"/>
                </a:lnTo>
                <a:lnTo>
                  <a:pt x="39624"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17" name="object 129">
            <a:extLst>
              <a:ext uri="{FF2B5EF4-FFF2-40B4-BE49-F238E27FC236}">
                <a16:creationId xmlns:a16="http://schemas.microsoft.com/office/drawing/2014/main" id="{54D3FFB0-0D77-4FB7-85E0-427357482D02}"/>
              </a:ext>
            </a:extLst>
          </p:cNvPr>
          <p:cNvSpPr>
            <a:spLocks/>
          </p:cNvSpPr>
          <p:nvPr/>
        </p:nvSpPr>
        <p:spPr bwMode="auto">
          <a:xfrm>
            <a:off x="9508056" y="3551527"/>
            <a:ext cx="33337" cy="30163"/>
          </a:xfrm>
          <a:custGeom>
            <a:avLst/>
            <a:gdLst>
              <a:gd name="T0" fmla="*/ 30144 w 33515"/>
              <a:gd name="T1" fmla="*/ 0 h 30467"/>
              <a:gd name="T2" fmla="*/ 3016 w 33515"/>
              <a:gd name="T3" fmla="*/ 0 h 30467"/>
              <a:gd name="T4" fmla="*/ 0 w 33515"/>
              <a:gd name="T5" fmla="*/ 2987 h 30467"/>
              <a:gd name="T6" fmla="*/ 0 w 33515"/>
              <a:gd name="T7" fmla="*/ 26886 h 30467"/>
              <a:gd name="T8" fmla="*/ 3016 w 33515"/>
              <a:gd name="T9" fmla="*/ 29862 h 30467"/>
              <a:gd name="T10" fmla="*/ 30144 w 33515"/>
              <a:gd name="T11" fmla="*/ 29862 h 30467"/>
              <a:gd name="T12" fmla="*/ 33160 w 33515"/>
              <a:gd name="T13" fmla="*/ 26886 h 30467"/>
              <a:gd name="T14" fmla="*/ 33160 w 33515"/>
              <a:gd name="T15" fmla="*/ 2987 h 30467"/>
              <a:gd name="T16" fmla="*/ 30144 w 33515"/>
              <a:gd name="T17" fmla="*/ 0 h 304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30467">
                <a:moveTo>
                  <a:pt x="30467" y="0"/>
                </a:moveTo>
                <a:lnTo>
                  <a:pt x="3048" y="0"/>
                </a:lnTo>
                <a:lnTo>
                  <a:pt x="0" y="3047"/>
                </a:lnTo>
                <a:lnTo>
                  <a:pt x="0" y="27431"/>
                </a:lnTo>
                <a:lnTo>
                  <a:pt x="3048" y="30467"/>
                </a:lnTo>
                <a:lnTo>
                  <a:pt x="30467" y="30467"/>
                </a:lnTo>
                <a:lnTo>
                  <a:pt x="33515" y="27431"/>
                </a:lnTo>
                <a:lnTo>
                  <a:pt x="33515" y="3047"/>
                </a:lnTo>
                <a:lnTo>
                  <a:pt x="30467"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18" name="object 130">
            <a:extLst>
              <a:ext uri="{FF2B5EF4-FFF2-40B4-BE49-F238E27FC236}">
                <a16:creationId xmlns:a16="http://schemas.microsoft.com/office/drawing/2014/main" id="{BAC996E9-74AA-4D62-B0AC-F85A28E97FB2}"/>
              </a:ext>
            </a:extLst>
          </p:cNvPr>
          <p:cNvSpPr>
            <a:spLocks/>
          </p:cNvSpPr>
          <p:nvPr/>
        </p:nvSpPr>
        <p:spPr bwMode="auto">
          <a:xfrm>
            <a:off x="9504881" y="3548352"/>
            <a:ext cx="39687" cy="36513"/>
          </a:xfrm>
          <a:custGeom>
            <a:avLst/>
            <a:gdLst>
              <a:gd name="T0" fmla="*/ 30577 w 39624"/>
              <a:gd name="T1" fmla="*/ 0 h 36563"/>
              <a:gd name="T2" fmla="*/ 9174 w 39624"/>
              <a:gd name="T3" fmla="*/ 0 h 36563"/>
              <a:gd name="T4" fmla="*/ 3058 w 39624"/>
              <a:gd name="T5" fmla="*/ 3039 h 36563"/>
              <a:gd name="T6" fmla="*/ 0 w 39624"/>
              <a:gd name="T7" fmla="*/ 9118 h 36563"/>
              <a:gd name="T8" fmla="*/ 0 w 39624"/>
              <a:gd name="T9" fmla="*/ 27345 h 36563"/>
              <a:gd name="T10" fmla="*/ 3058 w 39624"/>
              <a:gd name="T11" fmla="*/ 33423 h 36563"/>
              <a:gd name="T12" fmla="*/ 9174 w 39624"/>
              <a:gd name="T13" fmla="*/ 36463 h 36563"/>
              <a:gd name="T14" fmla="*/ 30577 w 39624"/>
              <a:gd name="T15" fmla="*/ 36463 h 36563"/>
              <a:gd name="T16" fmla="*/ 36679 w 39624"/>
              <a:gd name="T17" fmla="*/ 33423 h 36563"/>
              <a:gd name="T18" fmla="*/ 38209 w 39624"/>
              <a:gd name="T19" fmla="*/ 30395 h 36563"/>
              <a:gd name="T20" fmla="*/ 6116 w 39624"/>
              <a:gd name="T21" fmla="*/ 30395 h 36563"/>
              <a:gd name="T22" fmla="*/ 6116 w 39624"/>
              <a:gd name="T23" fmla="*/ 6079 h 36563"/>
              <a:gd name="T24" fmla="*/ 38215 w 39624"/>
              <a:gd name="T25" fmla="*/ 6079 h 36563"/>
              <a:gd name="T26" fmla="*/ 36679 w 39624"/>
              <a:gd name="T27" fmla="*/ 3039 h 36563"/>
              <a:gd name="T28" fmla="*/ 30577 w 39624"/>
              <a:gd name="T29" fmla="*/ 0 h 36563"/>
              <a:gd name="T30" fmla="*/ 6116 w 39624"/>
              <a:gd name="T31" fmla="*/ 27345 h 36563"/>
              <a:gd name="T32" fmla="*/ 6116 w 39624"/>
              <a:gd name="T33" fmla="*/ 30395 h 36563"/>
              <a:gd name="T34" fmla="*/ 9174 w 39624"/>
              <a:gd name="T35" fmla="*/ 30395 h 36563"/>
              <a:gd name="T36" fmla="*/ 6116 w 39624"/>
              <a:gd name="T37" fmla="*/ 27345 h 36563"/>
              <a:gd name="T38" fmla="*/ 33621 w 39624"/>
              <a:gd name="T39" fmla="*/ 27345 h 36563"/>
              <a:gd name="T40" fmla="*/ 27520 w 39624"/>
              <a:gd name="T41" fmla="*/ 30395 h 36563"/>
              <a:gd name="T42" fmla="*/ 30577 w 39624"/>
              <a:gd name="T43" fmla="*/ 30395 h 36563"/>
              <a:gd name="T44" fmla="*/ 33621 w 39624"/>
              <a:gd name="T45" fmla="*/ 27345 h 36563"/>
              <a:gd name="T46" fmla="*/ 38215 w 39624"/>
              <a:gd name="T47" fmla="*/ 6079 h 36563"/>
              <a:gd name="T48" fmla="*/ 30577 w 39624"/>
              <a:gd name="T49" fmla="*/ 6079 h 36563"/>
              <a:gd name="T50" fmla="*/ 33621 w 39624"/>
              <a:gd name="T51" fmla="*/ 9118 h 36563"/>
              <a:gd name="T52" fmla="*/ 33621 w 39624"/>
              <a:gd name="T53" fmla="*/ 27345 h 36563"/>
              <a:gd name="T54" fmla="*/ 30577 w 39624"/>
              <a:gd name="T55" fmla="*/ 30395 h 36563"/>
              <a:gd name="T56" fmla="*/ 38209 w 39624"/>
              <a:gd name="T57" fmla="*/ 30395 h 36563"/>
              <a:gd name="T58" fmla="*/ 39750 w 39624"/>
              <a:gd name="T59" fmla="*/ 27345 h 36563"/>
              <a:gd name="T60" fmla="*/ 39750 w 39624"/>
              <a:gd name="T61" fmla="*/ 9118 h 36563"/>
              <a:gd name="T62" fmla="*/ 38215 w 39624"/>
              <a:gd name="T63" fmla="*/ 6079 h 36563"/>
              <a:gd name="T64" fmla="*/ 9174 w 39624"/>
              <a:gd name="T65" fmla="*/ 6079 h 36563"/>
              <a:gd name="T66" fmla="*/ 6116 w 39624"/>
              <a:gd name="T67" fmla="*/ 6079 h 36563"/>
              <a:gd name="T68" fmla="*/ 6116 w 39624"/>
              <a:gd name="T69" fmla="*/ 9118 h 36563"/>
              <a:gd name="T70" fmla="*/ 9174 w 39624"/>
              <a:gd name="T71" fmla="*/ 6079 h 3656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9624" h="36563">
                <a:moveTo>
                  <a:pt x="30480" y="0"/>
                </a:moveTo>
                <a:lnTo>
                  <a:pt x="9144" y="0"/>
                </a:lnTo>
                <a:lnTo>
                  <a:pt x="3048" y="3047"/>
                </a:lnTo>
                <a:lnTo>
                  <a:pt x="0" y="9143"/>
                </a:lnTo>
                <a:lnTo>
                  <a:pt x="0" y="27419"/>
                </a:lnTo>
                <a:lnTo>
                  <a:pt x="3048" y="33515"/>
                </a:lnTo>
                <a:lnTo>
                  <a:pt x="9144" y="36563"/>
                </a:lnTo>
                <a:lnTo>
                  <a:pt x="30480" y="36563"/>
                </a:lnTo>
                <a:lnTo>
                  <a:pt x="36563" y="33515"/>
                </a:lnTo>
                <a:lnTo>
                  <a:pt x="38087" y="30479"/>
                </a:lnTo>
                <a:lnTo>
                  <a:pt x="6096" y="30479"/>
                </a:lnTo>
                <a:lnTo>
                  <a:pt x="6096" y="6095"/>
                </a:lnTo>
                <a:lnTo>
                  <a:pt x="38093" y="6095"/>
                </a:lnTo>
                <a:lnTo>
                  <a:pt x="36563" y="3047"/>
                </a:lnTo>
                <a:lnTo>
                  <a:pt x="30480" y="0"/>
                </a:lnTo>
                <a:close/>
              </a:path>
              <a:path w="39624" h="36563">
                <a:moveTo>
                  <a:pt x="6096" y="27419"/>
                </a:moveTo>
                <a:lnTo>
                  <a:pt x="6096" y="30479"/>
                </a:lnTo>
                <a:lnTo>
                  <a:pt x="9144" y="30479"/>
                </a:lnTo>
                <a:lnTo>
                  <a:pt x="6096" y="27419"/>
                </a:lnTo>
                <a:close/>
              </a:path>
              <a:path w="39624" h="36563">
                <a:moveTo>
                  <a:pt x="33515" y="27419"/>
                </a:moveTo>
                <a:lnTo>
                  <a:pt x="27432" y="30479"/>
                </a:lnTo>
                <a:lnTo>
                  <a:pt x="30480" y="30479"/>
                </a:lnTo>
                <a:lnTo>
                  <a:pt x="33515" y="27419"/>
                </a:lnTo>
                <a:close/>
              </a:path>
              <a:path w="39624" h="36563">
                <a:moveTo>
                  <a:pt x="38093" y="6095"/>
                </a:moveTo>
                <a:lnTo>
                  <a:pt x="30480" y="6095"/>
                </a:lnTo>
                <a:lnTo>
                  <a:pt x="33515" y="9143"/>
                </a:lnTo>
                <a:lnTo>
                  <a:pt x="33515" y="27419"/>
                </a:lnTo>
                <a:lnTo>
                  <a:pt x="30480" y="30479"/>
                </a:lnTo>
                <a:lnTo>
                  <a:pt x="38087" y="30479"/>
                </a:lnTo>
                <a:lnTo>
                  <a:pt x="39624" y="27419"/>
                </a:lnTo>
                <a:lnTo>
                  <a:pt x="39624" y="9143"/>
                </a:lnTo>
                <a:lnTo>
                  <a:pt x="38093" y="6095"/>
                </a:lnTo>
                <a:close/>
              </a:path>
              <a:path w="39624" h="36563">
                <a:moveTo>
                  <a:pt x="9144" y="6095"/>
                </a:moveTo>
                <a:lnTo>
                  <a:pt x="6096" y="6095"/>
                </a:lnTo>
                <a:lnTo>
                  <a:pt x="6096" y="9143"/>
                </a:lnTo>
                <a:lnTo>
                  <a:pt x="9144"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19" name="object 131">
            <a:extLst>
              <a:ext uri="{FF2B5EF4-FFF2-40B4-BE49-F238E27FC236}">
                <a16:creationId xmlns:a16="http://schemas.microsoft.com/office/drawing/2014/main" id="{021E17F5-A36B-4302-BCCD-D11335D6707C}"/>
              </a:ext>
            </a:extLst>
          </p:cNvPr>
          <p:cNvSpPr>
            <a:spLocks/>
          </p:cNvSpPr>
          <p:nvPr/>
        </p:nvSpPr>
        <p:spPr bwMode="auto">
          <a:xfrm>
            <a:off x="9501706" y="3591215"/>
            <a:ext cx="46037" cy="39687"/>
          </a:xfrm>
          <a:custGeom>
            <a:avLst/>
            <a:gdLst>
              <a:gd name="T0" fmla="*/ 40176 w 45720"/>
              <a:gd name="T1" fmla="*/ 0 h 39611"/>
              <a:gd name="T2" fmla="*/ 3090 w 45720"/>
              <a:gd name="T3" fmla="*/ 0 h 39611"/>
              <a:gd name="T4" fmla="*/ 0 w 45720"/>
              <a:gd name="T5" fmla="*/ 3059 h 39611"/>
              <a:gd name="T6" fmla="*/ 0 w 45720"/>
              <a:gd name="T7" fmla="*/ 36703 h 39611"/>
              <a:gd name="T8" fmla="*/ 3090 w 45720"/>
              <a:gd name="T9" fmla="*/ 39763 h 39611"/>
              <a:gd name="T10" fmla="*/ 40176 w 45720"/>
              <a:gd name="T11" fmla="*/ 39763 h 39611"/>
              <a:gd name="T12" fmla="*/ 46356 w 45720"/>
              <a:gd name="T13" fmla="*/ 36703 h 39611"/>
              <a:gd name="T14" fmla="*/ 46356 w 45720"/>
              <a:gd name="T15" fmla="*/ 3059 h 39611"/>
              <a:gd name="T16" fmla="*/ 40176 w 45720"/>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20" h="39611">
                <a:moveTo>
                  <a:pt x="39624" y="0"/>
                </a:moveTo>
                <a:lnTo>
                  <a:pt x="3048" y="0"/>
                </a:lnTo>
                <a:lnTo>
                  <a:pt x="0" y="3047"/>
                </a:lnTo>
                <a:lnTo>
                  <a:pt x="0" y="36563"/>
                </a:lnTo>
                <a:lnTo>
                  <a:pt x="3048" y="39611"/>
                </a:lnTo>
                <a:lnTo>
                  <a:pt x="39624" y="39611"/>
                </a:lnTo>
                <a:lnTo>
                  <a:pt x="45720" y="36563"/>
                </a:lnTo>
                <a:lnTo>
                  <a:pt x="45720" y="3047"/>
                </a:lnTo>
                <a:lnTo>
                  <a:pt x="39624"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20" name="object 132">
            <a:extLst>
              <a:ext uri="{FF2B5EF4-FFF2-40B4-BE49-F238E27FC236}">
                <a16:creationId xmlns:a16="http://schemas.microsoft.com/office/drawing/2014/main" id="{9332EF49-4ACE-4AF4-9EE5-3B575A53F9F9}"/>
              </a:ext>
            </a:extLst>
          </p:cNvPr>
          <p:cNvSpPr>
            <a:spLocks/>
          </p:cNvSpPr>
          <p:nvPr/>
        </p:nvSpPr>
        <p:spPr bwMode="auto">
          <a:xfrm>
            <a:off x="9508056" y="3597565"/>
            <a:ext cx="33337" cy="26987"/>
          </a:xfrm>
          <a:custGeom>
            <a:avLst/>
            <a:gdLst>
              <a:gd name="T0" fmla="*/ 0 w 33515"/>
              <a:gd name="T1" fmla="*/ 13280 h 27419"/>
              <a:gd name="T2" fmla="*/ 33160 w 33515"/>
              <a:gd name="T3" fmla="*/ 13280 h 27419"/>
              <a:gd name="T4" fmla="*/ 0 60000 65536"/>
              <a:gd name="T5" fmla="*/ 0 60000 65536"/>
            </a:gdLst>
            <a:ahLst/>
            <a:cxnLst>
              <a:cxn ang="T4">
                <a:pos x="T0" y="T1"/>
              </a:cxn>
              <a:cxn ang="T5">
                <a:pos x="T2" y="T3"/>
              </a:cxn>
            </a:cxnLst>
            <a:rect l="0" t="0" r="r" b="b"/>
            <a:pathLst>
              <a:path w="33515" h="27419">
                <a:moveTo>
                  <a:pt x="0" y="13709"/>
                </a:moveTo>
                <a:lnTo>
                  <a:pt x="33515" y="13709"/>
                </a:lnTo>
              </a:path>
            </a:pathLst>
          </a:custGeom>
          <a:noFill/>
          <a:ln w="28689">
            <a:solidFill>
              <a:srgbClr val="A9B9D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121" name="object 133">
            <a:extLst>
              <a:ext uri="{FF2B5EF4-FFF2-40B4-BE49-F238E27FC236}">
                <a16:creationId xmlns:a16="http://schemas.microsoft.com/office/drawing/2014/main" id="{F2A9BF96-B139-487F-B353-8CC014E10600}"/>
              </a:ext>
            </a:extLst>
          </p:cNvPr>
          <p:cNvSpPr>
            <a:spLocks/>
          </p:cNvSpPr>
          <p:nvPr/>
        </p:nvSpPr>
        <p:spPr bwMode="auto">
          <a:xfrm>
            <a:off x="9504881" y="3594390"/>
            <a:ext cx="39687" cy="36512"/>
          </a:xfrm>
          <a:custGeom>
            <a:avLst/>
            <a:gdLst>
              <a:gd name="T0" fmla="*/ 36679 w 39624"/>
              <a:gd name="T1" fmla="*/ 0 h 36563"/>
              <a:gd name="T2" fmla="*/ 3058 w 39624"/>
              <a:gd name="T3" fmla="*/ 0 h 36563"/>
              <a:gd name="T4" fmla="*/ 3058 w 39624"/>
              <a:gd name="T5" fmla="*/ 3039 h 36563"/>
              <a:gd name="T6" fmla="*/ 0 w 39624"/>
              <a:gd name="T7" fmla="*/ 6067 h 36563"/>
              <a:gd name="T8" fmla="*/ 0 w 39624"/>
              <a:gd name="T9" fmla="*/ 27330 h 36563"/>
              <a:gd name="T10" fmla="*/ 3058 w 39624"/>
              <a:gd name="T11" fmla="*/ 30383 h 36563"/>
              <a:gd name="T12" fmla="*/ 3058 w 39624"/>
              <a:gd name="T13" fmla="*/ 33421 h 36563"/>
              <a:gd name="T14" fmla="*/ 9174 w 39624"/>
              <a:gd name="T15" fmla="*/ 36461 h 36563"/>
              <a:gd name="T16" fmla="*/ 30577 w 39624"/>
              <a:gd name="T17" fmla="*/ 36461 h 36563"/>
              <a:gd name="T18" fmla="*/ 30577 w 39624"/>
              <a:gd name="T19" fmla="*/ 33421 h 36563"/>
              <a:gd name="T20" fmla="*/ 36679 w 39624"/>
              <a:gd name="T21" fmla="*/ 33421 h 36563"/>
              <a:gd name="T22" fmla="*/ 36679 w 39624"/>
              <a:gd name="T23" fmla="*/ 30383 h 36563"/>
              <a:gd name="T24" fmla="*/ 9174 w 39624"/>
              <a:gd name="T25" fmla="*/ 30383 h 36563"/>
              <a:gd name="T26" fmla="*/ 6116 w 39624"/>
              <a:gd name="T27" fmla="*/ 27330 h 36563"/>
              <a:gd name="T28" fmla="*/ 6116 w 39624"/>
              <a:gd name="T29" fmla="*/ 6067 h 36563"/>
              <a:gd name="T30" fmla="*/ 39750 w 39624"/>
              <a:gd name="T31" fmla="*/ 6067 h 36563"/>
              <a:gd name="T32" fmla="*/ 36679 w 39624"/>
              <a:gd name="T33" fmla="*/ 3039 h 36563"/>
              <a:gd name="T34" fmla="*/ 36679 w 39624"/>
              <a:gd name="T35" fmla="*/ 0 h 36563"/>
              <a:gd name="T36" fmla="*/ 6116 w 39624"/>
              <a:gd name="T37" fmla="*/ 24290 h 36563"/>
              <a:gd name="T38" fmla="*/ 6116 w 39624"/>
              <a:gd name="T39" fmla="*/ 27330 h 36563"/>
              <a:gd name="T40" fmla="*/ 9174 w 39624"/>
              <a:gd name="T41" fmla="*/ 30383 h 36563"/>
              <a:gd name="T42" fmla="*/ 6116 w 39624"/>
              <a:gd name="T43" fmla="*/ 24290 h 36563"/>
              <a:gd name="T44" fmla="*/ 30577 w 39624"/>
              <a:gd name="T45" fmla="*/ 27330 h 36563"/>
              <a:gd name="T46" fmla="*/ 9174 w 39624"/>
              <a:gd name="T47" fmla="*/ 27330 h 36563"/>
              <a:gd name="T48" fmla="*/ 9174 w 39624"/>
              <a:gd name="T49" fmla="*/ 30383 h 36563"/>
              <a:gd name="T50" fmla="*/ 27520 w 39624"/>
              <a:gd name="T51" fmla="*/ 30383 h 36563"/>
              <a:gd name="T52" fmla="*/ 30577 w 39624"/>
              <a:gd name="T53" fmla="*/ 27330 h 36563"/>
              <a:gd name="T54" fmla="*/ 31595 w 39624"/>
              <a:gd name="T55" fmla="*/ 28342 h 36563"/>
              <a:gd name="T56" fmla="*/ 27520 w 39624"/>
              <a:gd name="T57" fmla="*/ 30383 h 36563"/>
              <a:gd name="T58" fmla="*/ 30577 w 39624"/>
              <a:gd name="T59" fmla="*/ 30383 h 36563"/>
              <a:gd name="T60" fmla="*/ 31595 w 39624"/>
              <a:gd name="T61" fmla="*/ 28342 h 36563"/>
              <a:gd name="T62" fmla="*/ 33621 w 39624"/>
              <a:gd name="T63" fmla="*/ 27330 h 36563"/>
              <a:gd name="T64" fmla="*/ 31595 w 39624"/>
              <a:gd name="T65" fmla="*/ 28342 h 36563"/>
              <a:gd name="T66" fmla="*/ 30577 w 39624"/>
              <a:gd name="T67" fmla="*/ 30383 h 36563"/>
              <a:gd name="T68" fmla="*/ 33621 w 39624"/>
              <a:gd name="T69" fmla="*/ 27330 h 36563"/>
              <a:gd name="T70" fmla="*/ 39750 w 39624"/>
              <a:gd name="T71" fmla="*/ 6067 h 36563"/>
              <a:gd name="T72" fmla="*/ 30577 w 39624"/>
              <a:gd name="T73" fmla="*/ 6067 h 36563"/>
              <a:gd name="T74" fmla="*/ 33621 w 39624"/>
              <a:gd name="T75" fmla="*/ 9105 h 36563"/>
              <a:gd name="T76" fmla="*/ 33621 w 39624"/>
              <a:gd name="T77" fmla="*/ 27330 h 36563"/>
              <a:gd name="T78" fmla="*/ 30577 w 39624"/>
              <a:gd name="T79" fmla="*/ 30383 h 36563"/>
              <a:gd name="T80" fmla="*/ 36679 w 39624"/>
              <a:gd name="T81" fmla="*/ 30383 h 36563"/>
              <a:gd name="T82" fmla="*/ 39750 w 39624"/>
              <a:gd name="T83" fmla="*/ 27330 h 36563"/>
              <a:gd name="T84" fmla="*/ 39750 w 39624"/>
              <a:gd name="T85" fmla="*/ 6067 h 36563"/>
              <a:gd name="T86" fmla="*/ 33621 w 39624"/>
              <a:gd name="T87" fmla="*/ 24290 h 36563"/>
              <a:gd name="T88" fmla="*/ 31595 w 39624"/>
              <a:gd name="T89" fmla="*/ 28342 h 36563"/>
              <a:gd name="T90" fmla="*/ 33621 w 39624"/>
              <a:gd name="T91" fmla="*/ 27330 h 36563"/>
              <a:gd name="T92" fmla="*/ 33621 w 39624"/>
              <a:gd name="T93" fmla="*/ 24290 h 3656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9624" h="36563">
                <a:moveTo>
                  <a:pt x="36563" y="0"/>
                </a:moveTo>
                <a:lnTo>
                  <a:pt x="3048" y="0"/>
                </a:lnTo>
                <a:lnTo>
                  <a:pt x="3048" y="3047"/>
                </a:lnTo>
                <a:lnTo>
                  <a:pt x="0" y="6083"/>
                </a:lnTo>
                <a:lnTo>
                  <a:pt x="0" y="27406"/>
                </a:lnTo>
                <a:lnTo>
                  <a:pt x="3048" y="30467"/>
                </a:lnTo>
                <a:lnTo>
                  <a:pt x="3048" y="33515"/>
                </a:lnTo>
                <a:lnTo>
                  <a:pt x="9144" y="36563"/>
                </a:lnTo>
                <a:lnTo>
                  <a:pt x="30480" y="36563"/>
                </a:lnTo>
                <a:lnTo>
                  <a:pt x="30480" y="33515"/>
                </a:lnTo>
                <a:lnTo>
                  <a:pt x="36563" y="33515"/>
                </a:lnTo>
                <a:lnTo>
                  <a:pt x="36563" y="30467"/>
                </a:lnTo>
                <a:lnTo>
                  <a:pt x="9144" y="30467"/>
                </a:lnTo>
                <a:lnTo>
                  <a:pt x="6096" y="27406"/>
                </a:lnTo>
                <a:lnTo>
                  <a:pt x="6096" y="6083"/>
                </a:lnTo>
                <a:lnTo>
                  <a:pt x="39624" y="6083"/>
                </a:lnTo>
                <a:lnTo>
                  <a:pt x="36563" y="3047"/>
                </a:lnTo>
                <a:lnTo>
                  <a:pt x="36563" y="0"/>
                </a:lnTo>
                <a:close/>
              </a:path>
              <a:path w="39624" h="36563">
                <a:moveTo>
                  <a:pt x="6096" y="24358"/>
                </a:moveTo>
                <a:lnTo>
                  <a:pt x="6096" y="27406"/>
                </a:lnTo>
                <a:lnTo>
                  <a:pt x="9144" y="30467"/>
                </a:lnTo>
                <a:lnTo>
                  <a:pt x="6096" y="24358"/>
                </a:lnTo>
                <a:close/>
              </a:path>
              <a:path w="39624" h="36563">
                <a:moveTo>
                  <a:pt x="30480" y="27406"/>
                </a:moveTo>
                <a:lnTo>
                  <a:pt x="9144" y="27406"/>
                </a:lnTo>
                <a:lnTo>
                  <a:pt x="9144" y="30467"/>
                </a:lnTo>
                <a:lnTo>
                  <a:pt x="27432" y="30467"/>
                </a:lnTo>
                <a:lnTo>
                  <a:pt x="30480" y="27406"/>
                </a:lnTo>
                <a:close/>
              </a:path>
              <a:path w="39624" h="36563">
                <a:moveTo>
                  <a:pt x="31495" y="28422"/>
                </a:moveTo>
                <a:lnTo>
                  <a:pt x="27432" y="30467"/>
                </a:lnTo>
                <a:lnTo>
                  <a:pt x="30480" y="30467"/>
                </a:lnTo>
                <a:lnTo>
                  <a:pt x="31495" y="28422"/>
                </a:lnTo>
                <a:close/>
              </a:path>
              <a:path w="39624" h="36563">
                <a:moveTo>
                  <a:pt x="33515" y="27406"/>
                </a:moveTo>
                <a:lnTo>
                  <a:pt x="31495" y="28422"/>
                </a:lnTo>
                <a:lnTo>
                  <a:pt x="30480" y="30467"/>
                </a:lnTo>
                <a:lnTo>
                  <a:pt x="33515" y="27406"/>
                </a:lnTo>
                <a:close/>
              </a:path>
              <a:path w="39624" h="36563">
                <a:moveTo>
                  <a:pt x="39624" y="6083"/>
                </a:moveTo>
                <a:lnTo>
                  <a:pt x="30480" y="6083"/>
                </a:lnTo>
                <a:lnTo>
                  <a:pt x="33515" y="9131"/>
                </a:lnTo>
                <a:lnTo>
                  <a:pt x="33515" y="27406"/>
                </a:lnTo>
                <a:lnTo>
                  <a:pt x="30480" y="30467"/>
                </a:lnTo>
                <a:lnTo>
                  <a:pt x="36563" y="30467"/>
                </a:lnTo>
                <a:lnTo>
                  <a:pt x="39624" y="27406"/>
                </a:lnTo>
                <a:lnTo>
                  <a:pt x="39624" y="6083"/>
                </a:lnTo>
                <a:close/>
              </a:path>
              <a:path w="39624" h="36563">
                <a:moveTo>
                  <a:pt x="33515" y="24358"/>
                </a:moveTo>
                <a:lnTo>
                  <a:pt x="31495" y="28422"/>
                </a:lnTo>
                <a:lnTo>
                  <a:pt x="33515" y="27406"/>
                </a:lnTo>
                <a:lnTo>
                  <a:pt x="33515" y="24358"/>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22" name="object 134">
            <a:extLst>
              <a:ext uri="{FF2B5EF4-FFF2-40B4-BE49-F238E27FC236}">
                <a16:creationId xmlns:a16="http://schemas.microsoft.com/office/drawing/2014/main" id="{F227A546-2C01-40F9-A731-4E6AFF889B62}"/>
              </a:ext>
            </a:extLst>
          </p:cNvPr>
          <p:cNvSpPr>
            <a:spLocks/>
          </p:cNvSpPr>
          <p:nvPr/>
        </p:nvSpPr>
        <p:spPr bwMode="auto">
          <a:xfrm>
            <a:off x="9501706" y="3637252"/>
            <a:ext cx="46037" cy="39688"/>
          </a:xfrm>
          <a:custGeom>
            <a:avLst/>
            <a:gdLst>
              <a:gd name="T0" fmla="*/ 40176 w 45720"/>
              <a:gd name="T1" fmla="*/ 0 h 39611"/>
              <a:gd name="T2" fmla="*/ 3090 w 45720"/>
              <a:gd name="T3" fmla="*/ 0 h 39611"/>
              <a:gd name="T4" fmla="*/ 0 w 45720"/>
              <a:gd name="T5" fmla="*/ 3059 h 39611"/>
              <a:gd name="T6" fmla="*/ 0 w 45720"/>
              <a:gd name="T7" fmla="*/ 36717 h 39611"/>
              <a:gd name="T8" fmla="*/ 3090 w 45720"/>
              <a:gd name="T9" fmla="*/ 39765 h 39611"/>
              <a:gd name="T10" fmla="*/ 40176 w 45720"/>
              <a:gd name="T11" fmla="*/ 39765 h 39611"/>
              <a:gd name="T12" fmla="*/ 46356 w 45720"/>
              <a:gd name="T13" fmla="*/ 36717 h 39611"/>
              <a:gd name="T14" fmla="*/ 46356 w 45720"/>
              <a:gd name="T15" fmla="*/ 3059 h 39611"/>
              <a:gd name="T16" fmla="*/ 40176 w 45720"/>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20" h="39611">
                <a:moveTo>
                  <a:pt x="39624" y="0"/>
                </a:moveTo>
                <a:lnTo>
                  <a:pt x="3048" y="0"/>
                </a:lnTo>
                <a:lnTo>
                  <a:pt x="0" y="3047"/>
                </a:lnTo>
                <a:lnTo>
                  <a:pt x="0" y="36575"/>
                </a:lnTo>
                <a:lnTo>
                  <a:pt x="3048" y="39611"/>
                </a:lnTo>
                <a:lnTo>
                  <a:pt x="39624" y="39611"/>
                </a:lnTo>
                <a:lnTo>
                  <a:pt x="45720" y="36575"/>
                </a:lnTo>
                <a:lnTo>
                  <a:pt x="45720" y="3047"/>
                </a:lnTo>
                <a:lnTo>
                  <a:pt x="39624"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23" name="object 135">
            <a:extLst>
              <a:ext uri="{FF2B5EF4-FFF2-40B4-BE49-F238E27FC236}">
                <a16:creationId xmlns:a16="http://schemas.microsoft.com/office/drawing/2014/main" id="{302E638B-7B42-4994-97DA-98DC6FD6F93C}"/>
              </a:ext>
            </a:extLst>
          </p:cNvPr>
          <p:cNvSpPr>
            <a:spLocks/>
          </p:cNvSpPr>
          <p:nvPr/>
        </p:nvSpPr>
        <p:spPr bwMode="auto">
          <a:xfrm>
            <a:off x="9508056" y="3643602"/>
            <a:ext cx="33337" cy="30163"/>
          </a:xfrm>
          <a:custGeom>
            <a:avLst/>
            <a:gdLst>
              <a:gd name="T0" fmla="*/ 30144 w 33515"/>
              <a:gd name="T1" fmla="*/ 0 h 30479"/>
              <a:gd name="T2" fmla="*/ 3016 w 33515"/>
              <a:gd name="T3" fmla="*/ 0 h 30479"/>
              <a:gd name="T4" fmla="*/ 0 w 33515"/>
              <a:gd name="T5" fmla="*/ 2985 h 30479"/>
              <a:gd name="T6" fmla="*/ 0 w 33515"/>
              <a:gd name="T7" fmla="*/ 26867 h 30479"/>
              <a:gd name="T8" fmla="*/ 3016 w 33515"/>
              <a:gd name="T9" fmla="*/ 29851 h 30479"/>
              <a:gd name="T10" fmla="*/ 30144 w 33515"/>
              <a:gd name="T11" fmla="*/ 29851 h 30479"/>
              <a:gd name="T12" fmla="*/ 33160 w 33515"/>
              <a:gd name="T13" fmla="*/ 26867 h 30479"/>
              <a:gd name="T14" fmla="*/ 33160 w 33515"/>
              <a:gd name="T15" fmla="*/ 2985 h 30479"/>
              <a:gd name="T16" fmla="*/ 30144 w 33515"/>
              <a:gd name="T17" fmla="*/ 0 h 304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30479">
                <a:moveTo>
                  <a:pt x="30467" y="0"/>
                </a:moveTo>
                <a:lnTo>
                  <a:pt x="3048" y="0"/>
                </a:lnTo>
                <a:lnTo>
                  <a:pt x="0" y="3048"/>
                </a:lnTo>
                <a:lnTo>
                  <a:pt x="0" y="27432"/>
                </a:lnTo>
                <a:lnTo>
                  <a:pt x="3048" y="30480"/>
                </a:lnTo>
                <a:lnTo>
                  <a:pt x="30467" y="30480"/>
                </a:lnTo>
                <a:lnTo>
                  <a:pt x="33515" y="27432"/>
                </a:lnTo>
                <a:lnTo>
                  <a:pt x="33515" y="3048"/>
                </a:lnTo>
                <a:lnTo>
                  <a:pt x="30467"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24" name="object 136">
            <a:extLst>
              <a:ext uri="{FF2B5EF4-FFF2-40B4-BE49-F238E27FC236}">
                <a16:creationId xmlns:a16="http://schemas.microsoft.com/office/drawing/2014/main" id="{D231EA8E-A161-4624-8E83-544E646D381B}"/>
              </a:ext>
            </a:extLst>
          </p:cNvPr>
          <p:cNvSpPr>
            <a:spLocks/>
          </p:cNvSpPr>
          <p:nvPr/>
        </p:nvSpPr>
        <p:spPr bwMode="auto">
          <a:xfrm>
            <a:off x="9504881" y="3640427"/>
            <a:ext cx="39687" cy="36513"/>
          </a:xfrm>
          <a:custGeom>
            <a:avLst/>
            <a:gdLst>
              <a:gd name="T0" fmla="*/ 36679 w 39624"/>
              <a:gd name="T1" fmla="*/ 0 h 36563"/>
              <a:gd name="T2" fmla="*/ 3058 w 39624"/>
              <a:gd name="T3" fmla="*/ 0 h 36563"/>
              <a:gd name="T4" fmla="*/ 3058 w 39624"/>
              <a:gd name="T5" fmla="*/ 3040 h 36563"/>
              <a:gd name="T6" fmla="*/ 0 w 39624"/>
              <a:gd name="T7" fmla="*/ 6080 h 36563"/>
              <a:gd name="T8" fmla="*/ 0 w 39624"/>
              <a:gd name="T9" fmla="*/ 27345 h 36563"/>
              <a:gd name="T10" fmla="*/ 3058 w 39624"/>
              <a:gd name="T11" fmla="*/ 30396 h 36563"/>
              <a:gd name="T12" fmla="*/ 3058 w 39624"/>
              <a:gd name="T13" fmla="*/ 33436 h 36563"/>
              <a:gd name="T14" fmla="*/ 9174 w 39624"/>
              <a:gd name="T15" fmla="*/ 36463 h 36563"/>
              <a:gd name="T16" fmla="*/ 30577 w 39624"/>
              <a:gd name="T17" fmla="*/ 36463 h 36563"/>
              <a:gd name="T18" fmla="*/ 36679 w 39624"/>
              <a:gd name="T19" fmla="*/ 33436 h 36563"/>
              <a:gd name="T20" fmla="*/ 36679 w 39624"/>
              <a:gd name="T21" fmla="*/ 30396 h 36563"/>
              <a:gd name="T22" fmla="*/ 6116 w 39624"/>
              <a:gd name="T23" fmla="*/ 30396 h 36563"/>
              <a:gd name="T24" fmla="*/ 6116 w 39624"/>
              <a:gd name="T25" fmla="*/ 6080 h 36563"/>
              <a:gd name="T26" fmla="*/ 39750 w 39624"/>
              <a:gd name="T27" fmla="*/ 6080 h 36563"/>
              <a:gd name="T28" fmla="*/ 36679 w 39624"/>
              <a:gd name="T29" fmla="*/ 3040 h 36563"/>
              <a:gd name="T30" fmla="*/ 36679 w 39624"/>
              <a:gd name="T31" fmla="*/ 0 h 36563"/>
              <a:gd name="T32" fmla="*/ 6116 w 39624"/>
              <a:gd name="T33" fmla="*/ 27345 h 36563"/>
              <a:gd name="T34" fmla="*/ 6116 w 39624"/>
              <a:gd name="T35" fmla="*/ 30396 h 36563"/>
              <a:gd name="T36" fmla="*/ 9174 w 39624"/>
              <a:gd name="T37" fmla="*/ 30396 h 36563"/>
              <a:gd name="T38" fmla="*/ 6116 w 39624"/>
              <a:gd name="T39" fmla="*/ 27345 h 36563"/>
              <a:gd name="T40" fmla="*/ 31595 w 39624"/>
              <a:gd name="T41" fmla="*/ 28357 h 36563"/>
              <a:gd name="T42" fmla="*/ 27520 w 39624"/>
              <a:gd name="T43" fmla="*/ 30396 h 36563"/>
              <a:gd name="T44" fmla="*/ 30577 w 39624"/>
              <a:gd name="T45" fmla="*/ 30396 h 36563"/>
              <a:gd name="T46" fmla="*/ 31595 w 39624"/>
              <a:gd name="T47" fmla="*/ 28357 h 36563"/>
              <a:gd name="T48" fmla="*/ 33621 w 39624"/>
              <a:gd name="T49" fmla="*/ 27345 h 36563"/>
              <a:gd name="T50" fmla="*/ 31595 w 39624"/>
              <a:gd name="T51" fmla="*/ 28357 h 36563"/>
              <a:gd name="T52" fmla="*/ 30577 w 39624"/>
              <a:gd name="T53" fmla="*/ 30396 h 36563"/>
              <a:gd name="T54" fmla="*/ 33621 w 39624"/>
              <a:gd name="T55" fmla="*/ 27345 h 36563"/>
              <a:gd name="T56" fmla="*/ 39750 w 39624"/>
              <a:gd name="T57" fmla="*/ 6080 h 36563"/>
              <a:gd name="T58" fmla="*/ 30577 w 39624"/>
              <a:gd name="T59" fmla="*/ 6080 h 36563"/>
              <a:gd name="T60" fmla="*/ 33621 w 39624"/>
              <a:gd name="T61" fmla="*/ 9119 h 36563"/>
              <a:gd name="T62" fmla="*/ 33621 w 39624"/>
              <a:gd name="T63" fmla="*/ 27345 h 36563"/>
              <a:gd name="T64" fmla="*/ 30577 w 39624"/>
              <a:gd name="T65" fmla="*/ 30396 h 36563"/>
              <a:gd name="T66" fmla="*/ 36679 w 39624"/>
              <a:gd name="T67" fmla="*/ 30396 h 36563"/>
              <a:gd name="T68" fmla="*/ 39750 w 39624"/>
              <a:gd name="T69" fmla="*/ 27345 h 36563"/>
              <a:gd name="T70" fmla="*/ 39750 w 39624"/>
              <a:gd name="T71" fmla="*/ 6080 h 36563"/>
              <a:gd name="T72" fmla="*/ 33621 w 39624"/>
              <a:gd name="T73" fmla="*/ 24305 h 36563"/>
              <a:gd name="T74" fmla="*/ 31595 w 39624"/>
              <a:gd name="T75" fmla="*/ 28357 h 36563"/>
              <a:gd name="T76" fmla="*/ 33621 w 39624"/>
              <a:gd name="T77" fmla="*/ 27345 h 36563"/>
              <a:gd name="T78" fmla="*/ 33621 w 39624"/>
              <a:gd name="T79" fmla="*/ 24305 h 365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9624" h="36563">
                <a:moveTo>
                  <a:pt x="36563" y="0"/>
                </a:moveTo>
                <a:lnTo>
                  <a:pt x="3048" y="0"/>
                </a:lnTo>
                <a:lnTo>
                  <a:pt x="3048" y="3048"/>
                </a:lnTo>
                <a:lnTo>
                  <a:pt x="0" y="6096"/>
                </a:lnTo>
                <a:lnTo>
                  <a:pt x="0" y="27419"/>
                </a:lnTo>
                <a:lnTo>
                  <a:pt x="3048" y="30480"/>
                </a:lnTo>
                <a:lnTo>
                  <a:pt x="3048" y="33528"/>
                </a:lnTo>
                <a:lnTo>
                  <a:pt x="9144" y="36563"/>
                </a:lnTo>
                <a:lnTo>
                  <a:pt x="30480" y="36563"/>
                </a:lnTo>
                <a:lnTo>
                  <a:pt x="36563" y="33528"/>
                </a:lnTo>
                <a:lnTo>
                  <a:pt x="36563" y="30480"/>
                </a:lnTo>
                <a:lnTo>
                  <a:pt x="6096" y="30480"/>
                </a:lnTo>
                <a:lnTo>
                  <a:pt x="6096" y="6096"/>
                </a:lnTo>
                <a:lnTo>
                  <a:pt x="39624" y="6096"/>
                </a:lnTo>
                <a:lnTo>
                  <a:pt x="36563" y="3048"/>
                </a:lnTo>
                <a:lnTo>
                  <a:pt x="36563" y="0"/>
                </a:lnTo>
                <a:close/>
              </a:path>
              <a:path w="39624" h="36563">
                <a:moveTo>
                  <a:pt x="6096" y="27419"/>
                </a:moveTo>
                <a:lnTo>
                  <a:pt x="6096" y="30480"/>
                </a:lnTo>
                <a:lnTo>
                  <a:pt x="9144" y="30480"/>
                </a:lnTo>
                <a:lnTo>
                  <a:pt x="6096" y="27419"/>
                </a:lnTo>
                <a:close/>
              </a:path>
              <a:path w="39624" h="36563">
                <a:moveTo>
                  <a:pt x="31495" y="28435"/>
                </a:moveTo>
                <a:lnTo>
                  <a:pt x="27432" y="30480"/>
                </a:lnTo>
                <a:lnTo>
                  <a:pt x="30480" y="30480"/>
                </a:lnTo>
                <a:lnTo>
                  <a:pt x="31495" y="28435"/>
                </a:lnTo>
                <a:close/>
              </a:path>
              <a:path w="39624" h="36563">
                <a:moveTo>
                  <a:pt x="33515" y="27419"/>
                </a:moveTo>
                <a:lnTo>
                  <a:pt x="31495" y="28435"/>
                </a:lnTo>
                <a:lnTo>
                  <a:pt x="30480" y="30480"/>
                </a:lnTo>
                <a:lnTo>
                  <a:pt x="33515" y="27419"/>
                </a:lnTo>
                <a:close/>
              </a:path>
              <a:path w="39624" h="36563">
                <a:moveTo>
                  <a:pt x="39624" y="6096"/>
                </a:moveTo>
                <a:lnTo>
                  <a:pt x="30480" y="6096"/>
                </a:lnTo>
                <a:lnTo>
                  <a:pt x="33515" y="9144"/>
                </a:lnTo>
                <a:lnTo>
                  <a:pt x="33515" y="27419"/>
                </a:lnTo>
                <a:lnTo>
                  <a:pt x="30480" y="30480"/>
                </a:lnTo>
                <a:lnTo>
                  <a:pt x="36563" y="30480"/>
                </a:lnTo>
                <a:lnTo>
                  <a:pt x="39624" y="27419"/>
                </a:lnTo>
                <a:lnTo>
                  <a:pt x="39624" y="6096"/>
                </a:lnTo>
                <a:close/>
              </a:path>
              <a:path w="39624" h="36563">
                <a:moveTo>
                  <a:pt x="33515" y="24371"/>
                </a:moveTo>
                <a:lnTo>
                  <a:pt x="31495" y="28435"/>
                </a:lnTo>
                <a:lnTo>
                  <a:pt x="33515" y="27419"/>
                </a:lnTo>
                <a:lnTo>
                  <a:pt x="33515" y="24371"/>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25" name="object 138">
            <a:extLst>
              <a:ext uri="{FF2B5EF4-FFF2-40B4-BE49-F238E27FC236}">
                <a16:creationId xmlns:a16="http://schemas.microsoft.com/office/drawing/2014/main" id="{5787BC0B-E9CB-44F4-9338-DF6E73A5E03E}"/>
              </a:ext>
            </a:extLst>
          </p:cNvPr>
          <p:cNvSpPr>
            <a:spLocks/>
          </p:cNvSpPr>
          <p:nvPr/>
        </p:nvSpPr>
        <p:spPr bwMode="auto">
          <a:xfrm>
            <a:off x="2881831" y="3992852"/>
            <a:ext cx="1008062" cy="1752600"/>
          </a:xfrm>
          <a:custGeom>
            <a:avLst/>
            <a:gdLst>
              <a:gd name="T0" fmla="*/ 0 w 1871459"/>
              <a:gd name="T1" fmla="*/ 2838752 h 1082027"/>
              <a:gd name="T2" fmla="*/ 542993 w 1871459"/>
              <a:gd name="T3" fmla="*/ 2838752 h 1082027"/>
              <a:gd name="T4" fmla="*/ 542993 w 1871459"/>
              <a:gd name="T5" fmla="*/ 0 h 1082027"/>
              <a:gd name="T6" fmla="*/ 0 w 1871459"/>
              <a:gd name="T7" fmla="*/ 0 h 1082027"/>
              <a:gd name="T8" fmla="*/ 0 w 1871459"/>
              <a:gd name="T9" fmla="*/ 2838752 h 10820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71459" h="1082027">
                <a:moveTo>
                  <a:pt x="0" y="1082027"/>
                </a:moveTo>
                <a:lnTo>
                  <a:pt x="1871459" y="1082027"/>
                </a:lnTo>
                <a:lnTo>
                  <a:pt x="1871459" y="0"/>
                </a:lnTo>
                <a:lnTo>
                  <a:pt x="0" y="0"/>
                </a:lnTo>
                <a:lnTo>
                  <a:pt x="0" y="1082027"/>
                </a:lnTo>
                <a:close/>
              </a:path>
            </a:pathLst>
          </a:custGeom>
          <a:solidFill>
            <a:srgbClr val="EEF1F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26" name="object 144">
            <a:extLst>
              <a:ext uri="{FF2B5EF4-FFF2-40B4-BE49-F238E27FC236}">
                <a16:creationId xmlns:a16="http://schemas.microsoft.com/office/drawing/2014/main" id="{17D422EE-D2C4-48CD-B731-DDA9BE0922BF}"/>
              </a:ext>
            </a:extLst>
          </p:cNvPr>
          <p:cNvSpPr>
            <a:spLocks/>
          </p:cNvSpPr>
          <p:nvPr/>
        </p:nvSpPr>
        <p:spPr bwMode="auto">
          <a:xfrm flipH="1">
            <a:off x="3246956" y="3840452"/>
            <a:ext cx="46037" cy="976313"/>
          </a:xfrm>
          <a:custGeom>
            <a:avLst/>
            <a:gdLst>
              <a:gd name="T0" fmla="*/ 62604 w 30467"/>
              <a:gd name="T1" fmla="*/ 0 h 969251"/>
              <a:gd name="T2" fmla="*/ 0 w 30467"/>
              <a:gd name="T3" fmla="*/ 0 h 969251"/>
              <a:gd name="T4" fmla="*/ 6957 w 30467"/>
              <a:gd name="T5" fmla="*/ 983426 h 969251"/>
              <a:gd name="T6" fmla="*/ 69564 w 30467"/>
              <a:gd name="T7" fmla="*/ 983426 h 969251"/>
              <a:gd name="T8" fmla="*/ 62604 w 30467"/>
              <a:gd name="T9" fmla="*/ 0 h 96925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467" h="969251">
                <a:moveTo>
                  <a:pt x="27419" y="0"/>
                </a:moveTo>
                <a:lnTo>
                  <a:pt x="0" y="0"/>
                </a:lnTo>
                <a:lnTo>
                  <a:pt x="3047" y="969251"/>
                </a:lnTo>
                <a:lnTo>
                  <a:pt x="30467" y="969251"/>
                </a:lnTo>
                <a:lnTo>
                  <a:pt x="27419" y="0"/>
                </a:lnTo>
                <a:close/>
              </a:path>
            </a:pathLst>
          </a:custGeom>
          <a:solidFill>
            <a:srgbClr val="5F973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27" name="object 146">
            <a:extLst>
              <a:ext uri="{FF2B5EF4-FFF2-40B4-BE49-F238E27FC236}">
                <a16:creationId xmlns:a16="http://schemas.microsoft.com/office/drawing/2014/main" id="{CFD7C8E9-C340-49DC-8206-6814DFB733F1}"/>
              </a:ext>
            </a:extLst>
          </p:cNvPr>
          <p:cNvSpPr>
            <a:spLocks noChangeArrowheads="1"/>
          </p:cNvSpPr>
          <p:nvPr/>
        </p:nvSpPr>
        <p:spPr bwMode="auto">
          <a:xfrm>
            <a:off x="3032643" y="4816765"/>
            <a:ext cx="428625" cy="249237"/>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128" name="object 147">
            <a:extLst>
              <a:ext uri="{FF2B5EF4-FFF2-40B4-BE49-F238E27FC236}">
                <a16:creationId xmlns:a16="http://schemas.microsoft.com/office/drawing/2014/main" id="{95E6241D-20D9-46D9-94D4-9F0E37AA9A74}"/>
              </a:ext>
            </a:extLst>
          </p:cNvPr>
          <p:cNvSpPr>
            <a:spLocks/>
          </p:cNvSpPr>
          <p:nvPr/>
        </p:nvSpPr>
        <p:spPr bwMode="auto">
          <a:xfrm>
            <a:off x="3181868" y="3475327"/>
            <a:ext cx="142875" cy="368300"/>
          </a:xfrm>
          <a:custGeom>
            <a:avLst/>
            <a:gdLst>
              <a:gd name="T0" fmla="*/ 0 w 143256"/>
              <a:gd name="T1" fmla="*/ 367794 h 368807"/>
              <a:gd name="T2" fmla="*/ 142495 w 143256"/>
              <a:gd name="T3" fmla="*/ 367794 h 368807"/>
              <a:gd name="T4" fmla="*/ 142495 w 143256"/>
              <a:gd name="T5" fmla="*/ 0 h 368807"/>
              <a:gd name="T6" fmla="*/ 0 w 143256"/>
              <a:gd name="T7" fmla="*/ 0 h 368807"/>
              <a:gd name="T8" fmla="*/ 0 w 143256"/>
              <a:gd name="T9" fmla="*/ 367794 h 3688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3256" h="368807">
                <a:moveTo>
                  <a:pt x="0" y="368807"/>
                </a:moveTo>
                <a:lnTo>
                  <a:pt x="143256" y="368807"/>
                </a:lnTo>
                <a:lnTo>
                  <a:pt x="143256" y="0"/>
                </a:lnTo>
                <a:lnTo>
                  <a:pt x="0" y="0"/>
                </a:lnTo>
                <a:lnTo>
                  <a:pt x="0" y="368807"/>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29" name="object 148">
            <a:extLst>
              <a:ext uri="{FF2B5EF4-FFF2-40B4-BE49-F238E27FC236}">
                <a16:creationId xmlns:a16="http://schemas.microsoft.com/office/drawing/2014/main" id="{9B5D9688-66D9-4FD6-A2BD-1C8D37E1D192}"/>
              </a:ext>
            </a:extLst>
          </p:cNvPr>
          <p:cNvSpPr>
            <a:spLocks/>
          </p:cNvSpPr>
          <p:nvPr/>
        </p:nvSpPr>
        <p:spPr bwMode="auto">
          <a:xfrm>
            <a:off x="3175518" y="3468977"/>
            <a:ext cx="152400" cy="381000"/>
          </a:xfrm>
          <a:custGeom>
            <a:avLst/>
            <a:gdLst>
              <a:gd name="T0" fmla="*/ 152400 w 152400"/>
              <a:gd name="T1" fmla="*/ 0 h 381000"/>
              <a:gd name="T2" fmla="*/ 0 w 152400"/>
              <a:gd name="T3" fmla="*/ 0 h 381000"/>
              <a:gd name="T4" fmla="*/ 0 w 152400"/>
              <a:gd name="T5" fmla="*/ 380999 h 381000"/>
              <a:gd name="T6" fmla="*/ 152400 w 152400"/>
              <a:gd name="T7" fmla="*/ 380999 h 381000"/>
              <a:gd name="T8" fmla="*/ 152400 w 152400"/>
              <a:gd name="T9" fmla="*/ 374903 h 381000"/>
              <a:gd name="T10" fmla="*/ 9131 w 152400"/>
              <a:gd name="T11" fmla="*/ 374903 h 381000"/>
              <a:gd name="T12" fmla="*/ 6083 w 152400"/>
              <a:gd name="T13" fmla="*/ 371855 h 381000"/>
              <a:gd name="T14" fmla="*/ 9131 w 152400"/>
              <a:gd name="T15" fmla="*/ 371855 h 381000"/>
              <a:gd name="T16" fmla="*/ 9131 w 152400"/>
              <a:gd name="T17" fmla="*/ 9143 h 381000"/>
              <a:gd name="T18" fmla="*/ 6083 w 152400"/>
              <a:gd name="T19" fmla="*/ 9143 h 381000"/>
              <a:gd name="T20" fmla="*/ 9131 w 152400"/>
              <a:gd name="T21" fmla="*/ 6095 h 381000"/>
              <a:gd name="T22" fmla="*/ 152400 w 152400"/>
              <a:gd name="T23" fmla="*/ 6095 h 381000"/>
              <a:gd name="T24" fmla="*/ 152400 w 152400"/>
              <a:gd name="T25" fmla="*/ 0 h 381000"/>
              <a:gd name="T26" fmla="*/ 9131 w 152400"/>
              <a:gd name="T27" fmla="*/ 371855 h 381000"/>
              <a:gd name="T28" fmla="*/ 6083 w 152400"/>
              <a:gd name="T29" fmla="*/ 371855 h 381000"/>
              <a:gd name="T30" fmla="*/ 9131 w 152400"/>
              <a:gd name="T31" fmla="*/ 374903 h 381000"/>
              <a:gd name="T32" fmla="*/ 9131 w 152400"/>
              <a:gd name="T33" fmla="*/ 371855 h 381000"/>
              <a:gd name="T34" fmla="*/ 143256 w 152400"/>
              <a:gd name="T35" fmla="*/ 371855 h 381000"/>
              <a:gd name="T36" fmla="*/ 9131 w 152400"/>
              <a:gd name="T37" fmla="*/ 371855 h 381000"/>
              <a:gd name="T38" fmla="*/ 9131 w 152400"/>
              <a:gd name="T39" fmla="*/ 374903 h 381000"/>
              <a:gd name="T40" fmla="*/ 143256 w 152400"/>
              <a:gd name="T41" fmla="*/ 374903 h 381000"/>
              <a:gd name="T42" fmla="*/ 143256 w 152400"/>
              <a:gd name="T43" fmla="*/ 371855 h 381000"/>
              <a:gd name="T44" fmla="*/ 143256 w 152400"/>
              <a:gd name="T45" fmla="*/ 6095 h 381000"/>
              <a:gd name="T46" fmla="*/ 143256 w 152400"/>
              <a:gd name="T47" fmla="*/ 374903 h 381000"/>
              <a:gd name="T48" fmla="*/ 149339 w 152400"/>
              <a:gd name="T49" fmla="*/ 371855 h 381000"/>
              <a:gd name="T50" fmla="*/ 152400 w 152400"/>
              <a:gd name="T51" fmla="*/ 371855 h 381000"/>
              <a:gd name="T52" fmla="*/ 152400 w 152400"/>
              <a:gd name="T53" fmla="*/ 9143 h 381000"/>
              <a:gd name="T54" fmla="*/ 149339 w 152400"/>
              <a:gd name="T55" fmla="*/ 9143 h 381000"/>
              <a:gd name="T56" fmla="*/ 143256 w 152400"/>
              <a:gd name="T57" fmla="*/ 6095 h 381000"/>
              <a:gd name="T58" fmla="*/ 152400 w 152400"/>
              <a:gd name="T59" fmla="*/ 371855 h 381000"/>
              <a:gd name="T60" fmla="*/ 149339 w 152400"/>
              <a:gd name="T61" fmla="*/ 371855 h 381000"/>
              <a:gd name="T62" fmla="*/ 143256 w 152400"/>
              <a:gd name="T63" fmla="*/ 374903 h 381000"/>
              <a:gd name="T64" fmla="*/ 152400 w 152400"/>
              <a:gd name="T65" fmla="*/ 374903 h 381000"/>
              <a:gd name="T66" fmla="*/ 152400 w 152400"/>
              <a:gd name="T67" fmla="*/ 371855 h 381000"/>
              <a:gd name="T68" fmla="*/ 9131 w 152400"/>
              <a:gd name="T69" fmla="*/ 6095 h 381000"/>
              <a:gd name="T70" fmla="*/ 6083 w 152400"/>
              <a:gd name="T71" fmla="*/ 9143 h 381000"/>
              <a:gd name="T72" fmla="*/ 9131 w 152400"/>
              <a:gd name="T73" fmla="*/ 9143 h 381000"/>
              <a:gd name="T74" fmla="*/ 9131 w 152400"/>
              <a:gd name="T75" fmla="*/ 6095 h 381000"/>
              <a:gd name="T76" fmla="*/ 143256 w 152400"/>
              <a:gd name="T77" fmla="*/ 6095 h 381000"/>
              <a:gd name="T78" fmla="*/ 9131 w 152400"/>
              <a:gd name="T79" fmla="*/ 6095 h 381000"/>
              <a:gd name="T80" fmla="*/ 9131 w 152400"/>
              <a:gd name="T81" fmla="*/ 9143 h 381000"/>
              <a:gd name="T82" fmla="*/ 143256 w 152400"/>
              <a:gd name="T83" fmla="*/ 9143 h 381000"/>
              <a:gd name="T84" fmla="*/ 143256 w 152400"/>
              <a:gd name="T85" fmla="*/ 6095 h 381000"/>
              <a:gd name="T86" fmla="*/ 152400 w 152400"/>
              <a:gd name="T87" fmla="*/ 6095 h 381000"/>
              <a:gd name="T88" fmla="*/ 143256 w 152400"/>
              <a:gd name="T89" fmla="*/ 6095 h 381000"/>
              <a:gd name="T90" fmla="*/ 149339 w 152400"/>
              <a:gd name="T91" fmla="*/ 9143 h 381000"/>
              <a:gd name="T92" fmla="*/ 152400 w 152400"/>
              <a:gd name="T93" fmla="*/ 9143 h 381000"/>
              <a:gd name="T94" fmla="*/ 152400 w 152400"/>
              <a:gd name="T95" fmla="*/ 6095 h 3810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52400" h="381000">
                <a:moveTo>
                  <a:pt x="152400" y="0"/>
                </a:moveTo>
                <a:lnTo>
                  <a:pt x="0" y="0"/>
                </a:lnTo>
                <a:lnTo>
                  <a:pt x="0" y="380999"/>
                </a:lnTo>
                <a:lnTo>
                  <a:pt x="152400" y="380999"/>
                </a:lnTo>
                <a:lnTo>
                  <a:pt x="152400" y="374903"/>
                </a:lnTo>
                <a:lnTo>
                  <a:pt x="9131" y="374903"/>
                </a:lnTo>
                <a:lnTo>
                  <a:pt x="6083" y="371855"/>
                </a:lnTo>
                <a:lnTo>
                  <a:pt x="9131" y="371855"/>
                </a:lnTo>
                <a:lnTo>
                  <a:pt x="9131" y="9143"/>
                </a:lnTo>
                <a:lnTo>
                  <a:pt x="6083" y="9143"/>
                </a:lnTo>
                <a:lnTo>
                  <a:pt x="9131" y="6095"/>
                </a:lnTo>
                <a:lnTo>
                  <a:pt x="152400" y="6095"/>
                </a:lnTo>
                <a:lnTo>
                  <a:pt x="152400" y="0"/>
                </a:lnTo>
                <a:close/>
              </a:path>
              <a:path w="152400" h="381000">
                <a:moveTo>
                  <a:pt x="9131" y="371855"/>
                </a:moveTo>
                <a:lnTo>
                  <a:pt x="6083" y="371855"/>
                </a:lnTo>
                <a:lnTo>
                  <a:pt x="9131" y="374903"/>
                </a:lnTo>
                <a:lnTo>
                  <a:pt x="9131" y="371855"/>
                </a:lnTo>
                <a:close/>
              </a:path>
              <a:path w="152400" h="381000">
                <a:moveTo>
                  <a:pt x="143256" y="371855"/>
                </a:moveTo>
                <a:lnTo>
                  <a:pt x="9131" y="371855"/>
                </a:lnTo>
                <a:lnTo>
                  <a:pt x="9131" y="374903"/>
                </a:lnTo>
                <a:lnTo>
                  <a:pt x="143256" y="374903"/>
                </a:lnTo>
                <a:lnTo>
                  <a:pt x="143256" y="371855"/>
                </a:lnTo>
                <a:close/>
              </a:path>
              <a:path w="152400" h="381000">
                <a:moveTo>
                  <a:pt x="143256" y="6095"/>
                </a:moveTo>
                <a:lnTo>
                  <a:pt x="143256" y="374903"/>
                </a:lnTo>
                <a:lnTo>
                  <a:pt x="149339" y="371855"/>
                </a:lnTo>
                <a:lnTo>
                  <a:pt x="152400" y="371855"/>
                </a:lnTo>
                <a:lnTo>
                  <a:pt x="152400" y="9143"/>
                </a:lnTo>
                <a:lnTo>
                  <a:pt x="149339" y="9143"/>
                </a:lnTo>
                <a:lnTo>
                  <a:pt x="143256" y="6095"/>
                </a:lnTo>
                <a:close/>
              </a:path>
              <a:path w="152400" h="381000">
                <a:moveTo>
                  <a:pt x="152400" y="371855"/>
                </a:moveTo>
                <a:lnTo>
                  <a:pt x="149339" y="371855"/>
                </a:lnTo>
                <a:lnTo>
                  <a:pt x="143256" y="374903"/>
                </a:lnTo>
                <a:lnTo>
                  <a:pt x="152400" y="374903"/>
                </a:lnTo>
                <a:lnTo>
                  <a:pt x="152400" y="371855"/>
                </a:lnTo>
                <a:close/>
              </a:path>
              <a:path w="152400" h="381000">
                <a:moveTo>
                  <a:pt x="9131" y="6095"/>
                </a:moveTo>
                <a:lnTo>
                  <a:pt x="6083" y="9143"/>
                </a:lnTo>
                <a:lnTo>
                  <a:pt x="9131" y="9143"/>
                </a:lnTo>
                <a:lnTo>
                  <a:pt x="9131" y="6095"/>
                </a:lnTo>
                <a:close/>
              </a:path>
              <a:path w="152400" h="381000">
                <a:moveTo>
                  <a:pt x="143256" y="6095"/>
                </a:moveTo>
                <a:lnTo>
                  <a:pt x="9131" y="6095"/>
                </a:lnTo>
                <a:lnTo>
                  <a:pt x="9131" y="9143"/>
                </a:lnTo>
                <a:lnTo>
                  <a:pt x="143256" y="9143"/>
                </a:lnTo>
                <a:lnTo>
                  <a:pt x="143256" y="6095"/>
                </a:lnTo>
                <a:close/>
              </a:path>
              <a:path w="152400" h="381000">
                <a:moveTo>
                  <a:pt x="152400" y="6095"/>
                </a:moveTo>
                <a:lnTo>
                  <a:pt x="143256" y="6095"/>
                </a:lnTo>
                <a:lnTo>
                  <a:pt x="149339" y="9143"/>
                </a:lnTo>
                <a:lnTo>
                  <a:pt x="152400" y="9143"/>
                </a:lnTo>
                <a:lnTo>
                  <a:pt x="152400"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30" name="object 149">
            <a:extLst>
              <a:ext uri="{FF2B5EF4-FFF2-40B4-BE49-F238E27FC236}">
                <a16:creationId xmlns:a16="http://schemas.microsoft.com/office/drawing/2014/main" id="{C317167A-7100-4544-9DB7-272E47D7C86F}"/>
              </a:ext>
            </a:extLst>
          </p:cNvPr>
          <p:cNvSpPr>
            <a:spLocks/>
          </p:cNvSpPr>
          <p:nvPr/>
        </p:nvSpPr>
        <p:spPr bwMode="auto">
          <a:xfrm>
            <a:off x="3308868" y="3475327"/>
            <a:ext cx="0" cy="368300"/>
          </a:xfrm>
          <a:custGeom>
            <a:avLst/>
            <a:gdLst>
              <a:gd name="T0" fmla="*/ 0 h 368807"/>
              <a:gd name="T1" fmla="*/ 367794 h 368807"/>
              <a:gd name="T2" fmla="*/ 0 60000 65536"/>
              <a:gd name="T3" fmla="*/ 0 60000 65536"/>
            </a:gdLst>
            <a:ahLst/>
            <a:cxnLst>
              <a:cxn ang="T2">
                <a:pos x="0" y="T0"/>
              </a:cxn>
              <a:cxn ang="T3">
                <a:pos x="0" y="T1"/>
              </a:cxn>
            </a:cxnLst>
            <a:rect l="0" t="0" r="r" b="b"/>
            <a:pathLst>
              <a:path h="368807">
                <a:moveTo>
                  <a:pt x="0" y="0"/>
                </a:moveTo>
                <a:lnTo>
                  <a:pt x="0" y="368807"/>
                </a:lnTo>
              </a:path>
            </a:pathLst>
          </a:custGeom>
          <a:noFill/>
          <a:ln w="31750">
            <a:solidFill>
              <a:srgbClr val="6783A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131" name="object 150">
            <a:extLst>
              <a:ext uri="{FF2B5EF4-FFF2-40B4-BE49-F238E27FC236}">
                <a16:creationId xmlns:a16="http://schemas.microsoft.com/office/drawing/2014/main" id="{AF2F1464-DC0E-4F95-BC39-C2279D3766BB}"/>
              </a:ext>
            </a:extLst>
          </p:cNvPr>
          <p:cNvSpPr>
            <a:spLocks/>
          </p:cNvSpPr>
          <p:nvPr/>
        </p:nvSpPr>
        <p:spPr bwMode="auto">
          <a:xfrm>
            <a:off x="3291406" y="3468977"/>
            <a:ext cx="36512" cy="381000"/>
          </a:xfrm>
          <a:custGeom>
            <a:avLst/>
            <a:gdLst>
              <a:gd name="T0" fmla="*/ 36461 w 36563"/>
              <a:gd name="T1" fmla="*/ 0 h 381000"/>
              <a:gd name="T2" fmla="*/ 0 w 36563"/>
              <a:gd name="T3" fmla="*/ 0 h 381000"/>
              <a:gd name="T4" fmla="*/ 0 w 36563"/>
              <a:gd name="T5" fmla="*/ 380999 h 381000"/>
              <a:gd name="T6" fmla="*/ 36461 w 36563"/>
              <a:gd name="T7" fmla="*/ 380999 h 381000"/>
              <a:gd name="T8" fmla="*/ 36461 w 36563"/>
              <a:gd name="T9" fmla="*/ 374903 h 381000"/>
              <a:gd name="T10" fmla="*/ 9105 w 36563"/>
              <a:gd name="T11" fmla="*/ 374903 h 381000"/>
              <a:gd name="T12" fmla="*/ 3027 w 36563"/>
              <a:gd name="T13" fmla="*/ 371855 h 381000"/>
              <a:gd name="T14" fmla="*/ 9105 w 36563"/>
              <a:gd name="T15" fmla="*/ 371855 h 381000"/>
              <a:gd name="T16" fmla="*/ 9105 w 36563"/>
              <a:gd name="T17" fmla="*/ 9143 h 381000"/>
              <a:gd name="T18" fmla="*/ 3027 w 36563"/>
              <a:gd name="T19" fmla="*/ 9143 h 381000"/>
              <a:gd name="T20" fmla="*/ 9105 w 36563"/>
              <a:gd name="T21" fmla="*/ 6095 h 381000"/>
              <a:gd name="T22" fmla="*/ 36461 w 36563"/>
              <a:gd name="T23" fmla="*/ 6095 h 381000"/>
              <a:gd name="T24" fmla="*/ 36461 w 36563"/>
              <a:gd name="T25" fmla="*/ 0 h 381000"/>
              <a:gd name="T26" fmla="*/ 9105 w 36563"/>
              <a:gd name="T27" fmla="*/ 371855 h 381000"/>
              <a:gd name="T28" fmla="*/ 3027 w 36563"/>
              <a:gd name="T29" fmla="*/ 371855 h 381000"/>
              <a:gd name="T30" fmla="*/ 9105 w 36563"/>
              <a:gd name="T31" fmla="*/ 374903 h 381000"/>
              <a:gd name="T32" fmla="*/ 9105 w 36563"/>
              <a:gd name="T33" fmla="*/ 371855 h 381000"/>
              <a:gd name="T34" fmla="*/ 27343 w 36563"/>
              <a:gd name="T35" fmla="*/ 371855 h 381000"/>
              <a:gd name="T36" fmla="*/ 9105 w 36563"/>
              <a:gd name="T37" fmla="*/ 371855 h 381000"/>
              <a:gd name="T38" fmla="*/ 9105 w 36563"/>
              <a:gd name="T39" fmla="*/ 374903 h 381000"/>
              <a:gd name="T40" fmla="*/ 27343 w 36563"/>
              <a:gd name="T41" fmla="*/ 374903 h 381000"/>
              <a:gd name="T42" fmla="*/ 27343 w 36563"/>
              <a:gd name="T43" fmla="*/ 371855 h 381000"/>
              <a:gd name="T44" fmla="*/ 27343 w 36563"/>
              <a:gd name="T45" fmla="*/ 6095 h 381000"/>
              <a:gd name="T46" fmla="*/ 27343 w 36563"/>
              <a:gd name="T47" fmla="*/ 374903 h 381000"/>
              <a:gd name="T48" fmla="*/ 33421 w 36563"/>
              <a:gd name="T49" fmla="*/ 371855 h 381000"/>
              <a:gd name="T50" fmla="*/ 36461 w 36563"/>
              <a:gd name="T51" fmla="*/ 371855 h 381000"/>
              <a:gd name="T52" fmla="*/ 36461 w 36563"/>
              <a:gd name="T53" fmla="*/ 9143 h 381000"/>
              <a:gd name="T54" fmla="*/ 33421 w 36563"/>
              <a:gd name="T55" fmla="*/ 9143 h 381000"/>
              <a:gd name="T56" fmla="*/ 27343 w 36563"/>
              <a:gd name="T57" fmla="*/ 6095 h 381000"/>
              <a:gd name="T58" fmla="*/ 36461 w 36563"/>
              <a:gd name="T59" fmla="*/ 371855 h 381000"/>
              <a:gd name="T60" fmla="*/ 33421 w 36563"/>
              <a:gd name="T61" fmla="*/ 371855 h 381000"/>
              <a:gd name="T62" fmla="*/ 27343 w 36563"/>
              <a:gd name="T63" fmla="*/ 374903 h 381000"/>
              <a:gd name="T64" fmla="*/ 36461 w 36563"/>
              <a:gd name="T65" fmla="*/ 374903 h 381000"/>
              <a:gd name="T66" fmla="*/ 36461 w 36563"/>
              <a:gd name="T67" fmla="*/ 371855 h 381000"/>
              <a:gd name="T68" fmla="*/ 9105 w 36563"/>
              <a:gd name="T69" fmla="*/ 6095 h 381000"/>
              <a:gd name="T70" fmla="*/ 3027 w 36563"/>
              <a:gd name="T71" fmla="*/ 9143 h 381000"/>
              <a:gd name="T72" fmla="*/ 9105 w 36563"/>
              <a:gd name="T73" fmla="*/ 9143 h 381000"/>
              <a:gd name="T74" fmla="*/ 9105 w 36563"/>
              <a:gd name="T75" fmla="*/ 6095 h 381000"/>
              <a:gd name="T76" fmla="*/ 27343 w 36563"/>
              <a:gd name="T77" fmla="*/ 6095 h 381000"/>
              <a:gd name="T78" fmla="*/ 9105 w 36563"/>
              <a:gd name="T79" fmla="*/ 6095 h 381000"/>
              <a:gd name="T80" fmla="*/ 9105 w 36563"/>
              <a:gd name="T81" fmla="*/ 9143 h 381000"/>
              <a:gd name="T82" fmla="*/ 27343 w 36563"/>
              <a:gd name="T83" fmla="*/ 9143 h 381000"/>
              <a:gd name="T84" fmla="*/ 27343 w 36563"/>
              <a:gd name="T85" fmla="*/ 6095 h 381000"/>
              <a:gd name="T86" fmla="*/ 36461 w 36563"/>
              <a:gd name="T87" fmla="*/ 6095 h 381000"/>
              <a:gd name="T88" fmla="*/ 27343 w 36563"/>
              <a:gd name="T89" fmla="*/ 6095 h 381000"/>
              <a:gd name="T90" fmla="*/ 33421 w 36563"/>
              <a:gd name="T91" fmla="*/ 9143 h 381000"/>
              <a:gd name="T92" fmla="*/ 36461 w 36563"/>
              <a:gd name="T93" fmla="*/ 9143 h 381000"/>
              <a:gd name="T94" fmla="*/ 36461 w 36563"/>
              <a:gd name="T95" fmla="*/ 6095 h 3810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6563" h="381000">
                <a:moveTo>
                  <a:pt x="36563" y="0"/>
                </a:moveTo>
                <a:lnTo>
                  <a:pt x="0" y="0"/>
                </a:lnTo>
                <a:lnTo>
                  <a:pt x="0" y="380999"/>
                </a:lnTo>
                <a:lnTo>
                  <a:pt x="36563" y="380999"/>
                </a:lnTo>
                <a:lnTo>
                  <a:pt x="36563" y="374903"/>
                </a:lnTo>
                <a:lnTo>
                  <a:pt x="9131" y="374903"/>
                </a:lnTo>
                <a:lnTo>
                  <a:pt x="3035" y="371855"/>
                </a:lnTo>
                <a:lnTo>
                  <a:pt x="9131" y="371855"/>
                </a:lnTo>
                <a:lnTo>
                  <a:pt x="9131" y="9143"/>
                </a:lnTo>
                <a:lnTo>
                  <a:pt x="3035" y="9143"/>
                </a:lnTo>
                <a:lnTo>
                  <a:pt x="9131" y="6095"/>
                </a:lnTo>
                <a:lnTo>
                  <a:pt x="36563" y="6095"/>
                </a:lnTo>
                <a:lnTo>
                  <a:pt x="36563" y="0"/>
                </a:lnTo>
                <a:close/>
              </a:path>
              <a:path w="36563" h="381000">
                <a:moveTo>
                  <a:pt x="9131" y="371855"/>
                </a:moveTo>
                <a:lnTo>
                  <a:pt x="3035" y="371855"/>
                </a:lnTo>
                <a:lnTo>
                  <a:pt x="9131" y="374903"/>
                </a:lnTo>
                <a:lnTo>
                  <a:pt x="9131" y="371855"/>
                </a:lnTo>
                <a:close/>
              </a:path>
              <a:path w="36563" h="381000">
                <a:moveTo>
                  <a:pt x="27419" y="371855"/>
                </a:moveTo>
                <a:lnTo>
                  <a:pt x="9131" y="371855"/>
                </a:lnTo>
                <a:lnTo>
                  <a:pt x="9131" y="374903"/>
                </a:lnTo>
                <a:lnTo>
                  <a:pt x="27419" y="374903"/>
                </a:lnTo>
                <a:lnTo>
                  <a:pt x="27419" y="371855"/>
                </a:lnTo>
                <a:close/>
              </a:path>
              <a:path w="36563" h="381000">
                <a:moveTo>
                  <a:pt x="27419" y="6095"/>
                </a:moveTo>
                <a:lnTo>
                  <a:pt x="27419" y="374903"/>
                </a:lnTo>
                <a:lnTo>
                  <a:pt x="33515" y="371855"/>
                </a:lnTo>
                <a:lnTo>
                  <a:pt x="36563" y="371855"/>
                </a:lnTo>
                <a:lnTo>
                  <a:pt x="36563" y="9143"/>
                </a:lnTo>
                <a:lnTo>
                  <a:pt x="33515" y="9143"/>
                </a:lnTo>
                <a:lnTo>
                  <a:pt x="27419" y="6095"/>
                </a:lnTo>
                <a:close/>
              </a:path>
              <a:path w="36563" h="381000">
                <a:moveTo>
                  <a:pt x="36563" y="371855"/>
                </a:moveTo>
                <a:lnTo>
                  <a:pt x="33515" y="371855"/>
                </a:lnTo>
                <a:lnTo>
                  <a:pt x="27419" y="374903"/>
                </a:lnTo>
                <a:lnTo>
                  <a:pt x="36563" y="374903"/>
                </a:lnTo>
                <a:lnTo>
                  <a:pt x="36563" y="371855"/>
                </a:lnTo>
                <a:close/>
              </a:path>
              <a:path w="36563" h="381000">
                <a:moveTo>
                  <a:pt x="9131" y="6095"/>
                </a:moveTo>
                <a:lnTo>
                  <a:pt x="3035" y="9143"/>
                </a:lnTo>
                <a:lnTo>
                  <a:pt x="9131" y="9143"/>
                </a:lnTo>
                <a:lnTo>
                  <a:pt x="9131" y="6095"/>
                </a:lnTo>
                <a:close/>
              </a:path>
              <a:path w="36563" h="381000">
                <a:moveTo>
                  <a:pt x="27419" y="6095"/>
                </a:moveTo>
                <a:lnTo>
                  <a:pt x="9131" y="6095"/>
                </a:lnTo>
                <a:lnTo>
                  <a:pt x="9131" y="9143"/>
                </a:lnTo>
                <a:lnTo>
                  <a:pt x="27419" y="9143"/>
                </a:lnTo>
                <a:lnTo>
                  <a:pt x="27419" y="6095"/>
                </a:lnTo>
                <a:close/>
              </a:path>
              <a:path w="36563" h="381000">
                <a:moveTo>
                  <a:pt x="36563" y="6095"/>
                </a:moveTo>
                <a:lnTo>
                  <a:pt x="27419" y="6095"/>
                </a:lnTo>
                <a:lnTo>
                  <a:pt x="33515" y="9143"/>
                </a:lnTo>
                <a:lnTo>
                  <a:pt x="36563" y="9143"/>
                </a:lnTo>
                <a:lnTo>
                  <a:pt x="36563"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32" name="object 151">
            <a:extLst>
              <a:ext uri="{FF2B5EF4-FFF2-40B4-BE49-F238E27FC236}">
                <a16:creationId xmlns:a16="http://schemas.microsoft.com/office/drawing/2014/main" id="{6A88B6ED-B2F5-48F1-B820-B3473578AFAA}"/>
              </a:ext>
            </a:extLst>
          </p:cNvPr>
          <p:cNvSpPr>
            <a:spLocks/>
          </p:cNvSpPr>
          <p:nvPr/>
        </p:nvSpPr>
        <p:spPr bwMode="auto">
          <a:xfrm>
            <a:off x="3185043" y="3484852"/>
            <a:ext cx="44450" cy="12700"/>
          </a:xfrm>
          <a:custGeom>
            <a:avLst/>
            <a:gdLst>
              <a:gd name="T0" fmla="*/ 0 w 45707"/>
              <a:gd name="T1" fmla="*/ 6615 h 12192"/>
              <a:gd name="T2" fmla="*/ 43228 w 45707"/>
              <a:gd name="T3" fmla="*/ 6615 h 12192"/>
              <a:gd name="T4" fmla="*/ 0 60000 65536"/>
              <a:gd name="T5" fmla="*/ 0 60000 65536"/>
            </a:gdLst>
            <a:ahLst/>
            <a:cxnLst>
              <a:cxn ang="T4">
                <a:pos x="T0" y="T1"/>
              </a:cxn>
              <a:cxn ang="T5">
                <a:pos x="T2" y="T3"/>
              </a:cxn>
            </a:cxnLst>
            <a:rect l="0" t="0" r="r" b="b"/>
            <a:pathLst>
              <a:path w="45707" h="12192">
                <a:moveTo>
                  <a:pt x="0" y="6096"/>
                </a:moveTo>
                <a:lnTo>
                  <a:pt x="45707" y="6096"/>
                </a:lnTo>
              </a:path>
            </a:pathLst>
          </a:custGeom>
          <a:noFill/>
          <a:ln w="13462">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133" name="object 152">
            <a:extLst>
              <a:ext uri="{FF2B5EF4-FFF2-40B4-BE49-F238E27FC236}">
                <a16:creationId xmlns:a16="http://schemas.microsoft.com/office/drawing/2014/main" id="{413A622A-BE17-45D4-AEA5-8AF31CB948AF}"/>
              </a:ext>
            </a:extLst>
          </p:cNvPr>
          <p:cNvSpPr>
            <a:spLocks/>
          </p:cNvSpPr>
          <p:nvPr/>
        </p:nvSpPr>
        <p:spPr bwMode="auto">
          <a:xfrm>
            <a:off x="3219968" y="3756315"/>
            <a:ext cx="0" cy="60325"/>
          </a:xfrm>
          <a:custGeom>
            <a:avLst/>
            <a:gdLst>
              <a:gd name="T0" fmla="*/ 0 h 60960"/>
              <a:gd name="T1" fmla="*/ 59697 h 60960"/>
              <a:gd name="T2" fmla="*/ 0 60000 65536"/>
              <a:gd name="T3" fmla="*/ 0 60000 65536"/>
            </a:gdLst>
            <a:ahLst/>
            <a:cxnLst>
              <a:cxn ang="T2">
                <a:pos x="0" y="T0"/>
              </a:cxn>
              <a:cxn ang="T3">
                <a:pos x="0" y="T1"/>
              </a:cxn>
            </a:cxnLst>
            <a:rect l="0" t="0" r="r" b="b"/>
            <a:pathLst>
              <a:path h="60960">
                <a:moveTo>
                  <a:pt x="0" y="0"/>
                </a:moveTo>
                <a:lnTo>
                  <a:pt x="0" y="60960"/>
                </a:lnTo>
              </a:path>
            </a:pathLst>
          </a:custGeom>
          <a:noFill/>
          <a:ln w="22606">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134" name="object 153">
            <a:extLst>
              <a:ext uri="{FF2B5EF4-FFF2-40B4-BE49-F238E27FC236}">
                <a16:creationId xmlns:a16="http://schemas.microsoft.com/office/drawing/2014/main" id="{C0542234-3EF9-46C1-8A88-4B0A1CA71A15}"/>
              </a:ext>
            </a:extLst>
          </p:cNvPr>
          <p:cNvSpPr>
            <a:spLocks/>
          </p:cNvSpPr>
          <p:nvPr/>
        </p:nvSpPr>
        <p:spPr bwMode="auto">
          <a:xfrm>
            <a:off x="3202506" y="3764252"/>
            <a:ext cx="9525" cy="12700"/>
          </a:xfrm>
          <a:custGeom>
            <a:avLst/>
            <a:gdLst>
              <a:gd name="T0" fmla="*/ 0 w 9131"/>
              <a:gd name="T1" fmla="*/ 6621 h 12179"/>
              <a:gd name="T2" fmla="*/ 9936 w 9131"/>
              <a:gd name="T3" fmla="*/ 6621 h 12179"/>
              <a:gd name="T4" fmla="*/ 0 60000 65536"/>
              <a:gd name="T5" fmla="*/ 0 60000 65536"/>
            </a:gdLst>
            <a:ahLst/>
            <a:cxnLst>
              <a:cxn ang="T4">
                <a:pos x="T0" y="T1"/>
              </a:cxn>
              <a:cxn ang="T5">
                <a:pos x="T2" y="T3"/>
              </a:cxn>
            </a:cxnLst>
            <a:rect l="0" t="0" r="r" b="b"/>
            <a:pathLst>
              <a:path w="9131" h="12179">
                <a:moveTo>
                  <a:pt x="0" y="6089"/>
                </a:moveTo>
                <a:lnTo>
                  <a:pt x="9131" y="6089"/>
                </a:lnTo>
              </a:path>
            </a:pathLst>
          </a:custGeom>
          <a:noFill/>
          <a:ln w="13449">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135" name="object 154">
            <a:extLst>
              <a:ext uri="{FF2B5EF4-FFF2-40B4-BE49-F238E27FC236}">
                <a16:creationId xmlns:a16="http://schemas.microsoft.com/office/drawing/2014/main" id="{F3E1B08E-EDD8-4C6E-86DC-E9FE67B12151}"/>
              </a:ext>
            </a:extLst>
          </p:cNvPr>
          <p:cNvSpPr>
            <a:spLocks/>
          </p:cNvSpPr>
          <p:nvPr/>
        </p:nvSpPr>
        <p:spPr bwMode="auto">
          <a:xfrm>
            <a:off x="3202506" y="3796002"/>
            <a:ext cx="9525" cy="11113"/>
          </a:xfrm>
          <a:custGeom>
            <a:avLst/>
            <a:gdLst>
              <a:gd name="T0" fmla="*/ 0 w 9131"/>
              <a:gd name="T1" fmla="*/ 5070 h 12179"/>
              <a:gd name="T2" fmla="*/ 9936 w 9131"/>
              <a:gd name="T3" fmla="*/ 5070 h 12179"/>
              <a:gd name="T4" fmla="*/ 0 60000 65536"/>
              <a:gd name="T5" fmla="*/ 0 60000 65536"/>
            </a:gdLst>
            <a:ahLst/>
            <a:cxnLst>
              <a:cxn ang="T4">
                <a:pos x="T0" y="T1"/>
              </a:cxn>
              <a:cxn ang="T5">
                <a:pos x="T2" y="T3"/>
              </a:cxn>
            </a:cxnLst>
            <a:rect l="0" t="0" r="r" b="b"/>
            <a:pathLst>
              <a:path w="9131" h="12179">
                <a:moveTo>
                  <a:pt x="0" y="6089"/>
                </a:moveTo>
                <a:lnTo>
                  <a:pt x="9131" y="6089"/>
                </a:lnTo>
              </a:path>
            </a:pathLst>
          </a:custGeom>
          <a:noFill/>
          <a:ln w="13449">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136" name="object 155">
            <a:extLst>
              <a:ext uri="{FF2B5EF4-FFF2-40B4-BE49-F238E27FC236}">
                <a16:creationId xmlns:a16="http://schemas.microsoft.com/office/drawing/2014/main" id="{C0A25B84-5B49-4021-BBC4-7E1828D7727E}"/>
              </a:ext>
            </a:extLst>
          </p:cNvPr>
          <p:cNvSpPr>
            <a:spLocks/>
          </p:cNvSpPr>
          <p:nvPr/>
        </p:nvSpPr>
        <p:spPr bwMode="auto">
          <a:xfrm>
            <a:off x="3262831" y="3783302"/>
            <a:ext cx="22225" cy="33338"/>
          </a:xfrm>
          <a:custGeom>
            <a:avLst/>
            <a:gdLst>
              <a:gd name="T0" fmla="*/ 0 w 21336"/>
              <a:gd name="T1" fmla="*/ 16581 h 33515"/>
              <a:gd name="T2" fmla="*/ 23151 w 21336"/>
              <a:gd name="T3" fmla="*/ 16581 h 33515"/>
              <a:gd name="T4" fmla="*/ 0 60000 65536"/>
              <a:gd name="T5" fmla="*/ 0 60000 65536"/>
            </a:gdLst>
            <a:ahLst/>
            <a:cxnLst>
              <a:cxn ang="T4">
                <a:pos x="T0" y="T1"/>
              </a:cxn>
              <a:cxn ang="T5">
                <a:pos x="T2" y="T3"/>
              </a:cxn>
            </a:cxnLst>
            <a:rect l="0" t="0" r="r" b="b"/>
            <a:pathLst>
              <a:path w="21336" h="33515">
                <a:moveTo>
                  <a:pt x="0" y="16757"/>
                </a:moveTo>
                <a:lnTo>
                  <a:pt x="21336" y="16757"/>
                </a:lnTo>
              </a:path>
            </a:pathLst>
          </a:custGeom>
          <a:noFill/>
          <a:ln w="34785">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137" name="object 156">
            <a:extLst>
              <a:ext uri="{FF2B5EF4-FFF2-40B4-BE49-F238E27FC236}">
                <a16:creationId xmlns:a16="http://schemas.microsoft.com/office/drawing/2014/main" id="{205704AB-E8BB-4270-AC55-0370A5131F93}"/>
              </a:ext>
            </a:extLst>
          </p:cNvPr>
          <p:cNvSpPr>
            <a:spLocks/>
          </p:cNvSpPr>
          <p:nvPr/>
        </p:nvSpPr>
        <p:spPr bwMode="auto">
          <a:xfrm>
            <a:off x="3258068" y="3796002"/>
            <a:ext cx="7938" cy="11113"/>
          </a:xfrm>
          <a:custGeom>
            <a:avLst/>
            <a:gdLst>
              <a:gd name="T0" fmla="*/ 0 w 9131"/>
              <a:gd name="T1" fmla="*/ 5070 h 12179"/>
              <a:gd name="T2" fmla="*/ 6901 w 9131"/>
              <a:gd name="T3" fmla="*/ 5070 h 12179"/>
              <a:gd name="T4" fmla="*/ 0 60000 65536"/>
              <a:gd name="T5" fmla="*/ 0 60000 65536"/>
            </a:gdLst>
            <a:ahLst/>
            <a:cxnLst>
              <a:cxn ang="T4">
                <a:pos x="T0" y="T1"/>
              </a:cxn>
              <a:cxn ang="T5">
                <a:pos x="T2" y="T3"/>
              </a:cxn>
            </a:cxnLst>
            <a:rect l="0" t="0" r="r" b="b"/>
            <a:pathLst>
              <a:path w="9131" h="12179">
                <a:moveTo>
                  <a:pt x="0" y="6089"/>
                </a:moveTo>
                <a:lnTo>
                  <a:pt x="9131" y="6089"/>
                </a:lnTo>
              </a:path>
            </a:pathLst>
          </a:custGeom>
          <a:noFill/>
          <a:ln w="13449">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138" name="object 157">
            <a:extLst>
              <a:ext uri="{FF2B5EF4-FFF2-40B4-BE49-F238E27FC236}">
                <a16:creationId xmlns:a16="http://schemas.microsoft.com/office/drawing/2014/main" id="{FE612688-8D10-430C-844F-3807E9288D40}"/>
              </a:ext>
            </a:extLst>
          </p:cNvPr>
          <p:cNvSpPr>
            <a:spLocks/>
          </p:cNvSpPr>
          <p:nvPr/>
        </p:nvSpPr>
        <p:spPr bwMode="auto">
          <a:xfrm>
            <a:off x="3186631" y="3508665"/>
            <a:ext cx="46037" cy="52387"/>
          </a:xfrm>
          <a:custGeom>
            <a:avLst/>
            <a:gdLst>
              <a:gd name="T0" fmla="*/ 43268 w 45719"/>
              <a:gd name="T1" fmla="*/ 0 h 51803"/>
              <a:gd name="T2" fmla="*/ 6181 w 45719"/>
              <a:gd name="T3" fmla="*/ 0 h 51803"/>
              <a:gd name="T4" fmla="*/ 0 w 45719"/>
              <a:gd name="T5" fmla="*/ 3116 h 51803"/>
              <a:gd name="T6" fmla="*/ 0 w 45719"/>
              <a:gd name="T7" fmla="*/ 49873 h 51803"/>
              <a:gd name="T8" fmla="*/ 6181 w 45719"/>
              <a:gd name="T9" fmla="*/ 52978 h 51803"/>
              <a:gd name="T10" fmla="*/ 43268 w 45719"/>
              <a:gd name="T11" fmla="*/ 52978 h 51803"/>
              <a:gd name="T12" fmla="*/ 46358 w 45719"/>
              <a:gd name="T13" fmla="*/ 49873 h 51803"/>
              <a:gd name="T14" fmla="*/ 46358 w 45719"/>
              <a:gd name="T15" fmla="*/ 3116 h 51803"/>
              <a:gd name="T16" fmla="*/ 43268 w 45719"/>
              <a:gd name="T17" fmla="*/ 0 h 518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19" h="51803">
                <a:moveTo>
                  <a:pt x="42672" y="0"/>
                </a:moveTo>
                <a:lnTo>
                  <a:pt x="6096" y="0"/>
                </a:lnTo>
                <a:lnTo>
                  <a:pt x="0" y="3047"/>
                </a:lnTo>
                <a:lnTo>
                  <a:pt x="0" y="48767"/>
                </a:lnTo>
                <a:lnTo>
                  <a:pt x="6096" y="51803"/>
                </a:lnTo>
                <a:lnTo>
                  <a:pt x="42672" y="51803"/>
                </a:lnTo>
                <a:lnTo>
                  <a:pt x="45720" y="48767"/>
                </a:lnTo>
                <a:lnTo>
                  <a:pt x="45720" y="3047"/>
                </a:lnTo>
                <a:lnTo>
                  <a:pt x="42672"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39" name="object 158">
            <a:extLst>
              <a:ext uri="{FF2B5EF4-FFF2-40B4-BE49-F238E27FC236}">
                <a16:creationId xmlns:a16="http://schemas.microsoft.com/office/drawing/2014/main" id="{278264A1-8F93-4B5D-8ED3-65B3A7F0BA53}"/>
              </a:ext>
            </a:extLst>
          </p:cNvPr>
          <p:cNvSpPr>
            <a:spLocks/>
          </p:cNvSpPr>
          <p:nvPr/>
        </p:nvSpPr>
        <p:spPr bwMode="auto">
          <a:xfrm>
            <a:off x="3192981" y="3515015"/>
            <a:ext cx="33337" cy="39687"/>
          </a:xfrm>
          <a:custGeom>
            <a:avLst/>
            <a:gdLst>
              <a:gd name="T0" fmla="*/ 30157 w 33515"/>
              <a:gd name="T1" fmla="*/ 0 h 39611"/>
              <a:gd name="T2" fmla="*/ 3003 w 33515"/>
              <a:gd name="T3" fmla="*/ 0 h 39611"/>
              <a:gd name="T4" fmla="*/ 0 w 33515"/>
              <a:gd name="T5" fmla="*/ 3059 h 39611"/>
              <a:gd name="T6" fmla="*/ 0 w 33515"/>
              <a:gd name="T7" fmla="*/ 36703 h 39611"/>
              <a:gd name="T8" fmla="*/ 3003 w 33515"/>
              <a:gd name="T9" fmla="*/ 39763 h 39611"/>
              <a:gd name="T10" fmla="*/ 30157 w 33515"/>
              <a:gd name="T11" fmla="*/ 39763 h 39611"/>
              <a:gd name="T12" fmla="*/ 33160 w 33515"/>
              <a:gd name="T13" fmla="*/ 36703 h 39611"/>
              <a:gd name="T14" fmla="*/ 33160 w 33515"/>
              <a:gd name="T15" fmla="*/ 3059 h 39611"/>
              <a:gd name="T16" fmla="*/ 30157 w 33515"/>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39611">
                <a:moveTo>
                  <a:pt x="30480" y="0"/>
                </a:moveTo>
                <a:lnTo>
                  <a:pt x="3035" y="0"/>
                </a:lnTo>
                <a:lnTo>
                  <a:pt x="0" y="3047"/>
                </a:lnTo>
                <a:lnTo>
                  <a:pt x="0" y="36563"/>
                </a:lnTo>
                <a:lnTo>
                  <a:pt x="3035" y="39611"/>
                </a:lnTo>
                <a:lnTo>
                  <a:pt x="30480" y="39611"/>
                </a:lnTo>
                <a:lnTo>
                  <a:pt x="33515" y="36563"/>
                </a:lnTo>
                <a:lnTo>
                  <a:pt x="33515" y="3047"/>
                </a:lnTo>
                <a:lnTo>
                  <a:pt x="30480"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40" name="object 159">
            <a:extLst>
              <a:ext uri="{FF2B5EF4-FFF2-40B4-BE49-F238E27FC236}">
                <a16:creationId xmlns:a16="http://schemas.microsoft.com/office/drawing/2014/main" id="{F27BB5E7-633E-4399-8C7B-B4869F67845B}"/>
              </a:ext>
            </a:extLst>
          </p:cNvPr>
          <p:cNvSpPr>
            <a:spLocks/>
          </p:cNvSpPr>
          <p:nvPr/>
        </p:nvSpPr>
        <p:spPr bwMode="auto">
          <a:xfrm>
            <a:off x="3189806" y="3511840"/>
            <a:ext cx="39687" cy="46037"/>
          </a:xfrm>
          <a:custGeom>
            <a:avLst/>
            <a:gdLst>
              <a:gd name="T0" fmla="*/ 30577 w 39624"/>
              <a:gd name="T1" fmla="*/ 0 h 45707"/>
              <a:gd name="T2" fmla="*/ 9161 w 39624"/>
              <a:gd name="T3" fmla="*/ 0 h 45707"/>
              <a:gd name="T4" fmla="*/ 3058 w 39624"/>
              <a:gd name="T5" fmla="*/ 3091 h 45707"/>
              <a:gd name="T6" fmla="*/ 0 w 39624"/>
              <a:gd name="T7" fmla="*/ 9275 h 45707"/>
              <a:gd name="T8" fmla="*/ 0 w 39624"/>
              <a:gd name="T9" fmla="*/ 40185 h 45707"/>
              <a:gd name="T10" fmla="*/ 3058 w 39624"/>
              <a:gd name="T11" fmla="*/ 43277 h 45707"/>
              <a:gd name="T12" fmla="*/ 3058 w 39624"/>
              <a:gd name="T13" fmla="*/ 46369 h 45707"/>
              <a:gd name="T14" fmla="*/ 36679 w 39624"/>
              <a:gd name="T15" fmla="*/ 46369 h 45707"/>
              <a:gd name="T16" fmla="*/ 36679 w 39624"/>
              <a:gd name="T17" fmla="*/ 43277 h 45707"/>
              <a:gd name="T18" fmla="*/ 39750 w 39624"/>
              <a:gd name="T19" fmla="*/ 40185 h 45707"/>
              <a:gd name="T20" fmla="*/ 9161 w 39624"/>
              <a:gd name="T21" fmla="*/ 40185 h 45707"/>
              <a:gd name="T22" fmla="*/ 6103 w 39624"/>
              <a:gd name="T23" fmla="*/ 37093 h 45707"/>
              <a:gd name="T24" fmla="*/ 6103 w 39624"/>
              <a:gd name="T25" fmla="*/ 9275 h 45707"/>
              <a:gd name="T26" fmla="*/ 9161 w 39624"/>
              <a:gd name="T27" fmla="*/ 6183 h 45707"/>
              <a:gd name="T28" fmla="*/ 38215 w 39624"/>
              <a:gd name="T29" fmla="*/ 6183 h 45707"/>
              <a:gd name="T30" fmla="*/ 36679 w 39624"/>
              <a:gd name="T31" fmla="*/ 3091 h 45707"/>
              <a:gd name="T32" fmla="*/ 30577 w 39624"/>
              <a:gd name="T33" fmla="*/ 0 h 45707"/>
              <a:gd name="T34" fmla="*/ 38215 w 39624"/>
              <a:gd name="T35" fmla="*/ 6183 h 45707"/>
              <a:gd name="T36" fmla="*/ 30577 w 39624"/>
              <a:gd name="T37" fmla="*/ 6183 h 45707"/>
              <a:gd name="T38" fmla="*/ 33634 w 39624"/>
              <a:gd name="T39" fmla="*/ 9275 h 45707"/>
              <a:gd name="T40" fmla="*/ 33634 w 39624"/>
              <a:gd name="T41" fmla="*/ 37093 h 45707"/>
              <a:gd name="T42" fmla="*/ 30577 w 39624"/>
              <a:gd name="T43" fmla="*/ 40185 h 45707"/>
              <a:gd name="T44" fmla="*/ 39750 w 39624"/>
              <a:gd name="T45" fmla="*/ 40185 h 45707"/>
              <a:gd name="T46" fmla="*/ 39750 w 39624"/>
              <a:gd name="T47" fmla="*/ 9275 h 45707"/>
              <a:gd name="T48" fmla="*/ 38215 w 39624"/>
              <a:gd name="T49" fmla="*/ 6183 h 45707"/>
              <a:gd name="T50" fmla="*/ 8137 w 39624"/>
              <a:gd name="T51" fmla="*/ 8250 h 45707"/>
              <a:gd name="T52" fmla="*/ 6103 w 39624"/>
              <a:gd name="T53" fmla="*/ 9275 h 45707"/>
              <a:gd name="T54" fmla="*/ 6103 w 39624"/>
              <a:gd name="T55" fmla="*/ 12356 h 45707"/>
              <a:gd name="T56" fmla="*/ 8137 w 39624"/>
              <a:gd name="T57" fmla="*/ 8250 h 45707"/>
              <a:gd name="T58" fmla="*/ 31600 w 39624"/>
              <a:gd name="T59" fmla="*/ 8250 h 45707"/>
              <a:gd name="T60" fmla="*/ 33634 w 39624"/>
              <a:gd name="T61" fmla="*/ 12356 h 45707"/>
              <a:gd name="T62" fmla="*/ 33634 w 39624"/>
              <a:gd name="T63" fmla="*/ 9275 h 45707"/>
              <a:gd name="T64" fmla="*/ 31600 w 39624"/>
              <a:gd name="T65" fmla="*/ 8250 h 45707"/>
              <a:gd name="T66" fmla="*/ 9161 w 39624"/>
              <a:gd name="T67" fmla="*/ 6183 h 45707"/>
              <a:gd name="T68" fmla="*/ 6103 w 39624"/>
              <a:gd name="T69" fmla="*/ 9275 h 45707"/>
              <a:gd name="T70" fmla="*/ 8137 w 39624"/>
              <a:gd name="T71" fmla="*/ 8250 h 45707"/>
              <a:gd name="T72" fmla="*/ 9161 w 39624"/>
              <a:gd name="T73" fmla="*/ 6183 h 45707"/>
              <a:gd name="T74" fmla="*/ 30577 w 39624"/>
              <a:gd name="T75" fmla="*/ 6183 h 45707"/>
              <a:gd name="T76" fmla="*/ 31600 w 39624"/>
              <a:gd name="T77" fmla="*/ 8250 h 45707"/>
              <a:gd name="T78" fmla="*/ 33634 w 39624"/>
              <a:gd name="T79" fmla="*/ 9275 h 45707"/>
              <a:gd name="T80" fmla="*/ 30577 w 39624"/>
              <a:gd name="T81" fmla="*/ 6183 h 45707"/>
              <a:gd name="T82" fmla="*/ 12230 w 39624"/>
              <a:gd name="T83" fmla="*/ 6183 h 45707"/>
              <a:gd name="T84" fmla="*/ 9161 w 39624"/>
              <a:gd name="T85" fmla="*/ 6183 h 45707"/>
              <a:gd name="T86" fmla="*/ 8137 w 39624"/>
              <a:gd name="T87" fmla="*/ 8250 h 45707"/>
              <a:gd name="T88" fmla="*/ 12230 w 39624"/>
              <a:gd name="T89" fmla="*/ 6183 h 45707"/>
              <a:gd name="T90" fmla="*/ 30577 w 39624"/>
              <a:gd name="T91" fmla="*/ 6183 h 45707"/>
              <a:gd name="T92" fmla="*/ 27507 w 39624"/>
              <a:gd name="T93" fmla="*/ 6183 h 45707"/>
              <a:gd name="T94" fmla="*/ 31600 w 39624"/>
              <a:gd name="T95" fmla="*/ 8250 h 45707"/>
              <a:gd name="T96" fmla="*/ 30577 w 39624"/>
              <a:gd name="T97" fmla="*/ 6183 h 4570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624" h="45707">
                <a:moveTo>
                  <a:pt x="30480" y="0"/>
                </a:moveTo>
                <a:lnTo>
                  <a:pt x="9131" y="0"/>
                </a:lnTo>
                <a:lnTo>
                  <a:pt x="3048" y="3047"/>
                </a:lnTo>
                <a:lnTo>
                  <a:pt x="0" y="9143"/>
                </a:lnTo>
                <a:lnTo>
                  <a:pt x="0" y="39611"/>
                </a:lnTo>
                <a:lnTo>
                  <a:pt x="3048" y="42659"/>
                </a:lnTo>
                <a:lnTo>
                  <a:pt x="3048" y="45707"/>
                </a:lnTo>
                <a:lnTo>
                  <a:pt x="36563" y="45707"/>
                </a:lnTo>
                <a:lnTo>
                  <a:pt x="36563" y="42659"/>
                </a:lnTo>
                <a:lnTo>
                  <a:pt x="39624" y="39611"/>
                </a:lnTo>
                <a:lnTo>
                  <a:pt x="9131" y="39611"/>
                </a:lnTo>
                <a:lnTo>
                  <a:pt x="6083" y="36563"/>
                </a:lnTo>
                <a:lnTo>
                  <a:pt x="6083" y="9143"/>
                </a:lnTo>
                <a:lnTo>
                  <a:pt x="9131" y="6095"/>
                </a:lnTo>
                <a:lnTo>
                  <a:pt x="38093" y="6095"/>
                </a:lnTo>
                <a:lnTo>
                  <a:pt x="36563" y="3047"/>
                </a:lnTo>
                <a:lnTo>
                  <a:pt x="30480" y="0"/>
                </a:lnTo>
                <a:close/>
              </a:path>
              <a:path w="39624" h="45707">
                <a:moveTo>
                  <a:pt x="38093" y="6095"/>
                </a:moveTo>
                <a:lnTo>
                  <a:pt x="30480" y="6095"/>
                </a:lnTo>
                <a:lnTo>
                  <a:pt x="33528" y="9143"/>
                </a:lnTo>
                <a:lnTo>
                  <a:pt x="33528" y="36563"/>
                </a:lnTo>
                <a:lnTo>
                  <a:pt x="30480" y="39611"/>
                </a:lnTo>
                <a:lnTo>
                  <a:pt x="39624" y="39611"/>
                </a:lnTo>
                <a:lnTo>
                  <a:pt x="39624" y="9143"/>
                </a:lnTo>
                <a:lnTo>
                  <a:pt x="38093" y="6095"/>
                </a:lnTo>
                <a:close/>
              </a:path>
              <a:path w="39624" h="45707">
                <a:moveTo>
                  <a:pt x="8111" y="8132"/>
                </a:moveTo>
                <a:lnTo>
                  <a:pt x="6083" y="9143"/>
                </a:lnTo>
                <a:lnTo>
                  <a:pt x="6083" y="12179"/>
                </a:lnTo>
                <a:lnTo>
                  <a:pt x="8111" y="8132"/>
                </a:lnTo>
                <a:close/>
              </a:path>
              <a:path w="39624" h="45707">
                <a:moveTo>
                  <a:pt x="31500" y="8132"/>
                </a:moveTo>
                <a:lnTo>
                  <a:pt x="33528" y="12179"/>
                </a:lnTo>
                <a:lnTo>
                  <a:pt x="33528" y="9143"/>
                </a:lnTo>
                <a:lnTo>
                  <a:pt x="31500" y="8132"/>
                </a:lnTo>
                <a:close/>
              </a:path>
              <a:path w="39624" h="45707">
                <a:moveTo>
                  <a:pt x="9131" y="6095"/>
                </a:moveTo>
                <a:lnTo>
                  <a:pt x="6083" y="9143"/>
                </a:lnTo>
                <a:lnTo>
                  <a:pt x="8111" y="8132"/>
                </a:lnTo>
                <a:lnTo>
                  <a:pt x="9131" y="6095"/>
                </a:lnTo>
                <a:close/>
              </a:path>
              <a:path w="39624" h="45707">
                <a:moveTo>
                  <a:pt x="30480" y="6095"/>
                </a:moveTo>
                <a:lnTo>
                  <a:pt x="31500" y="8132"/>
                </a:lnTo>
                <a:lnTo>
                  <a:pt x="33528" y="9143"/>
                </a:lnTo>
                <a:lnTo>
                  <a:pt x="30480" y="6095"/>
                </a:lnTo>
                <a:close/>
              </a:path>
              <a:path w="39624" h="45707">
                <a:moveTo>
                  <a:pt x="12192" y="6095"/>
                </a:moveTo>
                <a:lnTo>
                  <a:pt x="9131" y="6095"/>
                </a:lnTo>
                <a:lnTo>
                  <a:pt x="8111" y="8132"/>
                </a:lnTo>
                <a:lnTo>
                  <a:pt x="12192" y="6095"/>
                </a:lnTo>
                <a:close/>
              </a:path>
              <a:path w="39624" h="45707">
                <a:moveTo>
                  <a:pt x="30480" y="6095"/>
                </a:moveTo>
                <a:lnTo>
                  <a:pt x="27419" y="6095"/>
                </a:lnTo>
                <a:lnTo>
                  <a:pt x="31500" y="8132"/>
                </a:lnTo>
                <a:lnTo>
                  <a:pt x="30480"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41" name="object 160">
            <a:extLst>
              <a:ext uri="{FF2B5EF4-FFF2-40B4-BE49-F238E27FC236}">
                <a16:creationId xmlns:a16="http://schemas.microsoft.com/office/drawing/2014/main" id="{F54931C5-9FD9-45BD-9872-5BCFE17899F6}"/>
              </a:ext>
            </a:extLst>
          </p:cNvPr>
          <p:cNvSpPr>
            <a:spLocks/>
          </p:cNvSpPr>
          <p:nvPr/>
        </p:nvSpPr>
        <p:spPr bwMode="auto">
          <a:xfrm>
            <a:off x="3186631" y="3570577"/>
            <a:ext cx="46037" cy="53975"/>
          </a:xfrm>
          <a:custGeom>
            <a:avLst/>
            <a:gdLst>
              <a:gd name="T0" fmla="*/ 43268 w 45719"/>
              <a:gd name="T1" fmla="*/ 0 h 54851"/>
              <a:gd name="T2" fmla="*/ 6181 w 45719"/>
              <a:gd name="T3" fmla="*/ 0 h 54851"/>
              <a:gd name="T4" fmla="*/ 0 w 45719"/>
              <a:gd name="T5" fmla="*/ 2951 h 54851"/>
              <a:gd name="T6" fmla="*/ 0 w 45719"/>
              <a:gd name="T7" fmla="*/ 47210 h 54851"/>
              <a:gd name="T8" fmla="*/ 6181 w 45719"/>
              <a:gd name="T9" fmla="*/ 53113 h 54851"/>
              <a:gd name="T10" fmla="*/ 43268 w 45719"/>
              <a:gd name="T11" fmla="*/ 53113 h 54851"/>
              <a:gd name="T12" fmla="*/ 46358 w 45719"/>
              <a:gd name="T13" fmla="*/ 47210 h 54851"/>
              <a:gd name="T14" fmla="*/ 46358 w 45719"/>
              <a:gd name="T15" fmla="*/ 2951 h 54851"/>
              <a:gd name="T16" fmla="*/ 43268 w 45719"/>
              <a:gd name="T17" fmla="*/ 0 h 548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19" h="54851">
                <a:moveTo>
                  <a:pt x="42672" y="0"/>
                </a:moveTo>
                <a:lnTo>
                  <a:pt x="6096" y="0"/>
                </a:lnTo>
                <a:lnTo>
                  <a:pt x="0" y="3048"/>
                </a:lnTo>
                <a:lnTo>
                  <a:pt x="0" y="48755"/>
                </a:lnTo>
                <a:lnTo>
                  <a:pt x="6096" y="54851"/>
                </a:lnTo>
                <a:lnTo>
                  <a:pt x="42672" y="54851"/>
                </a:lnTo>
                <a:lnTo>
                  <a:pt x="45720" y="48755"/>
                </a:lnTo>
                <a:lnTo>
                  <a:pt x="45720" y="3048"/>
                </a:lnTo>
                <a:lnTo>
                  <a:pt x="42672"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42" name="object 161">
            <a:extLst>
              <a:ext uri="{FF2B5EF4-FFF2-40B4-BE49-F238E27FC236}">
                <a16:creationId xmlns:a16="http://schemas.microsoft.com/office/drawing/2014/main" id="{BFC9BF54-604E-489F-9F0A-11966B465A76}"/>
              </a:ext>
            </a:extLst>
          </p:cNvPr>
          <p:cNvSpPr>
            <a:spLocks/>
          </p:cNvSpPr>
          <p:nvPr/>
        </p:nvSpPr>
        <p:spPr bwMode="auto">
          <a:xfrm>
            <a:off x="3192981" y="3575340"/>
            <a:ext cx="33337" cy="42862"/>
          </a:xfrm>
          <a:custGeom>
            <a:avLst/>
            <a:gdLst>
              <a:gd name="T0" fmla="*/ 30157 w 33515"/>
              <a:gd name="T1" fmla="*/ 0 h 42646"/>
              <a:gd name="T2" fmla="*/ 3003 w 33515"/>
              <a:gd name="T3" fmla="*/ 0 h 42646"/>
              <a:gd name="T4" fmla="*/ 0 w 33515"/>
              <a:gd name="T5" fmla="*/ 3079 h 42646"/>
              <a:gd name="T6" fmla="*/ 0 w 33515"/>
              <a:gd name="T7" fmla="*/ 40014 h 42646"/>
              <a:gd name="T8" fmla="*/ 3003 w 33515"/>
              <a:gd name="T9" fmla="*/ 43079 h 42646"/>
              <a:gd name="T10" fmla="*/ 30157 w 33515"/>
              <a:gd name="T11" fmla="*/ 43079 h 42646"/>
              <a:gd name="T12" fmla="*/ 33160 w 33515"/>
              <a:gd name="T13" fmla="*/ 40014 h 42646"/>
              <a:gd name="T14" fmla="*/ 33160 w 33515"/>
              <a:gd name="T15" fmla="*/ 3079 h 42646"/>
              <a:gd name="T16" fmla="*/ 30157 w 33515"/>
              <a:gd name="T17" fmla="*/ 0 h 426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42646">
                <a:moveTo>
                  <a:pt x="30480" y="0"/>
                </a:moveTo>
                <a:lnTo>
                  <a:pt x="3035" y="0"/>
                </a:lnTo>
                <a:lnTo>
                  <a:pt x="0" y="3048"/>
                </a:lnTo>
                <a:lnTo>
                  <a:pt x="0" y="39611"/>
                </a:lnTo>
                <a:lnTo>
                  <a:pt x="3035" y="42646"/>
                </a:lnTo>
                <a:lnTo>
                  <a:pt x="30480" y="42646"/>
                </a:lnTo>
                <a:lnTo>
                  <a:pt x="33515" y="39611"/>
                </a:lnTo>
                <a:lnTo>
                  <a:pt x="33515" y="3048"/>
                </a:lnTo>
                <a:lnTo>
                  <a:pt x="30480"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43" name="object 162">
            <a:extLst>
              <a:ext uri="{FF2B5EF4-FFF2-40B4-BE49-F238E27FC236}">
                <a16:creationId xmlns:a16="http://schemas.microsoft.com/office/drawing/2014/main" id="{C6DA1DFB-33FC-4E6E-BA0E-F7148DDDDF5C}"/>
              </a:ext>
            </a:extLst>
          </p:cNvPr>
          <p:cNvSpPr>
            <a:spLocks/>
          </p:cNvSpPr>
          <p:nvPr/>
        </p:nvSpPr>
        <p:spPr bwMode="auto">
          <a:xfrm>
            <a:off x="3189806" y="3573752"/>
            <a:ext cx="39687" cy="47625"/>
          </a:xfrm>
          <a:custGeom>
            <a:avLst/>
            <a:gdLst>
              <a:gd name="T0" fmla="*/ 9161 w 39624"/>
              <a:gd name="T1" fmla="*/ 43600 h 48755"/>
              <a:gd name="T2" fmla="*/ 30577 w 39624"/>
              <a:gd name="T3" fmla="*/ 46521 h 48755"/>
              <a:gd name="T4" fmla="*/ 30577 w 39624"/>
              <a:gd name="T5" fmla="*/ 0 h 48755"/>
              <a:gd name="T6" fmla="*/ 3058 w 39624"/>
              <a:gd name="T7" fmla="*/ 2908 h 48755"/>
              <a:gd name="T8" fmla="*/ 0 w 39624"/>
              <a:gd name="T9" fmla="*/ 8712 h 48755"/>
              <a:gd name="T10" fmla="*/ 3058 w 39624"/>
              <a:gd name="T11" fmla="*/ 40704 h 48755"/>
              <a:gd name="T12" fmla="*/ 36679 w 39624"/>
              <a:gd name="T13" fmla="*/ 43600 h 48755"/>
              <a:gd name="T14" fmla="*/ 12230 w 39624"/>
              <a:gd name="T15" fmla="*/ 40704 h 48755"/>
              <a:gd name="T16" fmla="*/ 9161 w 39624"/>
              <a:gd name="T17" fmla="*/ 37796 h 48755"/>
              <a:gd name="T18" fmla="*/ 6103 w 39624"/>
              <a:gd name="T19" fmla="*/ 8712 h 48755"/>
              <a:gd name="T20" fmla="*/ 36679 w 39624"/>
              <a:gd name="T21" fmla="*/ 5817 h 48755"/>
              <a:gd name="T22" fmla="*/ 30577 w 39624"/>
              <a:gd name="T23" fmla="*/ 0 h 48755"/>
              <a:gd name="T24" fmla="*/ 9161 w 39624"/>
              <a:gd name="T25" fmla="*/ 37796 h 48755"/>
              <a:gd name="T26" fmla="*/ 27507 w 39624"/>
              <a:gd name="T27" fmla="*/ 40704 h 48755"/>
              <a:gd name="T28" fmla="*/ 36679 w 39624"/>
              <a:gd name="T29" fmla="*/ 5817 h 48755"/>
              <a:gd name="T30" fmla="*/ 33634 w 39624"/>
              <a:gd name="T31" fmla="*/ 8712 h 48755"/>
              <a:gd name="T32" fmla="*/ 30577 w 39624"/>
              <a:gd name="T33" fmla="*/ 37796 h 48755"/>
              <a:gd name="T34" fmla="*/ 27507 w 39624"/>
              <a:gd name="T35" fmla="*/ 40704 h 48755"/>
              <a:gd name="T36" fmla="*/ 39750 w 39624"/>
              <a:gd name="T37" fmla="*/ 37796 h 48755"/>
              <a:gd name="T38" fmla="*/ 36679 w 39624"/>
              <a:gd name="T39" fmla="*/ 5817 h 48755"/>
              <a:gd name="T40" fmla="*/ 6103 w 39624"/>
              <a:gd name="T41" fmla="*/ 8712 h 48755"/>
              <a:gd name="T42" fmla="*/ 8142 w 39624"/>
              <a:gd name="T43" fmla="*/ 7748 h 48755"/>
              <a:gd name="T44" fmla="*/ 33634 w 39624"/>
              <a:gd name="T45" fmla="*/ 11621 h 48755"/>
              <a:gd name="T46" fmla="*/ 31594 w 39624"/>
              <a:gd name="T47" fmla="*/ 7748 h 48755"/>
              <a:gd name="T48" fmla="*/ 6103 w 39624"/>
              <a:gd name="T49" fmla="*/ 8712 h 48755"/>
              <a:gd name="T50" fmla="*/ 9161 w 39624"/>
              <a:gd name="T51" fmla="*/ 5817 h 48755"/>
              <a:gd name="T52" fmla="*/ 31594 w 39624"/>
              <a:gd name="T53" fmla="*/ 7748 h 48755"/>
              <a:gd name="T54" fmla="*/ 30577 w 39624"/>
              <a:gd name="T55" fmla="*/ 5817 h 48755"/>
              <a:gd name="T56" fmla="*/ 9161 w 39624"/>
              <a:gd name="T57" fmla="*/ 5817 h 48755"/>
              <a:gd name="T58" fmla="*/ 12230 w 39624"/>
              <a:gd name="T59" fmla="*/ 5817 h 48755"/>
              <a:gd name="T60" fmla="*/ 27507 w 39624"/>
              <a:gd name="T61" fmla="*/ 5817 h 48755"/>
              <a:gd name="T62" fmla="*/ 30577 w 39624"/>
              <a:gd name="T63" fmla="*/ 5817 h 487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9624" h="48755">
                <a:moveTo>
                  <a:pt x="30480" y="45694"/>
                </a:moveTo>
                <a:lnTo>
                  <a:pt x="9131" y="45694"/>
                </a:lnTo>
                <a:lnTo>
                  <a:pt x="9131" y="48755"/>
                </a:lnTo>
                <a:lnTo>
                  <a:pt x="30480" y="48755"/>
                </a:lnTo>
                <a:lnTo>
                  <a:pt x="30480" y="45694"/>
                </a:lnTo>
                <a:close/>
              </a:path>
              <a:path w="39624" h="48755">
                <a:moveTo>
                  <a:pt x="30480" y="0"/>
                </a:moveTo>
                <a:lnTo>
                  <a:pt x="9131" y="0"/>
                </a:lnTo>
                <a:lnTo>
                  <a:pt x="3048" y="3048"/>
                </a:lnTo>
                <a:lnTo>
                  <a:pt x="3048" y="6096"/>
                </a:lnTo>
                <a:lnTo>
                  <a:pt x="0" y="9131"/>
                </a:lnTo>
                <a:lnTo>
                  <a:pt x="0" y="39611"/>
                </a:lnTo>
                <a:lnTo>
                  <a:pt x="3048" y="42659"/>
                </a:lnTo>
                <a:lnTo>
                  <a:pt x="3048" y="45694"/>
                </a:lnTo>
                <a:lnTo>
                  <a:pt x="36563" y="45694"/>
                </a:lnTo>
                <a:lnTo>
                  <a:pt x="36563" y="42659"/>
                </a:lnTo>
                <a:lnTo>
                  <a:pt x="12192" y="42659"/>
                </a:lnTo>
                <a:lnTo>
                  <a:pt x="6083" y="39611"/>
                </a:lnTo>
                <a:lnTo>
                  <a:pt x="9131" y="39611"/>
                </a:lnTo>
                <a:lnTo>
                  <a:pt x="6083" y="36563"/>
                </a:lnTo>
                <a:lnTo>
                  <a:pt x="6083" y="9131"/>
                </a:lnTo>
                <a:lnTo>
                  <a:pt x="9131" y="6096"/>
                </a:lnTo>
                <a:lnTo>
                  <a:pt x="36563" y="6096"/>
                </a:lnTo>
                <a:lnTo>
                  <a:pt x="36563" y="3048"/>
                </a:lnTo>
                <a:lnTo>
                  <a:pt x="30480" y="0"/>
                </a:lnTo>
                <a:close/>
              </a:path>
              <a:path w="39624" h="48755">
                <a:moveTo>
                  <a:pt x="30480" y="39611"/>
                </a:moveTo>
                <a:lnTo>
                  <a:pt x="9131" y="39611"/>
                </a:lnTo>
                <a:lnTo>
                  <a:pt x="12192" y="42659"/>
                </a:lnTo>
                <a:lnTo>
                  <a:pt x="27419" y="42659"/>
                </a:lnTo>
                <a:lnTo>
                  <a:pt x="30480" y="39611"/>
                </a:lnTo>
                <a:close/>
              </a:path>
              <a:path w="39624" h="48755">
                <a:moveTo>
                  <a:pt x="36563" y="6096"/>
                </a:moveTo>
                <a:lnTo>
                  <a:pt x="30480" y="6096"/>
                </a:lnTo>
                <a:lnTo>
                  <a:pt x="33528" y="9131"/>
                </a:lnTo>
                <a:lnTo>
                  <a:pt x="33528" y="36563"/>
                </a:lnTo>
                <a:lnTo>
                  <a:pt x="30480" y="39611"/>
                </a:lnTo>
                <a:lnTo>
                  <a:pt x="33528" y="39611"/>
                </a:lnTo>
                <a:lnTo>
                  <a:pt x="27419" y="42659"/>
                </a:lnTo>
                <a:lnTo>
                  <a:pt x="36563" y="42659"/>
                </a:lnTo>
                <a:lnTo>
                  <a:pt x="39624" y="39611"/>
                </a:lnTo>
                <a:lnTo>
                  <a:pt x="39624" y="9131"/>
                </a:lnTo>
                <a:lnTo>
                  <a:pt x="36563" y="6096"/>
                </a:lnTo>
                <a:close/>
              </a:path>
              <a:path w="39624" h="48755">
                <a:moveTo>
                  <a:pt x="8116" y="8120"/>
                </a:moveTo>
                <a:lnTo>
                  <a:pt x="6083" y="9131"/>
                </a:lnTo>
                <a:lnTo>
                  <a:pt x="6083" y="12179"/>
                </a:lnTo>
                <a:lnTo>
                  <a:pt x="8116" y="8120"/>
                </a:lnTo>
                <a:close/>
              </a:path>
              <a:path w="39624" h="48755">
                <a:moveTo>
                  <a:pt x="31494" y="8120"/>
                </a:moveTo>
                <a:lnTo>
                  <a:pt x="33528" y="12179"/>
                </a:lnTo>
                <a:lnTo>
                  <a:pt x="33528" y="9131"/>
                </a:lnTo>
                <a:lnTo>
                  <a:pt x="31494" y="8120"/>
                </a:lnTo>
                <a:close/>
              </a:path>
              <a:path w="39624" h="48755">
                <a:moveTo>
                  <a:pt x="9131" y="6096"/>
                </a:moveTo>
                <a:lnTo>
                  <a:pt x="6083" y="9131"/>
                </a:lnTo>
                <a:lnTo>
                  <a:pt x="8116" y="8120"/>
                </a:lnTo>
                <a:lnTo>
                  <a:pt x="9131" y="6096"/>
                </a:lnTo>
                <a:close/>
              </a:path>
              <a:path w="39624" h="48755">
                <a:moveTo>
                  <a:pt x="30480" y="6096"/>
                </a:moveTo>
                <a:lnTo>
                  <a:pt x="31494" y="8120"/>
                </a:lnTo>
                <a:lnTo>
                  <a:pt x="33528" y="9131"/>
                </a:lnTo>
                <a:lnTo>
                  <a:pt x="30480" y="6096"/>
                </a:lnTo>
                <a:close/>
              </a:path>
              <a:path w="39624" h="48755">
                <a:moveTo>
                  <a:pt x="12192" y="6096"/>
                </a:moveTo>
                <a:lnTo>
                  <a:pt x="9131" y="6096"/>
                </a:lnTo>
                <a:lnTo>
                  <a:pt x="8116" y="8120"/>
                </a:lnTo>
                <a:lnTo>
                  <a:pt x="12192" y="6096"/>
                </a:lnTo>
                <a:close/>
              </a:path>
              <a:path w="39624" h="48755">
                <a:moveTo>
                  <a:pt x="30480" y="6096"/>
                </a:moveTo>
                <a:lnTo>
                  <a:pt x="27419" y="6096"/>
                </a:lnTo>
                <a:lnTo>
                  <a:pt x="31494" y="8120"/>
                </a:lnTo>
                <a:lnTo>
                  <a:pt x="30480" y="6096"/>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44" name="object 163">
            <a:extLst>
              <a:ext uri="{FF2B5EF4-FFF2-40B4-BE49-F238E27FC236}">
                <a16:creationId xmlns:a16="http://schemas.microsoft.com/office/drawing/2014/main" id="{175B8463-D142-4987-9550-1E95F0FB2210}"/>
              </a:ext>
            </a:extLst>
          </p:cNvPr>
          <p:cNvSpPr>
            <a:spLocks/>
          </p:cNvSpPr>
          <p:nvPr/>
        </p:nvSpPr>
        <p:spPr bwMode="auto">
          <a:xfrm>
            <a:off x="3186631" y="3627727"/>
            <a:ext cx="46037" cy="55563"/>
          </a:xfrm>
          <a:custGeom>
            <a:avLst/>
            <a:gdLst>
              <a:gd name="T0" fmla="*/ 43268 w 45719"/>
              <a:gd name="T1" fmla="*/ 0 h 54851"/>
              <a:gd name="T2" fmla="*/ 6181 w 45719"/>
              <a:gd name="T3" fmla="*/ 0 h 54851"/>
              <a:gd name="T4" fmla="*/ 0 w 45719"/>
              <a:gd name="T5" fmla="*/ 6254 h 54851"/>
              <a:gd name="T6" fmla="*/ 0 w 45719"/>
              <a:gd name="T7" fmla="*/ 53156 h 54851"/>
              <a:gd name="T8" fmla="*/ 6181 w 45719"/>
              <a:gd name="T9" fmla="*/ 56284 h 54851"/>
              <a:gd name="T10" fmla="*/ 43268 w 45719"/>
              <a:gd name="T11" fmla="*/ 56284 h 54851"/>
              <a:gd name="T12" fmla="*/ 46358 w 45719"/>
              <a:gd name="T13" fmla="*/ 53156 h 54851"/>
              <a:gd name="T14" fmla="*/ 46358 w 45719"/>
              <a:gd name="T15" fmla="*/ 6254 h 54851"/>
              <a:gd name="T16" fmla="*/ 43268 w 45719"/>
              <a:gd name="T17" fmla="*/ 0 h 548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19" h="54851">
                <a:moveTo>
                  <a:pt x="42672" y="0"/>
                </a:moveTo>
                <a:lnTo>
                  <a:pt x="6096" y="0"/>
                </a:lnTo>
                <a:lnTo>
                  <a:pt x="0" y="6095"/>
                </a:lnTo>
                <a:lnTo>
                  <a:pt x="0" y="51803"/>
                </a:lnTo>
                <a:lnTo>
                  <a:pt x="6096" y="54851"/>
                </a:lnTo>
                <a:lnTo>
                  <a:pt x="42672" y="54851"/>
                </a:lnTo>
                <a:lnTo>
                  <a:pt x="45720" y="51803"/>
                </a:lnTo>
                <a:lnTo>
                  <a:pt x="45720" y="6095"/>
                </a:lnTo>
                <a:lnTo>
                  <a:pt x="42672"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45" name="object 164">
            <a:extLst>
              <a:ext uri="{FF2B5EF4-FFF2-40B4-BE49-F238E27FC236}">
                <a16:creationId xmlns:a16="http://schemas.microsoft.com/office/drawing/2014/main" id="{35E96F7B-9A96-4E7E-9751-D4D2317522F6}"/>
              </a:ext>
            </a:extLst>
          </p:cNvPr>
          <p:cNvSpPr>
            <a:spLocks/>
          </p:cNvSpPr>
          <p:nvPr/>
        </p:nvSpPr>
        <p:spPr bwMode="auto">
          <a:xfrm>
            <a:off x="3192981" y="3637252"/>
            <a:ext cx="33337" cy="39688"/>
          </a:xfrm>
          <a:custGeom>
            <a:avLst/>
            <a:gdLst>
              <a:gd name="T0" fmla="*/ 30157 w 33515"/>
              <a:gd name="T1" fmla="*/ 0 h 39611"/>
              <a:gd name="T2" fmla="*/ 3003 w 33515"/>
              <a:gd name="T3" fmla="*/ 0 h 39611"/>
              <a:gd name="T4" fmla="*/ 0 w 33515"/>
              <a:gd name="T5" fmla="*/ 3059 h 39611"/>
              <a:gd name="T6" fmla="*/ 0 w 33515"/>
              <a:gd name="T7" fmla="*/ 36717 h 39611"/>
              <a:gd name="T8" fmla="*/ 3003 w 33515"/>
              <a:gd name="T9" fmla="*/ 39765 h 39611"/>
              <a:gd name="T10" fmla="*/ 30157 w 33515"/>
              <a:gd name="T11" fmla="*/ 39765 h 39611"/>
              <a:gd name="T12" fmla="*/ 33160 w 33515"/>
              <a:gd name="T13" fmla="*/ 36717 h 39611"/>
              <a:gd name="T14" fmla="*/ 33160 w 33515"/>
              <a:gd name="T15" fmla="*/ 3059 h 39611"/>
              <a:gd name="T16" fmla="*/ 30157 w 33515"/>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39611">
                <a:moveTo>
                  <a:pt x="30480" y="0"/>
                </a:moveTo>
                <a:lnTo>
                  <a:pt x="3035" y="0"/>
                </a:lnTo>
                <a:lnTo>
                  <a:pt x="0" y="3047"/>
                </a:lnTo>
                <a:lnTo>
                  <a:pt x="0" y="36575"/>
                </a:lnTo>
                <a:lnTo>
                  <a:pt x="3035" y="39611"/>
                </a:lnTo>
                <a:lnTo>
                  <a:pt x="30480" y="39611"/>
                </a:lnTo>
                <a:lnTo>
                  <a:pt x="33515" y="36575"/>
                </a:lnTo>
                <a:lnTo>
                  <a:pt x="33515" y="3047"/>
                </a:lnTo>
                <a:lnTo>
                  <a:pt x="30480"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46" name="object 165">
            <a:extLst>
              <a:ext uri="{FF2B5EF4-FFF2-40B4-BE49-F238E27FC236}">
                <a16:creationId xmlns:a16="http://schemas.microsoft.com/office/drawing/2014/main" id="{A43FC217-1D51-41D9-A8CB-D1AE0B575BBF}"/>
              </a:ext>
            </a:extLst>
          </p:cNvPr>
          <p:cNvSpPr>
            <a:spLocks/>
          </p:cNvSpPr>
          <p:nvPr/>
        </p:nvSpPr>
        <p:spPr bwMode="auto">
          <a:xfrm>
            <a:off x="3189806" y="3634077"/>
            <a:ext cx="39687" cy="46038"/>
          </a:xfrm>
          <a:custGeom>
            <a:avLst/>
            <a:gdLst>
              <a:gd name="T0" fmla="*/ 36679 w 39624"/>
              <a:gd name="T1" fmla="*/ 0 h 45694"/>
              <a:gd name="T2" fmla="*/ 3058 w 39624"/>
              <a:gd name="T3" fmla="*/ 0 h 45694"/>
              <a:gd name="T4" fmla="*/ 3058 w 39624"/>
              <a:gd name="T5" fmla="*/ 3081 h 45694"/>
              <a:gd name="T6" fmla="*/ 0 w 39624"/>
              <a:gd name="T7" fmla="*/ 9269 h 45694"/>
              <a:gd name="T8" fmla="*/ 0 w 39624"/>
              <a:gd name="T9" fmla="*/ 37115 h 45694"/>
              <a:gd name="T10" fmla="*/ 3058 w 39624"/>
              <a:gd name="T11" fmla="*/ 43290 h 45694"/>
              <a:gd name="T12" fmla="*/ 9161 w 39624"/>
              <a:gd name="T13" fmla="*/ 46385 h 45694"/>
              <a:gd name="T14" fmla="*/ 30577 w 39624"/>
              <a:gd name="T15" fmla="*/ 46385 h 45694"/>
              <a:gd name="T16" fmla="*/ 36679 w 39624"/>
              <a:gd name="T17" fmla="*/ 43290 h 45694"/>
              <a:gd name="T18" fmla="*/ 38212 w 39624"/>
              <a:gd name="T19" fmla="*/ 40209 h 45694"/>
              <a:gd name="T20" fmla="*/ 9161 w 39624"/>
              <a:gd name="T21" fmla="*/ 40209 h 45694"/>
              <a:gd name="T22" fmla="*/ 6103 w 39624"/>
              <a:gd name="T23" fmla="*/ 37115 h 45694"/>
              <a:gd name="T24" fmla="*/ 6103 w 39624"/>
              <a:gd name="T25" fmla="*/ 9269 h 45694"/>
              <a:gd name="T26" fmla="*/ 9161 w 39624"/>
              <a:gd name="T27" fmla="*/ 6175 h 45694"/>
              <a:gd name="T28" fmla="*/ 38215 w 39624"/>
              <a:gd name="T29" fmla="*/ 6175 h 45694"/>
              <a:gd name="T30" fmla="*/ 36679 w 39624"/>
              <a:gd name="T31" fmla="*/ 3081 h 45694"/>
              <a:gd name="T32" fmla="*/ 36679 w 39624"/>
              <a:gd name="T33" fmla="*/ 0 h 45694"/>
              <a:gd name="T34" fmla="*/ 6103 w 39624"/>
              <a:gd name="T35" fmla="*/ 37115 h 45694"/>
              <a:gd name="T36" fmla="*/ 9161 w 39624"/>
              <a:gd name="T37" fmla="*/ 40209 h 45694"/>
              <a:gd name="T38" fmla="*/ 12230 w 39624"/>
              <a:gd name="T39" fmla="*/ 40209 h 45694"/>
              <a:gd name="T40" fmla="*/ 6103 w 39624"/>
              <a:gd name="T41" fmla="*/ 37115 h 45694"/>
              <a:gd name="T42" fmla="*/ 33634 w 39624"/>
              <a:gd name="T43" fmla="*/ 37115 h 45694"/>
              <a:gd name="T44" fmla="*/ 27507 w 39624"/>
              <a:gd name="T45" fmla="*/ 40209 h 45694"/>
              <a:gd name="T46" fmla="*/ 30577 w 39624"/>
              <a:gd name="T47" fmla="*/ 40209 h 45694"/>
              <a:gd name="T48" fmla="*/ 33634 w 39624"/>
              <a:gd name="T49" fmla="*/ 37115 h 45694"/>
              <a:gd name="T50" fmla="*/ 38215 w 39624"/>
              <a:gd name="T51" fmla="*/ 6175 h 45694"/>
              <a:gd name="T52" fmla="*/ 30577 w 39624"/>
              <a:gd name="T53" fmla="*/ 6175 h 45694"/>
              <a:gd name="T54" fmla="*/ 33634 w 39624"/>
              <a:gd name="T55" fmla="*/ 9269 h 45694"/>
              <a:gd name="T56" fmla="*/ 33634 w 39624"/>
              <a:gd name="T57" fmla="*/ 37115 h 45694"/>
              <a:gd name="T58" fmla="*/ 30577 w 39624"/>
              <a:gd name="T59" fmla="*/ 40209 h 45694"/>
              <a:gd name="T60" fmla="*/ 38212 w 39624"/>
              <a:gd name="T61" fmla="*/ 40209 h 45694"/>
              <a:gd name="T62" fmla="*/ 39750 w 39624"/>
              <a:gd name="T63" fmla="*/ 37115 h 45694"/>
              <a:gd name="T64" fmla="*/ 39750 w 39624"/>
              <a:gd name="T65" fmla="*/ 9269 h 45694"/>
              <a:gd name="T66" fmla="*/ 38215 w 39624"/>
              <a:gd name="T67" fmla="*/ 6175 h 4569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9624" h="45694">
                <a:moveTo>
                  <a:pt x="36563" y="0"/>
                </a:moveTo>
                <a:lnTo>
                  <a:pt x="3048" y="0"/>
                </a:lnTo>
                <a:lnTo>
                  <a:pt x="3048" y="3035"/>
                </a:lnTo>
                <a:lnTo>
                  <a:pt x="0" y="9131"/>
                </a:lnTo>
                <a:lnTo>
                  <a:pt x="0" y="36563"/>
                </a:lnTo>
                <a:lnTo>
                  <a:pt x="3048" y="42646"/>
                </a:lnTo>
                <a:lnTo>
                  <a:pt x="9131" y="45694"/>
                </a:lnTo>
                <a:lnTo>
                  <a:pt x="30480" y="45694"/>
                </a:lnTo>
                <a:lnTo>
                  <a:pt x="36563" y="42646"/>
                </a:lnTo>
                <a:lnTo>
                  <a:pt x="38090" y="39611"/>
                </a:lnTo>
                <a:lnTo>
                  <a:pt x="9131" y="39611"/>
                </a:lnTo>
                <a:lnTo>
                  <a:pt x="6083" y="36563"/>
                </a:lnTo>
                <a:lnTo>
                  <a:pt x="6083" y="9131"/>
                </a:lnTo>
                <a:lnTo>
                  <a:pt x="9131" y="6083"/>
                </a:lnTo>
                <a:lnTo>
                  <a:pt x="38093" y="6083"/>
                </a:lnTo>
                <a:lnTo>
                  <a:pt x="36563" y="3035"/>
                </a:lnTo>
                <a:lnTo>
                  <a:pt x="36563" y="0"/>
                </a:lnTo>
                <a:close/>
              </a:path>
              <a:path w="39624" h="45694">
                <a:moveTo>
                  <a:pt x="6083" y="36563"/>
                </a:moveTo>
                <a:lnTo>
                  <a:pt x="9131" y="39611"/>
                </a:lnTo>
                <a:lnTo>
                  <a:pt x="12192" y="39611"/>
                </a:lnTo>
                <a:lnTo>
                  <a:pt x="6083" y="36563"/>
                </a:lnTo>
                <a:close/>
              </a:path>
              <a:path w="39624" h="45694">
                <a:moveTo>
                  <a:pt x="33528" y="36563"/>
                </a:moveTo>
                <a:lnTo>
                  <a:pt x="27419" y="39611"/>
                </a:lnTo>
                <a:lnTo>
                  <a:pt x="30480" y="39611"/>
                </a:lnTo>
                <a:lnTo>
                  <a:pt x="33528" y="36563"/>
                </a:lnTo>
                <a:close/>
              </a:path>
              <a:path w="39624" h="45694">
                <a:moveTo>
                  <a:pt x="38093" y="6083"/>
                </a:moveTo>
                <a:lnTo>
                  <a:pt x="30480" y="6083"/>
                </a:lnTo>
                <a:lnTo>
                  <a:pt x="33528" y="9131"/>
                </a:lnTo>
                <a:lnTo>
                  <a:pt x="33528" y="36563"/>
                </a:lnTo>
                <a:lnTo>
                  <a:pt x="30480" y="39611"/>
                </a:lnTo>
                <a:lnTo>
                  <a:pt x="38090" y="39611"/>
                </a:lnTo>
                <a:lnTo>
                  <a:pt x="39624" y="36563"/>
                </a:lnTo>
                <a:lnTo>
                  <a:pt x="39624" y="9131"/>
                </a:lnTo>
                <a:lnTo>
                  <a:pt x="38093" y="6083"/>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47" name="object 166">
            <a:extLst>
              <a:ext uri="{FF2B5EF4-FFF2-40B4-BE49-F238E27FC236}">
                <a16:creationId xmlns:a16="http://schemas.microsoft.com/office/drawing/2014/main" id="{93832C16-E76F-4A42-8F41-350D5BD6E538}"/>
              </a:ext>
            </a:extLst>
          </p:cNvPr>
          <p:cNvSpPr>
            <a:spLocks/>
          </p:cNvSpPr>
          <p:nvPr/>
        </p:nvSpPr>
        <p:spPr bwMode="auto">
          <a:xfrm>
            <a:off x="3186631" y="3691227"/>
            <a:ext cx="46037" cy="52388"/>
          </a:xfrm>
          <a:custGeom>
            <a:avLst/>
            <a:gdLst>
              <a:gd name="T0" fmla="*/ 43268 w 45719"/>
              <a:gd name="T1" fmla="*/ 0 h 51803"/>
              <a:gd name="T2" fmla="*/ 6181 w 45719"/>
              <a:gd name="T3" fmla="*/ 0 h 51803"/>
              <a:gd name="T4" fmla="*/ 0 w 45719"/>
              <a:gd name="T5" fmla="*/ 3104 h 51803"/>
              <a:gd name="T6" fmla="*/ 0 w 45719"/>
              <a:gd name="T7" fmla="*/ 49863 h 51803"/>
              <a:gd name="T8" fmla="*/ 6181 w 45719"/>
              <a:gd name="T9" fmla="*/ 52980 h 51803"/>
              <a:gd name="T10" fmla="*/ 43268 w 45719"/>
              <a:gd name="T11" fmla="*/ 52980 h 51803"/>
              <a:gd name="T12" fmla="*/ 46358 w 45719"/>
              <a:gd name="T13" fmla="*/ 49863 h 51803"/>
              <a:gd name="T14" fmla="*/ 46358 w 45719"/>
              <a:gd name="T15" fmla="*/ 3104 h 51803"/>
              <a:gd name="T16" fmla="*/ 43268 w 45719"/>
              <a:gd name="T17" fmla="*/ 0 h 518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19" h="51803">
                <a:moveTo>
                  <a:pt x="42672" y="0"/>
                </a:moveTo>
                <a:lnTo>
                  <a:pt x="6096" y="0"/>
                </a:lnTo>
                <a:lnTo>
                  <a:pt x="0" y="3035"/>
                </a:lnTo>
                <a:lnTo>
                  <a:pt x="0" y="48755"/>
                </a:lnTo>
                <a:lnTo>
                  <a:pt x="6096" y="51803"/>
                </a:lnTo>
                <a:lnTo>
                  <a:pt x="42672" y="51803"/>
                </a:lnTo>
                <a:lnTo>
                  <a:pt x="45720" y="48755"/>
                </a:lnTo>
                <a:lnTo>
                  <a:pt x="45720" y="3035"/>
                </a:lnTo>
                <a:lnTo>
                  <a:pt x="42672"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48" name="object 167">
            <a:extLst>
              <a:ext uri="{FF2B5EF4-FFF2-40B4-BE49-F238E27FC236}">
                <a16:creationId xmlns:a16="http://schemas.microsoft.com/office/drawing/2014/main" id="{052907E0-347A-4DDC-827A-C030A2CC0FFF}"/>
              </a:ext>
            </a:extLst>
          </p:cNvPr>
          <p:cNvSpPr>
            <a:spLocks/>
          </p:cNvSpPr>
          <p:nvPr/>
        </p:nvSpPr>
        <p:spPr bwMode="auto">
          <a:xfrm>
            <a:off x="3192981" y="3697577"/>
            <a:ext cx="33337" cy="39688"/>
          </a:xfrm>
          <a:custGeom>
            <a:avLst/>
            <a:gdLst>
              <a:gd name="T0" fmla="*/ 30157 w 33515"/>
              <a:gd name="T1" fmla="*/ 0 h 39611"/>
              <a:gd name="T2" fmla="*/ 3003 w 33515"/>
              <a:gd name="T3" fmla="*/ 0 h 39611"/>
              <a:gd name="T4" fmla="*/ 0 w 33515"/>
              <a:gd name="T5" fmla="*/ 3059 h 39611"/>
              <a:gd name="T6" fmla="*/ 0 w 33515"/>
              <a:gd name="T7" fmla="*/ 36705 h 39611"/>
              <a:gd name="T8" fmla="*/ 3003 w 33515"/>
              <a:gd name="T9" fmla="*/ 39765 h 39611"/>
              <a:gd name="T10" fmla="*/ 30157 w 33515"/>
              <a:gd name="T11" fmla="*/ 39765 h 39611"/>
              <a:gd name="T12" fmla="*/ 33160 w 33515"/>
              <a:gd name="T13" fmla="*/ 36705 h 39611"/>
              <a:gd name="T14" fmla="*/ 33160 w 33515"/>
              <a:gd name="T15" fmla="*/ 3059 h 39611"/>
              <a:gd name="T16" fmla="*/ 30157 w 33515"/>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39611">
                <a:moveTo>
                  <a:pt x="30480" y="0"/>
                </a:moveTo>
                <a:lnTo>
                  <a:pt x="3035" y="0"/>
                </a:lnTo>
                <a:lnTo>
                  <a:pt x="0" y="3047"/>
                </a:lnTo>
                <a:lnTo>
                  <a:pt x="0" y="36563"/>
                </a:lnTo>
                <a:lnTo>
                  <a:pt x="3035" y="39611"/>
                </a:lnTo>
                <a:lnTo>
                  <a:pt x="30480" y="39611"/>
                </a:lnTo>
                <a:lnTo>
                  <a:pt x="33515" y="36563"/>
                </a:lnTo>
                <a:lnTo>
                  <a:pt x="33515" y="3047"/>
                </a:lnTo>
                <a:lnTo>
                  <a:pt x="30480"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49" name="object 168">
            <a:extLst>
              <a:ext uri="{FF2B5EF4-FFF2-40B4-BE49-F238E27FC236}">
                <a16:creationId xmlns:a16="http://schemas.microsoft.com/office/drawing/2014/main" id="{6CB6AFA8-1E9E-4F78-BF97-BAED18D018C1}"/>
              </a:ext>
            </a:extLst>
          </p:cNvPr>
          <p:cNvSpPr>
            <a:spLocks/>
          </p:cNvSpPr>
          <p:nvPr/>
        </p:nvSpPr>
        <p:spPr bwMode="auto">
          <a:xfrm>
            <a:off x="3189806" y="3694402"/>
            <a:ext cx="39687" cy="46038"/>
          </a:xfrm>
          <a:custGeom>
            <a:avLst/>
            <a:gdLst>
              <a:gd name="T0" fmla="*/ 30577 w 39624"/>
              <a:gd name="T1" fmla="*/ 0 h 45707"/>
              <a:gd name="T2" fmla="*/ 9161 w 39624"/>
              <a:gd name="T3" fmla="*/ 0 h 45707"/>
              <a:gd name="T4" fmla="*/ 3058 w 39624"/>
              <a:gd name="T5" fmla="*/ 3091 h 45707"/>
              <a:gd name="T6" fmla="*/ 0 w 39624"/>
              <a:gd name="T7" fmla="*/ 9276 h 45707"/>
              <a:gd name="T8" fmla="*/ 0 w 39624"/>
              <a:gd name="T9" fmla="*/ 40187 h 45707"/>
              <a:gd name="T10" fmla="*/ 3058 w 39624"/>
              <a:gd name="T11" fmla="*/ 43279 h 45707"/>
              <a:gd name="T12" fmla="*/ 3058 w 39624"/>
              <a:gd name="T13" fmla="*/ 46371 h 45707"/>
              <a:gd name="T14" fmla="*/ 36679 w 39624"/>
              <a:gd name="T15" fmla="*/ 46371 h 45707"/>
              <a:gd name="T16" fmla="*/ 36679 w 39624"/>
              <a:gd name="T17" fmla="*/ 43279 h 45707"/>
              <a:gd name="T18" fmla="*/ 39750 w 39624"/>
              <a:gd name="T19" fmla="*/ 40187 h 45707"/>
              <a:gd name="T20" fmla="*/ 9161 w 39624"/>
              <a:gd name="T21" fmla="*/ 40187 h 45707"/>
              <a:gd name="T22" fmla="*/ 6103 w 39624"/>
              <a:gd name="T23" fmla="*/ 37095 h 45707"/>
              <a:gd name="T24" fmla="*/ 6103 w 39624"/>
              <a:gd name="T25" fmla="*/ 9276 h 45707"/>
              <a:gd name="T26" fmla="*/ 9161 w 39624"/>
              <a:gd name="T27" fmla="*/ 6183 h 45707"/>
              <a:gd name="T28" fmla="*/ 38215 w 39624"/>
              <a:gd name="T29" fmla="*/ 6183 h 45707"/>
              <a:gd name="T30" fmla="*/ 36679 w 39624"/>
              <a:gd name="T31" fmla="*/ 3091 h 45707"/>
              <a:gd name="T32" fmla="*/ 30577 w 39624"/>
              <a:gd name="T33" fmla="*/ 0 h 45707"/>
              <a:gd name="T34" fmla="*/ 38215 w 39624"/>
              <a:gd name="T35" fmla="*/ 6183 h 45707"/>
              <a:gd name="T36" fmla="*/ 30577 w 39624"/>
              <a:gd name="T37" fmla="*/ 6183 h 45707"/>
              <a:gd name="T38" fmla="*/ 33634 w 39624"/>
              <a:gd name="T39" fmla="*/ 9276 h 45707"/>
              <a:gd name="T40" fmla="*/ 33634 w 39624"/>
              <a:gd name="T41" fmla="*/ 37095 h 45707"/>
              <a:gd name="T42" fmla="*/ 30577 w 39624"/>
              <a:gd name="T43" fmla="*/ 40187 h 45707"/>
              <a:gd name="T44" fmla="*/ 39750 w 39624"/>
              <a:gd name="T45" fmla="*/ 40187 h 45707"/>
              <a:gd name="T46" fmla="*/ 39750 w 39624"/>
              <a:gd name="T47" fmla="*/ 9276 h 45707"/>
              <a:gd name="T48" fmla="*/ 38215 w 39624"/>
              <a:gd name="T49" fmla="*/ 6183 h 45707"/>
              <a:gd name="T50" fmla="*/ 8139 w 39624"/>
              <a:gd name="T51" fmla="*/ 8248 h 45707"/>
              <a:gd name="T52" fmla="*/ 6103 w 39624"/>
              <a:gd name="T53" fmla="*/ 9276 h 45707"/>
              <a:gd name="T54" fmla="*/ 6103 w 39624"/>
              <a:gd name="T55" fmla="*/ 12368 h 45707"/>
              <a:gd name="T56" fmla="*/ 8139 w 39624"/>
              <a:gd name="T57" fmla="*/ 8248 h 45707"/>
              <a:gd name="T58" fmla="*/ 31597 w 39624"/>
              <a:gd name="T59" fmla="*/ 8248 h 45707"/>
              <a:gd name="T60" fmla="*/ 33634 w 39624"/>
              <a:gd name="T61" fmla="*/ 12368 h 45707"/>
              <a:gd name="T62" fmla="*/ 33634 w 39624"/>
              <a:gd name="T63" fmla="*/ 9276 h 45707"/>
              <a:gd name="T64" fmla="*/ 31597 w 39624"/>
              <a:gd name="T65" fmla="*/ 8248 h 45707"/>
              <a:gd name="T66" fmla="*/ 9161 w 39624"/>
              <a:gd name="T67" fmla="*/ 6183 h 45707"/>
              <a:gd name="T68" fmla="*/ 6103 w 39624"/>
              <a:gd name="T69" fmla="*/ 9276 h 45707"/>
              <a:gd name="T70" fmla="*/ 8139 w 39624"/>
              <a:gd name="T71" fmla="*/ 8248 h 45707"/>
              <a:gd name="T72" fmla="*/ 9161 w 39624"/>
              <a:gd name="T73" fmla="*/ 6183 h 45707"/>
              <a:gd name="T74" fmla="*/ 30577 w 39624"/>
              <a:gd name="T75" fmla="*/ 6183 h 45707"/>
              <a:gd name="T76" fmla="*/ 31597 w 39624"/>
              <a:gd name="T77" fmla="*/ 8248 h 45707"/>
              <a:gd name="T78" fmla="*/ 33634 w 39624"/>
              <a:gd name="T79" fmla="*/ 9276 h 45707"/>
              <a:gd name="T80" fmla="*/ 30577 w 39624"/>
              <a:gd name="T81" fmla="*/ 6183 h 45707"/>
              <a:gd name="T82" fmla="*/ 12230 w 39624"/>
              <a:gd name="T83" fmla="*/ 6183 h 45707"/>
              <a:gd name="T84" fmla="*/ 9161 w 39624"/>
              <a:gd name="T85" fmla="*/ 6183 h 45707"/>
              <a:gd name="T86" fmla="*/ 8139 w 39624"/>
              <a:gd name="T87" fmla="*/ 8248 h 45707"/>
              <a:gd name="T88" fmla="*/ 12230 w 39624"/>
              <a:gd name="T89" fmla="*/ 6183 h 45707"/>
              <a:gd name="T90" fmla="*/ 30577 w 39624"/>
              <a:gd name="T91" fmla="*/ 6183 h 45707"/>
              <a:gd name="T92" fmla="*/ 27507 w 39624"/>
              <a:gd name="T93" fmla="*/ 6183 h 45707"/>
              <a:gd name="T94" fmla="*/ 31597 w 39624"/>
              <a:gd name="T95" fmla="*/ 8248 h 45707"/>
              <a:gd name="T96" fmla="*/ 30577 w 39624"/>
              <a:gd name="T97" fmla="*/ 6183 h 4570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624" h="45707">
                <a:moveTo>
                  <a:pt x="30480" y="0"/>
                </a:moveTo>
                <a:lnTo>
                  <a:pt x="9131" y="0"/>
                </a:lnTo>
                <a:lnTo>
                  <a:pt x="3048" y="3047"/>
                </a:lnTo>
                <a:lnTo>
                  <a:pt x="0" y="9143"/>
                </a:lnTo>
                <a:lnTo>
                  <a:pt x="0" y="39611"/>
                </a:lnTo>
                <a:lnTo>
                  <a:pt x="3048" y="42659"/>
                </a:lnTo>
                <a:lnTo>
                  <a:pt x="3048" y="45707"/>
                </a:lnTo>
                <a:lnTo>
                  <a:pt x="36563" y="45707"/>
                </a:lnTo>
                <a:lnTo>
                  <a:pt x="36563" y="42659"/>
                </a:lnTo>
                <a:lnTo>
                  <a:pt x="39624" y="39611"/>
                </a:lnTo>
                <a:lnTo>
                  <a:pt x="9131" y="39611"/>
                </a:lnTo>
                <a:lnTo>
                  <a:pt x="6083" y="36563"/>
                </a:lnTo>
                <a:lnTo>
                  <a:pt x="6083" y="9143"/>
                </a:lnTo>
                <a:lnTo>
                  <a:pt x="9131" y="6095"/>
                </a:lnTo>
                <a:lnTo>
                  <a:pt x="38093" y="6095"/>
                </a:lnTo>
                <a:lnTo>
                  <a:pt x="36563" y="3047"/>
                </a:lnTo>
                <a:lnTo>
                  <a:pt x="30480" y="0"/>
                </a:lnTo>
                <a:close/>
              </a:path>
              <a:path w="39624" h="45707">
                <a:moveTo>
                  <a:pt x="38093" y="6095"/>
                </a:moveTo>
                <a:lnTo>
                  <a:pt x="30480" y="6095"/>
                </a:lnTo>
                <a:lnTo>
                  <a:pt x="33528" y="9143"/>
                </a:lnTo>
                <a:lnTo>
                  <a:pt x="33528" y="36563"/>
                </a:lnTo>
                <a:lnTo>
                  <a:pt x="30480" y="39611"/>
                </a:lnTo>
                <a:lnTo>
                  <a:pt x="39624" y="39611"/>
                </a:lnTo>
                <a:lnTo>
                  <a:pt x="39624" y="9143"/>
                </a:lnTo>
                <a:lnTo>
                  <a:pt x="38093" y="6095"/>
                </a:lnTo>
                <a:close/>
              </a:path>
              <a:path w="39624" h="45707">
                <a:moveTo>
                  <a:pt x="8113" y="8130"/>
                </a:moveTo>
                <a:lnTo>
                  <a:pt x="6083" y="9143"/>
                </a:lnTo>
                <a:lnTo>
                  <a:pt x="6083" y="12191"/>
                </a:lnTo>
                <a:lnTo>
                  <a:pt x="8113" y="8130"/>
                </a:lnTo>
                <a:close/>
              </a:path>
              <a:path w="39624" h="45707">
                <a:moveTo>
                  <a:pt x="31497" y="8130"/>
                </a:moveTo>
                <a:lnTo>
                  <a:pt x="33528" y="12191"/>
                </a:lnTo>
                <a:lnTo>
                  <a:pt x="33528" y="9143"/>
                </a:lnTo>
                <a:lnTo>
                  <a:pt x="31497" y="8130"/>
                </a:lnTo>
                <a:close/>
              </a:path>
              <a:path w="39624" h="45707">
                <a:moveTo>
                  <a:pt x="9131" y="6095"/>
                </a:moveTo>
                <a:lnTo>
                  <a:pt x="6083" y="9143"/>
                </a:lnTo>
                <a:lnTo>
                  <a:pt x="8113" y="8130"/>
                </a:lnTo>
                <a:lnTo>
                  <a:pt x="9131" y="6095"/>
                </a:lnTo>
                <a:close/>
              </a:path>
              <a:path w="39624" h="45707">
                <a:moveTo>
                  <a:pt x="30480" y="6095"/>
                </a:moveTo>
                <a:lnTo>
                  <a:pt x="31497" y="8130"/>
                </a:lnTo>
                <a:lnTo>
                  <a:pt x="33528" y="9143"/>
                </a:lnTo>
                <a:lnTo>
                  <a:pt x="30480" y="6095"/>
                </a:lnTo>
                <a:close/>
              </a:path>
              <a:path w="39624" h="45707">
                <a:moveTo>
                  <a:pt x="12192" y="6095"/>
                </a:moveTo>
                <a:lnTo>
                  <a:pt x="9131" y="6095"/>
                </a:lnTo>
                <a:lnTo>
                  <a:pt x="8113" y="8130"/>
                </a:lnTo>
                <a:lnTo>
                  <a:pt x="12192" y="6095"/>
                </a:lnTo>
                <a:close/>
              </a:path>
              <a:path w="39624" h="45707">
                <a:moveTo>
                  <a:pt x="30480" y="6095"/>
                </a:moveTo>
                <a:lnTo>
                  <a:pt x="27419" y="6095"/>
                </a:lnTo>
                <a:lnTo>
                  <a:pt x="31497" y="8130"/>
                </a:lnTo>
                <a:lnTo>
                  <a:pt x="30480"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50" name="object 240">
            <a:extLst>
              <a:ext uri="{FF2B5EF4-FFF2-40B4-BE49-F238E27FC236}">
                <a16:creationId xmlns:a16="http://schemas.microsoft.com/office/drawing/2014/main" id="{4FD0C474-BF11-44A5-A25C-C070D980191C}"/>
              </a:ext>
            </a:extLst>
          </p:cNvPr>
          <p:cNvSpPr>
            <a:spLocks/>
          </p:cNvSpPr>
          <p:nvPr/>
        </p:nvSpPr>
        <p:spPr bwMode="auto">
          <a:xfrm>
            <a:off x="1721368" y="4700877"/>
            <a:ext cx="946150" cy="277813"/>
          </a:xfrm>
          <a:custGeom>
            <a:avLst/>
            <a:gdLst>
              <a:gd name="T0" fmla="*/ 901566 w 944880"/>
              <a:gd name="T1" fmla="*/ 0 h 277355"/>
              <a:gd name="T2" fmla="*/ 44542 w 944880"/>
              <a:gd name="T3" fmla="*/ 17 h 277355"/>
              <a:gd name="T4" fmla="*/ 8791 w 944880"/>
              <a:gd name="T5" fmla="*/ 18232 h 277355"/>
              <a:gd name="T6" fmla="*/ 0 w 944880"/>
              <a:gd name="T7" fmla="*/ 45858 h 277355"/>
              <a:gd name="T8" fmla="*/ 0 w 944880"/>
              <a:gd name="T9" fmla="*/ 229342 h 277355"/>
              <a:gd name="T10" fmla="*/ 20296 w 944880"/>
              <a:gd name="T11" fmla="*/ 269839 h 277355"/>
              <a:gd name="T12" fmla="*/ 45843 w 944880"/>
              <a:gd name="T13" fmla="*/ 278272 h 277355"/>
              <a:gd name="T14" fmla="*/ 901566 w 944880"/>
              <a:gd name="T15" fmla="*/ 278272 h 277355"/>
              <a:gd name="T16" fmla="*/ 939159 w 944880"/>
              <a:gd name="T17" fmla="*/ 257224 h 277355"/>
              <a:gd name="T18" fmla="*/ 947422 w 944880"/>
              <a:gd name="T19" fmla="*/ 229342 h 277355"/>
              <a:gd name="T20" fmla="*/ 947401 w 944880"/>
              <a:gd name="T21" fmla="*/ 44389 h 277355"/>
              <a:gd name="T22" fmla="*/ 927857 w 944880"/>
              <a:gd name="T23" fmla="*/ 7937 h 277355"/>
              <a:gd name="T24" fmla="*/ 901566 w 944880"/>
              <a:gd name="T25" fmla="*/ 0 h 27735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44880" h="277355">
                <a:moveTo>
                  <a:pt x="899147" y="0"/>
                </a:moveTo>
                <a:lnTo>
                  <a:pt x="44422" y="17"/>
                </a:lnTo>
                <a:lnTo>
                  <a:pt x="8767" y="18172"/>
                </a:lnTo>
                <a:lnTo>
                  <a:pt x="0" y="45707"/>
                </a:lnTo>
                <a:lnTo>
                  <a:pt x="0" y="228587"/>
                </a:lnTo>
                <a:lnTo>
                  <a:pt x="20242" y="268950"/>
                </a:lnTo>
                <a:lnTo>
                  <a:pt x="45720" y="277355"/>
                </a:lnTo>
                <a:lnTo>
                  <a:pt x="899147" y="277355"/>
                </a:lnTo>
                <a:lnTo>
                  <a:pt x="936639" y="256377"/>
                </a:lnTo>
                <a:lnTo>
                  <a:pt x="944880" y="228587"/>
                </a:lnTo>
                <a:lnTo>
                  <a:pt x="944859" y="44243"/>
                </a:lnTo>
                <a:lnTo>
                  <a:pt x="925368" y="7911"/>
                </a:lnTo>
                <a:lnTo>
                  <a:pt x="899147" y="0"/>
                </a:lnTo>
                <a:close/>
              </a:path>
            </a:pathLst>
          </a:custGeom>
          <a:solidFill>
            <a:srgbClr val="869AA9"/>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51" name="object 241">
            <a:extLst>
              <a:ext uri="{FF2B5EF4-FFF2-40B4-BE49-F238E27FC236}">
                <a16:creationId xmlns:a16="http://schemas.microsoft.com/office/drawing/2014/main" id="{49952E5F-BCFC-4DDB-B2F8-D66B0BD37715}"/>
              </a:ext>
            </a:extLst>
          </p:cNvPr>
          <p:cNvSpPr>
            <a:spLocks/>
          </p:cNvSpPr>
          <p:nvPr/>
        </p:nvSpPr>
        <p:spPr bwMode="auto">
          <a:xfrm>
            <a:off x="1719781" y="4694527"/>
            <a:ext cx="952500" cy="287338"/>
          </a:xfrm>
          <a:custGeom>
            <a:avLst/>
            <a:gdLst>
              <a:gd name="T0" fmla="*/ 12154 w 954011"/>
              <a:gd name="T1" fmla="*/ 15329 h 286499"/>
              <a:gd name="T2" fmla="*/ 6063 w 954011"/>
              <a:gd name="T3" fmla="*/ 21460 h 286499"/>
              <a:gd name="T4" fmla="*/ 3025 w 954011"/>
              <a:gd name="T5" fmla="*/ 30645 h 286499"/>
              <a:gd name="T6" fmla="*/ 0 w 954011"/>
              <a:gd name="T7" fmla="*/ 39855 h 286499"/>
              <a:gd name="T8" fmla="*/ 6063 w 954011"/>
              <a:gd name="T9" fmla="*/ 266719 h 286499"/>
              <a:gd name="T10" fmla="*/ 12154 w 954011"/>
              <a:gd name="T11" fmla="*/ 272850 h 286499"/>
              <a:gd name="T12" fmla="*/ 21255 w 954011"/>
              <a:gd name="T13" fmla="*/ 278969 h 286499"/>
              <a:gd name="T14" fmla="*/ 39485 w 954011"/>
              <a:gd name="T15" fmla="*/ 288179 h 286499"/>
              <a:gd name="T16" fmla="*/ 917569 w 954011"/>
              <a:gd name="T17" fmla="*/ 285114 h 286499"/>
              <a:gd name="T18" fmla="*/ 926685 w 954011"/>
              <a:gd name="T19" fmla="*/ 278969 h 286499"/>
              <a:gd name="T20" fmla="*/ 33422 w 954011"/>
              <a:gd name="T21" fmla="*/ 275903 h 286499"/>
              <a:gd name="T22" fmla="*/ 15179 w 954011"/>
              <a:gd name="T23" fmla="*/ 260574 h 286499"/>
              <a:gd name="T24" fmla="*/ 9103 w 954011"/>
              <a:gd name="T25" fmla="*/ 245257 h 286499"/>
              <a:gd name="T26" fmla="*/ 12154 w 954011"/>
              <a:gd name="T27" fmla="*/ 33723 h 286499"/>
              <a:gd name="T28" fmla="*/ 15179 w 954011"/>
              <a:gd name="T29" fmla="*/ 27580 h 286499"/>
              <a:gd name="T30" fmla="*/ 944928 w 954011"/>
              <a:gd name="T31" fmla="*/ 33723 h 286499"/>
              <a:gd name="T32" fmla="*/ 938838 w 954011"/>
              <a:gd name="T33" fmla="*/ 42921 h 286499"/>
              <a:gd name="T34" fmla="*/ 935812 w 954011"/>
              <a:gd name="T35" fmla="*/ 254455 h 286499"/>
              <a:gd name="T36" fmla="*/ 926685 w 954011"/>
              <a:gd name="T37" fmla="*/ 266719 h 286499"/>
              <a:gd name="T38" fmla="*/ 920608 w 954011"/>
              <a:gd name="T39" fmla="*/ 272850 h 286499"/>
              <a:gd name="T40" fmla="*/ 905416 w 954011"/>
              <a:gd name="T41" fmla="*/ 278969 h 286499"/>
              <a:gd name="T42" fmla="*/ 935812 w 954011"/>
              <a:gd name="T43" fmla="*/ 272850 h 286499"/>
              <a:gd name="T44" fmla="*/ 947953 w 954011"/>
              <a:gd name="T45" fmla="*/ 248323 h 286499"/>
              <a:gd name="T46" fmla="*/ 950991 w 954011"/>
              <a:gd name="T47" fmla="*/ 52107 h 286499"/>
              <a:gd name="T48" fmla="*/ 947953 w 954011"/>
              <a:gd name="T49" fmla="*/ 39855 h 286499"/>
              <a:gd name="T50" fmla="*/ 13160 w 954011"/>
              <a:gd name="T51" fmla="*/ 33723 h 286499"/>
              <a:gd name="T52" fmla="*/ 12154 w 954011"/>
              <a:gd name="T53" fmla="*/ 36789 h 286499"/>
              <a:gd name="T54" fmla="*/ 935812 w 954011"/>
              <a:gd name="T55" fmla="*/ 15329 h 286499"/>
              <a:gd name="T56" fmla="*/ 929723 w 954011"/>
              <a:gd name="T57" fmla="*/ 21460 h 286499"/>
              <a:gd name="T58" fmla="*/ 932761 w 954011"/>
              <a:gd name="T59" fmla="*/ 27580 h 286499"/>
              <a:gd name="T60" fmla="*/ 935812 w 954011"/>
              <a:gd name="T61" fmla="*/ 33723 h 286499"/>
              <a:gd name="T62" fmla="*/ 944928 w 954011"/>
              <a:gd name="T63" fmla="*/ 30645 h 286499"/>
              <a:gd name="T64" fmla="*/ 941876 w 954011"/>
              <a:gd name="T65" fmla="*/ 21460 h 286499"/>
              <a:gd name="T66" fmla="*/ 908455 w 954011"/>
              <a:gd name="T67" fmla="*/ 0 h 286499"/>
              <a:gd name="T68" fmla="*/ 30371 w 954011"/>
              <a:gd name="T69" fmla="*/ 3065 h 286499"/>
              <a:gd name="T70" fmla="*/ 15179 w 954011"/>
              <a:gd name="T71" fmla="*/ 15329 h 286499"/>
              <a:gd name="T72" fmla="*/ 27333 w 954011"/>
              <a:gd name="T73" fmla="*/ 18395 h 286499"/>
              <a:gd name="T74" fmla="*/ 42524 w 954011"/>
              <a:gd name="T75" fmla="*/ 9185 h 286499"/>
              <a:gd name="T76" fmla="*/ 920608 w 954011"/>
              <a:gd name="T77" fmla="*/ 3065 h 286499"/>
              <a:gd name="T78" fmla="*/ 908455 w 954011"/>
              <a:gd name="T79" fmla="*/ 0 h 286499"/>
              <a:gd name="T80" fmla="*/ 905416 w 954011"/>
              <a:gd name="T81" fmla="*/ 9185 h 286499"/>
              <a:gd name="T82" fmla="*/ 923646 w 954011"/>
              <a:gd name="T83" fmla="*/ 18395 h 286499"/>
              <a:gd name="T84" fmla="*/ 935812 w 954011"/>
              <a:gd name="T85" fmla="*/ 15329 h 286499"/>
              <a:gd name="T86" fmla="*/ 48601 w 954011"/>
              <a:gd name="T87" fmla="*/ 9185 h 286499"/>
              <a:gd name="T88" fmla="*/ 39485 w 954011"/>
              <a:gd name="T89" fmla="*/ 12251 h 286499"/>
              <a:gd name="T90" fmla="*/ 905416 w 954011"/>
              <a:gd name="T91" fmla="*/ 9185 h 286499"/>
              <a:gd name="T92" fmla="*/ 908455 w 954011"/>
              <a:gd name="T93" fmla="*/ 12251 h 28649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954011" h="286499">
                <a:moveTo>
                  <a:pt x="27419" y="15239"/>
                </a:moveTo>
                <a:lnTo>
                  <a:pt x="12192" y="15239"/>
                </a:lnTo>
                <a:lnTo>
                  <a:pt x="9131" y="21335"/>
                </a:lnTo>
                <a:lnTo>
                  <a:pt x="6083" y="21335"/>
                </a:lnTo>
                <a:lnTo>
                  <a:pt x="6083" y="24383"/>
                </a:lnTo>
                <a:lnTo>
                  <a:pt x="3035" y="30467"/>
                </a:lnTo>
                <a:lnTo>
                  <a:pt x="3035" y="33527"/>
                </a:lnTo>
                <a:lnTo>
                  <a:pt x="0" y="39623"/>
                </a:lnTo>
                <a:lnTo>
                  <a:pt x="0" y="246875"/>
                </a:lnTo>
                <a:lnTo>
                  <a:pt x="6083" y="265163"/>
                </a:lnTo>
                <a:lnTo>
                  <a:pt x="9131" y="265163"/>
                </a:lnTo>
                <a:lnTo>
                  <a:pt x="12192" y="271259"/>
                </a:lnTo>
                <a:lnTo>
                  <a:pt x="15227" y="271259"/>
                </a:lnTo>
                <a:lnTo>
                  <a:pt x="21323" y="277342"/>
                </a:lnTo>
                <a:lnTo>
                  <a:pt x="30467" y="283451"/>
                </a:lnTo>
                <a:lnTo>
                  <a:pt x="39611" y="286499"/>
                </a:lnTo>
                <a:lnTo>
                  <a:pt x="911339" y="286499"/>
                </a:lnTo>
                <a:lnTo>
                  <a:pt x="920483" y="283451"/>
                </a:lnTo>
                <a:lnTo>
                  <a:pt x="923531" y="283451"/>
                </a:lnTo>
                <a:lnTo>
                  <a:pt x="929627" y="277342"/>
                </a:lnTo>
                <a:lnTo>
                  <a:pt x="42659" y="277342"/>
                </a:lnTo>
                <a:lnTo>
                  <a:pt x="33528" y="274294"/>
                </a:lnTo>
                <a:lnTo>
                  <a:pt x="27419" y="271259"/>
                </a:lnTo>
                <a:lnTo>
                  <a:pt x="15227" y="259054"/>
                </a:lnTo>
                <a:lnTo>
                  <a:pt x="12192" y="252971"/>
                </a:lnTo>
                <a:lnTo>
                  <a:pt x="9131" y="243827"/>
                </a:lnTo>
                <a:lnTo>
                  <a:pt x="9131" y="42671"/>
                </a:lnTo>
                <a:lnTo>
                  <a:pt x="12192" y="33527"/>
                </a:lnTo>
                <a:lnTo>
                  <a:pt x="13202" y="33527"/>
                </a:lnTo>
                <a:lnTo>
                  <a:pt x="15227" y="27419"/>
                </a:lnTo>
                <a:lnTo>
                  <a:pt x="27419" y="15239"/>
                </a:lnTo>
                <a:close/>
              </a:path>
              <a:path w="954011" h="286499">
                <a:moveTo>
                  <a:pt x="947928" y="33527"/>
                </a:moveTo>
                <a:lnTo>
                  <a:pt x="938784" y="33527"/>
                </a:lnTo>
                <a:lnTo>
                  <a:pt x="941819" y="42671"/>
                </a:lnTo>
                <a:lnTo>
                  <a:pt x="941819" y="243827"/>
                </a:lnTo>
                <a:lnTo>
                  <a:pt x="938784" y="252971"/>
                </a:lnTo>
                <a:lnTo>
                  <a:pt x="935723" y="259054"/>
                </a:lnTo>
                <a:lnTo>
                  <a:pt x="929627" y="265163"/>
                </a:lnTo>
                <a:lnTo>
                  <a:pt x="932675" y="265163"/>
                </a:lnTo>
                <a:lnTo>
                  <a:pt x="923531" y="271259"/>
                </a:lnTo>
                <a:lnTo>
                  <a:pt x="926579" y="271259"/>
                </a:lnTo>
                <a:lnTo>
                  <a:pt x="908291" y="277342"/>
                </a:lnTo>
                <a:lnTo>
                  <a:pt x="929627" y="277342"/>
                </a:lnTo>
                <a:lnTo>
                  <a:pt x="938784" y="271259"/>
                </a:lnTo>
                <a:lnTo>
                  <a:pt x="944867" y="265163"/>
                </a:lnTo>
                <a:lnTo>
                  <a:pt x="950963" y="246875"/>
                </a:lnTo>
                <a:lnTo>
                  <a:pt x="954011" y="234683"/>
                </a:lnTo>
                <a:lnTo>
                  <a:pt x="954011" y="51803"/>
                </a:lnTo>
                <a:lnTo>
                  <a:pt x="950963" y="42671"/>
                </a:lnTo>
                <a:lnTo>
                  <a:pt x="950963" y="39623"/>
                </a:lnTo>
                <a:lnTo>
                  <a:pt x="947928" y="33527"/>
                </a:lnTo>
                <a:close/>
              </a:path>
              <a:path w="954011" h="286499">
                <a:moveTo>
                  <a:pt x="13202" y="33527"/>
                </a:moveTo>
                <a:lnTo>
                  <a:pt x="12192" y="33527"/>
                </a:lnTo>
                <a:lnTo>
                  <a:pt x="12192" y="36575"/>
                </a:lnTo>
                <a:lnTo>
                  <a:pt x="13202" y="33527"/>
                </a:lnTo>
                <a:close/>
              </a:path>
              <a:path w="954011" h="286499">
                <a:moveTo>
                  <a:pt x="938784" y="15239"/>
                </a:moveTo>
                <a:lnTo>
                  <a:pt x="923531" y="15239"/>
                </a:lnTo>
                <a:lnTo>
                  <a:pt x="932675" y="21335"/>
                </a:lnTo>
                <a:lnTo>
                  <a:pt x="929627" y="21335"/>
                </a:lnTo>
                <a:lnTo>
                  <a:pt x="935723" y="27419"/>
                </a:lnTo>
                <a:lnTo>
                  <a:pt x="938784" y="36575"/>
                </a:lnTo>
                <a:lnTo>
                  <a:pt x="938784" y="33527"/>
                </a:lnTo>
                <a:lnTo>
                  <a:pt x="947928" y="33527"/>
                </a:lnTo>
                <a:lnTo>
                  <a:pt x="947928" y="30467"/>
                </a:lnTo>
                <a:lnTo>
                  <a:pt x="944867" y="24383"/>
                </a:lnTo>
                <a:lnTo>
                  <a:pt x="944867" y="21335"/>
                </a:lnTo>
                <a:lnTo>
                  <a:pt x="938784" y="15239"/>
                </a:lnTo>
                <a:close/>
              </a:path>
              <a:path w="954011" h="286499">
                <a:moveTo>
                  <a:pt x="911339" y="0"/>
                </a:moveTo>
                <a:lnTo>
                  <a:pt x="39611" y="0"/>
                </a:lnTo>
                <a:lnTo>
                  <a:pt x="30467" y="3047"/>
                </a:lnTo>
                <a:lnTo>
                  <a:pt x="21323" y="9131"/>
                </a:lnTo>
                <a:lnTo>
                  <a:pt x="15227" y="15239"/>
                </a:lnTo>
                <a:lnTo>
                  <a:pt x="27419" y="15239"/>
                </a:lnTo>
                <a:lnTo>
                  <a:pt x="27419" y="18287"/>
                </a:lnTo>
                <a:lnTo>
                  <a:pt x="33528" y="12179"/>
                </a:lnTo>
                <a:lnTo>
                  <a:pt x="42659" y="9131"/>
                </a:lnTo>
                <a:lnTo>
                  <a:pt x="929627" y="9131"/>
                </a:lnTo>
                <a:lnTo>
                  <a:pt x="923531" y="3047"/>
                </a:lnTo>
                <a:lnTo>
                  <a:pt x="920483" y="3047"/>
                </a:lnTo>
                <a:lnTo>
                  <a:pt x="911339" y="0"/>
                </a:lnTo>
                <a:close/>
              </a:path>
              <a:path w="954011" h="286499">
                <a:moveTo>
                  <a:pt x="929627" y="9131"/>
                </a:moveTo>
                <a:lnTo>
                  <a:pt x="908291" y="9131"/>
                </a:lnTo>
                <a:lnTo>
                  <a:pt x="917435" y="12179"/>
                </a:lnTo>
                <a:lnTo>
                  <a:pt x="926579" y="18287"/>
                </a:lnTo>
                <a:lnTo>
                  <a:pt x="923531" y="15239"/>
                </a:lnTo>
                <a:lnTo>
                  <a:pt x="938784" y="15239"/>
                </a:lnTo>
                <a:lnTo>
                  <a:pt x="929627" y="9131"/>
                </a:lnTo>
                <a:close/>
              </a:path>
              <a:path w="954011" h="286499">
                <a:moveTo>
                  <a:pt x="48755" y="9131"/>
                </a:moveTo>
                <a:lnTo>
                  <a:pt x="42659" y="9131"/>
                </a:lnTo>
                <a:lnTo>
                  <a:pt x="39611" y="12179"/>
                </a:lnTo>
                <a:lnTo>
                  <a:pt x="48755" y="9131"/>
                </a:lnTo>
                <a:close/>
              </a:path>
              <a:path w="954011" h="286499">
                <a:moveTo>
                  <a:pt x="908291" y="9131"/>
                </a:moveTo>
                <a:lnTo>
                  <a:pt x="902195" y="9131"/>
                </a:lnTo>
                <a:lnTo>
                  <a:pt x="911339" y="12179"/>
                </a:lnTo>
                <a:lnTo>
                  <a:pt x="908291" y="91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152" name="object 242">
            <a:extLst>
              <a:ext uri="{FF2B5EF4-FFF2-40B4-BE49-F238E27FC236}">
                <a16:creationId xmlns:a16="http://schemas.microsoft.com/office/drawing/2014/main" id="{AB361C5F-A185-4879-AC2A-4CF8571EE7DB}"/>
              </a:ext>
            </a:extLst>
          </p:cNvPr>
          <p:cNvSpPr>
            <a:spLocks noChangeArrowheads="1"/>
          </p:cNvSpPr>
          <p:nvPr/>
        </p:nvSpPr>
        <p:spPr bwMode="auto">
          <a:xfrm>
            <a:off x="1730893" y="4697702"/>
            <a:ext cx="185738" cy="201613"/>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153" name="object 253">
            <a:extLst>
              <a:ext uri="{FF2B5EF4-FFF2-40B4-BE49-F238E27FC236}">
                <a16:creationId xmlns:a16="http://schemas.microsoft.com/office/drawing/2014/main" id="{85891C89-F012-472F-9AFE-13B47AAF189F}"/>
              </a:ext>
            </a:extLst>
          </p:cNvPr>
          <p:cNvSpPr txBox="1"/>
          <p:nvPr/>
        </p:nvSpPr>
        <p:spPr>
          <a:xfrm>
            <a:off x="9311206" y="5102515"/>
            <a:ext cx="930275" cy="212725"/>
          </a:xfrm>
          <a:prstGeom prst="rect">
            <a:avLst/>
          </a:prstGeom>
        </p:spPr>
        <p:txBody>
          <a:bodyPr lIns="0" tIns="0" rIns="0" bIns="0"/>
          <a:lstStyle/>
          <a:p>
            <a:pPr marL="12700">
              <a:lnSpc>
                <a:spcPts val="1270"/>
              </a:lnSpc>
              <a:spcBef>
                <a:spcPts val="1"/>
              </a:spcBef>
              <a:defRPr/>
            </a:pPr>
            <a:r>
              <a:rPr sz="1575" spc="-9" baseline="-2760" dirty="0">
                <a:latin typeface="Arial"/>
                <a:cs typeface="Arial"/>
              </a:rPr>
              <a:t>E</a:t>
            </a:r>
            <a:r>
              <a:rPr sz="1575" spc="9" baseline="-2760" dirty="0">
                <a:latin typeface="Arial"/>
                <a:cs typeface="Arial"/>
              </a:rPr>
              <a:t>M</a:t>
            </a:r>
            <a:r>
              <a:rPr sz="1575" spc="-9" baseline="-2760" dirty="0">
                <a:latin typeface="Arial"/>
                <a:cs typeface="Arial"/>
              </a:rPr>
              <a:t>S</a:t>
            </a:r>
            <a:r>
              <a:rPr sz="1575" baseline="-2152" dirty="0">
                <a:latin typeface=""/>
              </a:rPr>
              <a:t>监控系统</a:t>
            </a:r>
            <a:endParaRPr sz="1050" dirty="0">
              <a:latin typeface="宋体"/>
              <a:cs typeface="宋体"/>
            </a:endParaRPr>
          </a:p>
        </p:txBody>
      </p:sp>
      <p:sp>
        <p:nvSpPr>
          <p:cNvPr id="154" name="object 254">
            <a:extLst>
              <a:ext uri="{FF2B5EF4-FFF2-40B4-BE49-F238E27FC236}">
                <a16:creationId xmlns:a16="http://schemas.microsoft.com/office/drawing/2014/main" id="{B869E650-D86C-4059-BDAC-04F019B52389}"/>
              </a:ext>
            </a:extLst>
          </p:cNvPr>
          <p:cNvSpPr txBox="1"/>
          <p:nvPr/>
        </p:nvSpPr>
        <p:spPr>
          <a:xfrm>
            <a:off x="1980131" y="4756440"/>
            <a:ext cx="596900" cy="158750"/>
          </a:xfrm>
          <a:prstGeom prst="rect">
            <a:avLst/>
          </a:prstGeom>
        </p:spPr>
        <p:txBody>
          <a:bodyPr lIns="0" tIns="0" rIns="0" bIns="0"/>
          <a:lstStyle/>
          <a:p>
            <a:pPr marL="12700">
              <a:lnSpc>
                <a:spcPts val="1180"/>
              </a:lnSpc>
              <a:spcBef>
                <a:spcPts val="59"/>
              </a:spcBef>
              <a:defRPr/>
            </a:pPr>
            <a:r>
              <a:rPr sz="1050" spc="-9" dirty="0">
                <a:solidFill>
                  <a:srgbClr val="FFFFFF"/>
                </a:solidFill>
                <a:latin typeface="Arial"/>
                <a:cs typeface="Arial"/>
              </a:rPr>
              <a:t>Le</a:t>
            </a:r>
            <a:r>
              <a:rPr sz="1050" spc="19" dirty="0">
                <a:solidFill>
                  <a:srgbClr val="FFFFFF"/>
                </a:solidFill>
                <a:latin typeface="Arial"/>
                <a:cs typeface="Arial"/>
              </a:rPr>
              <a:t>v</a:t>
            </a:r>
            <a:r>
              <a:rPr sz="1050" spc="-9" dirty="0">
                <a:solidFill>
                  <a:srgbClr val="FFFFFF"/>
                </a:solidFill>
                <a:latin typeface="Arial"/>
                <a:cs typeface="Arial"/>
              </a:rPr>
              <a:t>e</a:t>
            </a:r>
            <a:r>
              <a:rPr sz="1050" dirty="0">
                <a:solidFill>
                  <a:srgbClr val="FFFFFF"/>
                </a:solidFill>
                <a:latin typeface="Arial"/>
                <a:cs typeface="Arial"/>
              </a:rPr>
              <a:t>l</a:t>
            </a:r>
            <a:r>
              <a:rPr sz="1050" spc="-14" dirty="0">
                <a:solidFill>
                  <a:srgbClr val="FFFFFF"/>
                </a:solidFill>
                <a:latin typeface="Arial"/>
                <a:cs typeface="Arial"/>
              </a:rPr>
              <a:t> </a:t>
            </a:r>
            <a:r>
              <a:rPr sz="1050" spc="-9" dirty="0">
                <a:solidFill>
                  <a:srgbClr val="FFFFFF"/>
                </a:solidFill>
                <a:latin typeface="Arial"/>
                <a:cs typeface="Arial"/>
              </a:rPr>
              <a:t>0,1</a:t>
            </a:r>
            <a:endParaRPr sz="1050" dirty="0">
              <a:latin typeface="Arial"/>
              <a:cs typeface="Arial"/>
            </a:endParaRPr>
          </a:p>
        </p:txBody>
      </p:sp>
      <p:sp>
        <p:nvSpPr>
          <p:cNvPr id="155" name="object 257">
            <a:extLst>
              <a:ext uri="{FF2B5EF4-FFF2-40B4-BE49-F238E27FC236}">
                <a16:creationId xmlns:a16="http://schemas.microsoft.com/office/drawing/2014/main" id="{B0CAFD67-A158-4538-9A49-CB69A15F715F}"/>
              </a:ext>
            </a:extLst>
          </p:cNvPr>
          <p:cNvSpPr txBox="1">
            <a:spLocks noChangeArrowheads="1"/>
          </p:cNvSpPr>
          <p:nvPr/>
        </p:nvSpPr>
        <p:spPr bwMode="auto">
          <a:xfrm>
            <a:off x="1800743" y="5040602"/>
            <a:ext cx="657225"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463">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950"/>
              </a:lnSpc>
              <a:spcBef>
                <a:spcPts val="50"/>
              </a:spcBef>
              <a:buFontTx/>
              <a:buNone/>
            </a:pPr>
            <a:r>
              <a:rPr lang="zh-CN" altLang="zh-CN" sz="800">
                <a:latin typeface="΢"/>
                <a:ea typeface="΢"/>
                <a:cs typeface="΢"/>
              </a:rPr>
              <a:t>现场 HMI</a:t>
            </a:r>
            <a:endParaRPr lang="zh-CN" altLang="zh-CN" sz="800">
              <a:latin typeface="微软雅黑" panose="020B0503020204020204" pitchFamily="34" charset="-122"/>
              <a:ea typeface="微软雅黑" panose="020B0503020204020204" pitchFamily="34" charset="-122"/>
            </a:endParaRPr>
          </a:p>
          <a:p>
            <a:pPr>
              <a:lnSpc>
                <a:spcPts val="1125"/>
              </a:lnSpc>
              <a:spcBef>
                <a:spcPts val="13"/>
              </a:spcBef>
              <a:buFontTx/>
              <a:buNone/>
            </a:pPr>
            <a:r>
              <a:rPr lang="zh-CN" altLang="zh-CN" sz="800">
                <a:latin typeface="΢"/>
                <a:ea typeface="΢"/>
                <a:cs typeface="΢"/>
              </a:rPr>
              <a:t>控制和现场层</a:t>
            </a:r>
            <a:endParaRPr lang="zh-CN" altLang="zh-CN" sz="800">
              <a:latin typeface="微软雅黑" panose="020B0503020204020204" pitchFamily="34" charset="-122"/>
              <a:ea typeface="微软雅黑" panose="020B0503020204020204" pitchFamily="34" charset="-122"/>
            </a:endParaRPr>
          </a:p>
        </p:txBody>
      </p:sp>
      <p:sp>
        <p:nvSpPr>
          <p:cNvPr id="156" name="object 262">
            <a:extLst>
              <a:ext uri="{FF2B5EF4-FFF2-40B4-BE49-F238E27FC236}">
                <a16:creationId xmlns:a16="http://schemas.microsoft.com/office/drawing/2014/main" id="{E58739A4-0435-4FB3-B130-C720467B81E8}"/>
              </a:ext>
            </a:extLst>
          </p:cNvPr>
          <p:cNvSpPr txBox="1">
            <a:spLocks noChangeArrowheads="1"/>
          </p:cNvSpPr>
          <p:nvPr/>
        </p:nvSpPr>
        <p:spPr bwMode="auto">
          <a:xfrm>
            <a:off x="9061968" y="3762665"/>
            <a:ext cx="2873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57" name="object 264">
            <a:extLst>
              <a:ext uri="{FF2B5EF4-FFF2-40B4-BE49-F238E27FC236}">
                <a16:creationId xmlns:a16="http://schemas.microsoft.com/office/drawing/2014/main" id="{DD662D90-04F3-4714-B278-5B7EA12B92D7}"/>
              </a:ext>
            </a:extLst>
          </p:cNvPr>
          <p:cNvSpPr txBox="1">
            <a:spLocks noChangeArrowheads="1"/>
          </p:cNvSpPr>
          <p:nvPr/>
        </p:nvSpPr>
        <p:spPr bwMode="auto">
          <a:xfrm>
            <a:off x="7052193" y="4115090"/>
            <a:ext cx="1295400" cy="217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58" name="object 265">
            <a:extLst>
              <a:ext uri="{FF2B5EF4-FFF2-40B4-BE49-F238E27FC236}">
                <a16:creationId xmlns:a16="http://schemas.microsoft.com/office/drawing/2014/main" id="{C4998F18-2511-42C0-BC4D-2167C0417E27}"/>
              </a:ext>
            </a:extLst>
          </p:cNvPr>
          <p:cNvSpPr txBox="1">
            <a:spLocks noChangeArrowheads="1"/>
          </p:cNvSpPr>
          <p:nvPr/>
        </p:nvSpPr>
        <p:spPr bwMode="auto">
          <a:xfrm>
            <a:off x="9061968" y="4115090"/>
            <a:ext cx="287338" cy="217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59" name="object 276">
            <a:extLst>
              <a:ext uri="{FF2B5EF4-FFF2-40B4-BE49-F238E27FC236}">
                <a16:creationId xmlns:a16="http://schemas.microsoft.com/office/drawing/2014/main" id="{E95CC7AE-BBCB-4AC3-8F0F-721EB0722C6B}"/>
              </a:ext>
            </a:extLst>
          </p:cNvPr>
          <p:cNvSpPr txBox="1">
            <a:spLocks noChangeArrowheads="1"/>
          </p:cNvSpPr>
          <p:nvPr/>
        </p:nvSpPr>
        <p:spPr bwMode="auto">
          <a:xfrm>
            <a:off x="2873893" y="3773777"/>
            <a:ext cx="288925"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60" name="object 277">
            <a:extLst>
              <a:ext uri="{FF2B5EF4-FFF2-40B4-BE49-F238E27FC236}">
                <a16:creationId xmlns:a16="http://schemas.microsoft.com/office/drawing/2014/main" id="{D1D973F4-D0FC-4DFE-87B0-930700BEC111}"/>
              </a:ext>
            </a:extLst>
          </p:cNvPr>
          <p:cNvSpPr txBox="1">
            <a:spLocks noChangeArrowheads="1"/>
          </p:cNvSpPr>
          <p:nvPr/>
        </p:nvSpPr>
        <p:spPr bwMode="auto">
          <a:xfrm>
            <a:off x="3162818" y="4145252"/>
            <a:ext cx="1296988" cy="13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61" name="object 279">
            <a:extLst>
              <a:ext uri="{FF2B5EF4-FFF2-40B4-BE49-F238E27FC236}">
                <a16:creationId xmlns:a16="http://schemas.microsoft.com/office/drawing/2014/main" id="{A6DE0163-4433-47A8-BB20-5F180B607705}"/>
              </a:ext>
            </a:extLst>
          </p:cNvPr>
          <p:cNvSpPr txBox="1">
            <a:spLocks noChangeArrowheads="1"/>
          </p:cNvSpPr>
          <p:nvPr/>
        </p:nvSpPr>
        <p:spPr bwMode="auto">
          <a:xfrm>
            <a:off x="2873893" y="4124615"/>
            <a:ext cx="288925"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62" name="object 280">
            <a:extLst>
              <a:ext uri="{FF2B5EF4-FFF2-40B4-BE49-F238E27FC236}">
                <a16:creationId xmlns:a16="http://schemas.microsoft.com/office/drawing/2014/main" id="{DD2ABA40-8281-4174-9DBA-AD96035F45EF}"/>
              </a:ext>
            </a:extLst>
          </p:cNvPr>
          <p:cNvSpPr txBox="1">
            <a:spLocks noChangeArrowheads="1"/>
          </p:cNvSpPr>
          <p:nvPr/>
        </p:nvSpPr>
        <p:spPr bwMode="auto">
          <a:xfrm>
            <a:off x="3162818" y="4124615"/>
            <a:ext cx="129698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63" name="object 282">
            <a:extLst>
              <a:ext uri="{FF2B5EF4-FFF2-40B4-BE49-F238E27FC236}">
                <a16:creationId xmlns:a16="http://schemas.microsoft.com/office/drawing/2014/main" id="{8BE4A339-9736-419C-8B60-FDFE5609A017}"/>
              </a:ext>
            </a:extLst>
          </p:cNvPr>
          <p:cNvSpPr txBox="1">
            <a:spLocks noChangeArrowheads="1"/>
          </p:cNvSpPr>
          <p:nvPr/>
        </p:nvSpPr>
        <p:spPr bwMode="auto">
          <a:xfrm>
            <a:off x="3162818" y="4340515"/>
            <a:ext cx="1582738"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64" name="object 283">
            <a:extLst>
              <a:ext uri="{FF2B5EF4-FFF2-40B4-BE49-F238E27FC236}">
                <a16:creationId xmlns:a16="http://schemas.microsoft.com/office/drawing/2014/main" id="{F8B40C8C-2DC2-4662-ABF9-6C0D1152B437}"/>
              </a:ext>
            </a:extLst>
          </p:cNvPr>
          <p:cNvSpPr txBox="1">
            <a:spLocks noChangeArrowheads="1"/>
          </p:cNvSpPr>
          <p:nvPr/>
        </p:nvSpPr>
        <p:spPr bwMode="auto">
          <a:xfrm>
            <a:off x="3104081" y="5277140"/>
            <a:ext cx="500062"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463">
              <a:spcBef>
                <a:spcPct val="20000"/>
              </a:spcBef>
              <a:buChar char="•"/>
              <a:tabLst>
                <a:tab pos="800100" algn="l"/>
                <a:tab pos="1384300" algn="l"/>
              </a:tabLst>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tabLst>
                <a:tab pos="800100" algn="l"/>
                <a:tab pos="1384300" algn="l"/>
              </a:tabLst>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tabLst>
                <a:tab pos="800100" algn="l"/>
                <a:tab pos="1384300" algn="l"/>
              </a:tabLst>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9pPr>
          </a:lstStyle>
          <a:p>
            <a:pPr>
              <a:lnSpc>
                <a:spcPts val="875"/>
              </a:lnSpc>
              <a:spcBef>
                <a:spcPct val="0"/>
              </a:spcBef>
              <a:buFontTx/>
              <a:buNone/>
            </a:pPr>
            <a:r>
              <a:rPr lang="zh-CN" altLang="en-US" sz="800" dirty="0">
                <a:latin typeface="宋体" panose="02010600030101010101" pitchFamily="2" charset="-122"/>
              </a:rPr>
              <a:t>水系统</a:t>
            </a:r>
            <a:endParaRPr lang="zh-CN" altLang="zh-CN" sz="800" dirty="0">
              <a:latin typeface="宋体" panose="02010600030101010101" pitchFamily="2" charset="-122"/>
            </a:endParaRPr>
          </a:p>
        </p:txBody>
      </p:sp>
      <p:sp>
        <p:nvSpPr>
          <p:cNvPr id="165" name="object 291">
            <a:extLst>
              <a:ext uri="{FF2B5EF4-FFF2-40B4-BE49-F238E27FC236}">
                <a16:creationId xmlns:a16="http://schemas.microsoft.com/office/drawing/2014/main" id="{3C66BFA0-75FD-406E-A235-9287DA764D2C}"/>
              </a:ext>
            </a:extLst>
          </p:cNvPr>
          <p:cNvSpPr txBox="1"/>
          <p:nvPr/>
        </p:nvSpPr>
        <p:spPr>
          <a:xfrm>
            <a:off x="2381768" y="2173577"/>
            <a:ext cx="2644775" cy="103188"/>
          </a:xfrm>
          <a:prstGeom prst="rect">
            <a:avLst/>
          </a:prstGeom>
        </p:spPr>
        <p:txBody>
          <a:bodyPr lIns="0" tIns="0" rIns="0" bIns="0"/>
          <a:lstStyle/>
          <a:p>
            <a:pPr marL="451116">
              <a:lnSpc>
                <a:spcPts val="815"/>
              </a:lnSpc>
              <a:spcBef>
                <a:spcPts val="40"/>
              </a:spcBef>
              <a:defRPr/>
            </a:pPr>
            <a:r>
              <a:rPr sz="1500" spc="54" baseline="-20291" dirty="0">
                <a:latin typeface="Arial"/>
                <a:cs typeface="Arial"/>
              </a:rPr>
              <a:t>W</a:t>
            </a:r>
            <a:r>
              <a:rPr sz="1500" spc="-9" baseline="-20291" dirty="0">
                <a:latin typeface="Arial"/>
                <a:cs typeface="Arial"/>
              </a:rPr>
              <a:t>e</a:t>
            </a:r>
            <a:r>
              <a:rPr sz="1500" spc="-4" baseline="-20291" dirty="0">
                <a:latin typeface="Arial"/>
                <a:cs typeface="Arial"/>
              </a:rPr>
              <a:t>b</a:t>
            </a:r>
            <a:r>
              <a:rPr sz="1500" baseline="-15821" dirty="0">
                <a:latin typeface=""/>
              </a:rPr>
              <a:t>客户端</a:t>
            </a:r>
            <a:endParaRPr sz="1000" dirty="0">
              <a:latin typeface="宋体"/>
              <a:cs typeface="宋体"/>
            </a:endParaRPr>
          </a:p>
        </p:txBody>
      </p:sp>
      <p:sp>
        <p:nvSpPr>
          <p:cNvPr id="166" name="object 292">
            <a:extLst>
              <a:ext uri="{FF2B5EF4-FFF2-40B4-BE49-F238E27FC236}">
                <a16:creationId xmlns:a16="http://schemas.microsoft.com/office/drawing/2014/main" id="{1AD300CF-8BAB-4BFB-879D-20E82FEC0288}"/>
              </a:ext>
            </a:extLst>
          </p:cNvPr>
          <p:cNvSpPr txBox="1">
            <a:spLocks noChangeArrowheads="1"/>
          </p:cNvSpPr>
          <p:nvPr/>
        </p:nvSpPr>
        <p:spPr bwMode="auto">
          <a:xfrm>
            <a:off x="5034481" y="2179927"/>
            <a:ext cx="4318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67" name="object 294">
            <a:extLst>
              <a:ext uri="{FF2B5EF4-FFF2-40B4-BE49-F238E27FC236}">
                <a16:creationId xmlns:a16="http://schemas.microsoft.com/office/drawing/2014/main" id="{16667BE9-89E5-4C26-9165-D998041C700E}"/>
              </a:ext>
            </a:extLst>
          </p:cNvPr>
          <p:cNvSpPr txBox="1">
            <a:spLocks noChangeArrowheads="1"/>
          </p:cNvSpPr>
          <p:nvPr/>
        </p:nvSpPr>
        <p:spPr bwMode="auto">
          <a:xfrm>
            <a:off x="2402406" y="2283115"/>
            <a:ext cx="112712"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68" name="object 295">
            <a:extLst>
              <a:ext uri="{FF2B5EF4-FFF2-40B4-BE49-F238E27FC236}">
                <a16:creationId xmlns:a16="http://schemas.microsoft.com/office/drawing/2014/main" id="{5372AF3D-D833-4F0F-8E6A-51DA64E25875}"/>
              </a:ext>
            </a:extLst>
          </p:cNvPr>
          <p:cNvSpPr txBox="1">
            <a:spLocks noChangeArrowheads="1"/>
          </p:cNvSpPr>
          <p:nvPr/>
        </p:nvSpPr>
        <p:spPr bwMode="auto">
          <a:xfrm>
            <a:off x="2515118" y="2283115"/>
            <a:ext cx="2519363" cy="404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69" name="object 296">
            <a:extLst>
              <a:ext uri="{FF2B5EF4-FFF2-40B4-BE49-F238E27FC236}">
                <a16:creationId xmlns:a16="http://schemas.microsoft.com/office/drawing/2014/main" id="{96C21689-DD23-4032-9508-BE9A388F979E}"/>
              </a:ext>
            </a:extLst>
          </p:cNvPr>
          <p:cNvSpPr txBox="1">
            <a:spLocks noChangeArrowheads="1"/>
          </p:cNvSpPr>
          <p:nvPr/>
        </p:nvSpPr>
        <p:spPr bwMode="auto">
          <a:xfrm>
            <a:off x="5466281" y="2268827"/>
            <a:ext cx="1728787"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70" name="object 297">
            <a:extLst>
              <a:ext uri="{FF2B5EF4-FFF2-40B4-BE49-F238E27FC236}">
                <a16:creationId xmlns:a16="http://schemas.microsoft.com/office/drawing/2014/main" id="{97017200-156A-4085-9F12-6D6C273C8470}"/>
              </a:ext>
            </a:extLst>
          </p:cNvPr>
          <p:cNvSpPr txBox="1">
            <a:spLocks noChangeArrowheads="1"/>
          </p:cNvSpPr>
          <p:nvPr/>
        </p:nvSpPr>
        <p:spPr bwMode="auto">
          <a:xfrm>
            <a:off x="7195068" y="2268827"/>
            <a:ext cx="1833563"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71" name="object 298">
            <a:extLst>
              <a:ext uri="{FF2B5EF4-FFF2-40B4-BE49-F238E27FC236}">
                <a16:creationId xmlns:a16="http://schemas.microsoft.com/office/drawing/2014/main" id="{37C0DFB3-B248-41F2-AF79-BCB3A0CCAD2B}"/>
              </a:ext>
            </a:extLst>
          </p:cNvPr>
          <p:cNvSpPr txBox="1">
            <a:spLocks noChangeArrowheads="1"/>
          </p:cNvSpPr>
          <p:nvPr/>
        </p:nvSpPr>
        <p:spPr bwMode="auto">
          <a:xfrm>
            <a:off x="9028631" y="2268827"/>
            <a:ext cx="325437"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72" name="object 299">
            <a:extLst>
              <a:ext uri="{FF2B5EF4-FFF2-40B4-BE49-F238E27FC236}">
                <a16:creationId xmlns:a16="http://schemas.microsoft.com/office/drawing/2014/main" id="{0878E066-3806-47F1-8BF4-89B72414420E}"/>
              </a:ext>
            </a:extLst>
          </p:cNvPr>
          <p:cNvSpPr txBox="1">
            <a:spLocks noChangeArrowheads="1"/>
          </p:cNvSpPr>
          <p:nvPr/>
        </p:nvSpPr>
        <p:spPr bwMode="auto">
          <a:xfrm>
            <a:off x="9354068" y="2268827"/>
            <a:ext cx="523875" cy="55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73" name="object 300">
            <a:extLst>
              <a:ext uri="{FF2B5EF4-FFF2-40B4-BE49-F238E27FC236}">
                <a16:creationId xmlns:a16="http://schemas.microsoft.com/office/drawing/2014/main" id="{3733EDD1-718E-4415-9B83-16013D218D5F}"/>
              </a:ext>
            </a:extLst>
          </p:cNvPr>
          <p:cNvSpPr txBox="1">
            <a:spLocks noChangeArrowheads="1"/>
          </p:cNvSpPr>
          <p:nvPr/>
        </p:nvSpPr>
        <p:spPr bwMode="auto">
          <a:xfrm>
            <a:off x="7195068" y="2467265"/>
            <a:ext cx="936625" cy="22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74" name="object 301">
            <a:extLst>
              <a:ext uri="{FF2B5EF4-FFF2-40B4-BE49-F238E27FC236}">
                <a16:creationId xmlns:a16="http://schemas.microsoft.com/office/drawing/2014/main" id="{9C0EBC9F-ACE4-4C3C-8E42-A917EF684047}"/>
              </a:ext>
            </a:extLst>
          </p:cNvPr>
          <p:cNvSpPr txBox="1">
            <a:spLocks noChangeArrowheads="1"/>
          </p:cNvSpPr>
          <p:nvPr/>
        </p:nvSpPr>
        <p:spPr bwMode="auto">
          <a:xfrm>
            <a:off x="8131693" y="2467265"/>
            <a:ext cx="896938"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75" name="object 302">
            <a:extLst>
              <a:ext uri="{FF2B5EF4-FFF2-40B4-BE49-F238E27FC236}">
                <a16:creationId xmlns:a16="http://schemas.microsoft.com/office/drawing/2014/main" id="{DFD72296-1859-499C-8D35-B28B9C46E08D}"/>
              </a:ext>
            </a:extLst>
          </p:cNvPr>
          <p:cNvSpPr txBox="1">
            <a:spLocks noChangeArrowheads="1"/>
          </p:cNvSpPr>
          <p:nvPr/>
        </p:nvSpPr>
        <p:spPr bwMode="auto">
          <a:xfrm>
            <a:off x="2515118" y="2687927"/>
            <a:ext cx="2446338"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76" name="object 303">
            <a:extLst>
              <a:ext uri="{FF2B5EF4-FFF2-40B4-BE49-F238E27FC236}">
                <a16:creationId xmlns:a16="http://schemas.microsoft.com/office/drawing/2014/main" id="{09E77178-0BBA-49FD-BA1C-EF7FAC42BA6A}"/>
              </a:ext>
            </a:extLst>
          </p:cNvPr>
          <p:cNvSpPr txBox="1">
            <a:spLocks noChangeArrowheads="1"/>
          </p:cNvSpPr>
          <p:nvPr/>
        </p:nvSpPr>
        <p:spPr bwMode="auto">
          <a:xfrm>
            <a:off x="4961456" y="2687927"/>
            <a:ext cx="1301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77" name="object 304">
            <a:extLst>
              <a:ext uri="{FF2B5EF4-FFF2-40B4-BE49-F238E27FC236}">
                <a16:creationId xmlns:a16="http://schemas.microsoft.com/office/drawing/2014/main" id="{3AEF7CA0-1527-4C31-BA9B-DC7DE7F3D735}"/>
              </a:ext>
            </a:extLst>
          </p:cNvPr>
          <p:cNvSpPr txBox="1">
            <a:spLocks noChangeArrowheads="1"/>
          </p:cNvSpPr>
          <p:nvPr/>
        </p:nvSpPr>
        <p:spPr bwMode="auto">
          <a:xfrm>
            <a:off x="5091631" y="2687927"/>
            <a:ext cx="303212"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78" name="object 305">
            <a:extLst>
              <a:ext uri="{FF2B5EF4-FFF2-40B4-BE49-F238E27FC236}">
                <a16:creationId xmlns:a16="http://schemas.microsoft.com/office/drawing/2014/main" id="{09AABE30-AEFC-4737-AEED-624B2272CAD1}"/>
              </a:ext>
            </a:extLst>
          </p:cNvPr>
          <p:cNvSpPr txBox="1">
            <a:spLocks noChangeArrowheads="1"/>
          </p:cNvSpPr>
          <p:nvPr/>
        </p:nvSpPr>
        <p:spPr bwMode="auto">
          <a:xfrm>
            <a:off x="5394843" y="2687927"/>
            <a:ext cx="71438"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79" name="object 306">
            <a:extLst>
              <a:ext uri="{FF2B5EF4-FFF2-40B4-BE49-F238E27FC236}">
                <a16:creationId xmlns:a16="http://schemas.microsoft.com/office/drawing/2014/main" id="{4D813000-34B8-43F7-997D-32C1B003CB6F}"/>
              </a:ext>
            </a:extLst>
          </p:cNvPr>
          <p:cNvSpPr txBox="1">
            <a:spLocks noChangeArrowheads="1"/>
          </p:cNvSpPr>
          <p:nvPr/>
        </p:nvSpPr>
        <p:spPr bwMode="auto">
          <a:xfrm>
            <a:off x="5466281" y="2687927"/>
            <a:ext cx="58737"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80" name="object 307">
            <a:extLst>
              <a:ext uri="{FF2B5EF4-FFF2-40B4-BE49-F238E27FC236}">
                <a16:creationId xmlns:a16="http://schemas.microsoft.com/office/drawing/2014/main" id="{0D0EAE80-54DA-4221-B0A3-E956E2D9C9A6}"/>
              </a:ext>
            </a:extLst>
          </p:cNvPr>
          <p:cNvSpPr txBox="1">
            <a:spLocks noChangeArrowheads="1"/>
          </p:cNvSpPr>
          <p:nvPr/>
        </p:nvSpPr>
        <p:spPr bwMode="auto">
          <a:xfrm>
            <a:off x="5525018" y="2687927"/>
            <a:ext cx="1598613"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81" name="object 308">
            <a:extLst>
              <a:ext uri="{FF2B5EF4-FFF2-40B4-BE49-F238E27FC236}">
                <a16:creationId xmlns:a16="http://schemas.microsoft.com/office/drawing/2014/main" id="{DE9092C4-C57B-42B5-A2BD-4924B92815C4}"/>
              </a:ext>
            </a:extLst>
          </p:cNvPr>
          <p:cNvSpPr txBox="1">
            <a:spLocks noChangeArrowheads="1"/>
          </p:cNvSpPr>
          <p:nvPr/>
        </p:nvSpPr>
        <p:spPr bwMode="auto">
          <a:xfrm>
            <a:off x="7123631" y="2687927"/>
            <a:ext cx="128587"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82" name="object 309">
            <a:extLst>
              <a:ext uri="{FF2B5EF4-FFF2-40B4-BE49-F238E27FC236}">
                <a16:creationId xmlns:a16="http://schemas.microsoft.com/office/drawing/2014/main" id="{DAABA675-AE73-43B3-BDD3-A024FF49FDD2}"/>
              </a:ext>
            </a:extLst>
          </p:cNvPr>
          <p:cNvSpPr txBox="1">
            <a:spLocks noChangeArrowheads="1"/>
          </p:cNvSpPr>
          <p:nvPr/>
        </p:nvSpPr>
        <p:spPr bwMode="auto">
          <a:xfrm>
            <a:off x="7252218" y="2687927"/>
            <a:ext cx="879475"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83" name="object 310">
            <a:extLst>
              <a:ext uri="{FF2B5EF4-FFF2-40B4-BE49-F238E27FC236}">
                <a16:creationId xmlns:a16="http://schemas.microsoft.com/office/drawing/2014/main" id="{DE9E6BEE-417C-4E4F-991F-7A2EE8EC1469}"/>
              </a:ext>
            </a:extLst>
          </p:cNvPr>
          <p:cNvSpPr txBox="1">
            <a:spLocks noChangeArrowheads="1"/>
          </p:cNvSpPr>
          <p:nvPr/>
        </p:nvSpPr>
        <p:spPr bwMode="auto">
          <a:xfrm>
            <a:off x="2402406" y="2826040"/>
            <a:ext cx="255905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84" name="object 311">
            <a:extLst>
              <a:ext uri="{FF2B5EF4-FFF2-40B4-BE49-F238E27FC236}">
                <a16:creationId xmlns:a16="http://schemas.microsoft.com/office/drawing/2014/main" id="{FA09977E-8972-416A-8781-B775E3809BFE}"/>
              </a:ext>
            </a:extLst>
          </p:cNvPr>
          <p:cNvSpPr txBox="1"/>
          <p:nvPr/>
        </p:nvSpPr>
        <p:spPr>
          <a:xfrm>
            <a:off x="5091631" y="2826040"/>
            <a:ext cx="315912" cy="138112"/>
          </a:xfrm>
          <a:prstGeom prst="rect">
            <a:avLst/>
          </a:prstGeom>
        </p:spPr>
        <p:txBody>
          <a:bodyPr lIns="0" tIns="0" rIns="0" bIns="0"/>
          <a:lstStyle/>
          <a:p>
            <a:pPr marL="32010">
              <a:lnSpc>
                <a:spcPts val="690"/>
              </a:lnSpc>
              <a:spcBef>
                <a:spcPts val="434"/>
              </a:spcBef>
              <a:defRPr/>
            </a:pPr>
            <a:r>
              <a:rPr sz="1200" i="1" spc="-9" baseline="-14493" dirty="0">
                <a:latin typeface="Arial"/>
                <a:cs typeface="Arial"/>
              </a:rPr>
              <a:t>(4)</a:t>
            </a:r>
            <a:endParaRPr sz="800">
              <a:latin typeface="Arial"/>
              <a:cs typeface="Arial"/>
            </a:endParaRPr>
          </a:p>
        </p:txBody>
      </p:sp>
      <p:sp>
        <p:nvSpPr>
          <p:cNvPr id="185" name="object 312">
            <a:extLst>
              <a:ext uri="{FF2B5EF4-FFF2-40B4-BE49-F238E27FC236}">
                <a16:creationId xmlns:a16="http://schemas.microsoft.com/office/drawing/2014/main" id="{BE851659-0AD0-41FB-8EEC-E6C09FEFE98E}"/>
              </a:ext>
            </a:extLst>
          </p:cNvPr>
          <p:cNvSpPr txBox="1">
            <a:spLocks noChangeArrowheads="1"/>
          </p:cNvSpPr>
          <p:nvPr/>
        </p:nvSpPr>
        <p:spPr bwMode="auto">
          <a:xfrm>
            <a:off x="5394843" y="2826040"/>
            <a:ext cx="130175"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86" name="object 313">
            <a:extLst>
              <a:ext uri="{FF2B5EF4-FFF2-40B4-BE49-F238E27FC236}">
                <a16:creationId xmlns:a16="http://schemas.microsoft.com/office/drawing/2014/main" id="{12CBDDC5-0C5F-457B-903E-885171D0AE5E}"/>
              </a:ext>
            </a:extLst>
          </p:cNvPr>
          <p:cNvSpPr txBox="1"/>
          <p:nvPr/>
        </p:nvSpPr>
        <p:spPr>
          <a:xfrm>
            <a:off x="5525018" y="2826040"/>
            <a:ext cx="1611313" cy="138112"/>
          </a:xfrm>
          <a:prstGeom prst="rect">
            <a:avLst/>
          </a:prstGeom>
        </p:spPr>
        <p:txBody>
          <a:bodyPr lIns="0" tIns="0" rIns="0" bIns="0"/>
          <a:lstStyle/>
          <a:p>
            <a:pPr marL="32004">
              <a:lnSpc>
                <a:spcPts val="690"/>
              </a:lnSpc>
              <a:spcBef>
                <a:spcPts val="434"/>
              </a:spcBef>
              <a:defRPr/>
            </a:pPr>
            <a:r>
              <a:rPr sz="1200" i="1" spc="-9" baseline="-14493" dirty="0">
                <a:latin typeface="Arial"/>
                <a:cs typeface="Arial"/>
              </a:rPr>
              <a:t>(5)</a:t>
            </a:r>
            <a:endParaRPr sz="800">
              <a:latin typeface="Arial"/>
              <a:cs typeface="Arial"/>
            </a:endParaRPr>
          </a:p>
        </p:txBody>
      </p:sp>
      <p:sp>
        <p:nvSpPr>
          <p:cNvPr id="187" name="object 314">
            <a:extLst>
              <a:ext uri="{FF2B5EF4-FFF2-40B4-BE49-F238E27FC236}">
                <a16:creationId xmlns:a16="http://schemas.microsoft.com/office/drawing/2014/main" id="{703D9DBC-C6D3-4A0B-BF28-461F99EB6022}"/>
              </a:ext>
            </a:extLst>
          </p:cNvPr>
          <p:cNvSpPr txBox="1"/>
          <p:nvPr/>
        </p:nvSpPr>
        <p:spPr>
          <a:xfrm>
            <a:off x="7252218" y="2826040"/>
            <a:ext cx="2114550" cy="142875"/>
          </a:xfrm>
          <a:prstGeom prst="rect">
            <a:avLst/>
          </a:prstGeom>
        </p:spPr>
        <p:txBody>
          <a:bodyPr lIns="0" tIns="0" rIns="0" bIns="0"/>
          <a:lstStyle/>
          <a:p>
            <a:pPr marL="32003">
              <a:lnSpc>
                <a:spcPts val="725"/>
              </a:lnSpc>
              <a:spcBef>
                <a:spcPts val="436"/>
              </a:spcBef>
              <a:defRPr/>
            </a:pPr>
            <a:r>
              <a:rPr sz="1200" i="1" spc="-9" baseline="-10870" dirty="0">
                <a:latin typeface="Arial"/>
                <a:cs typeface="Arial"/>
              </a:rPr>
              <a:t>(6)</a:t>
            </a:r>
            <a:endParaRPr sz="800">
              <a:latin typeface="Arial"/>
              <a:cs typeface="Arial"/>
            </a:endParaRPr>
          </a:p>
        </p:txBody>
      </p:sp>
      <p:sp>
        <p:nvSpPr>
          <p:cNvPr id="188" name="object 315">
            <a:extLst>
              <a:ext uri="{FF2B5EF4-FFF2-40B4-BE49-F238E27FC236}">
                <a16:creationId xmlns:a16="http://schemas.microsoft.com/office/drawing/2014/main" id="{4927652F-1376-4D9D-9CBD-A56549E33B43}"/>
              </a:ext>
            </a:extLst>
          </p:cNvPr>
          <p:cNvSpPr txBox="1">
            <a:spLocks noChangeArrowheads="1"/>
          </p:cNvSpPr>
          <p:nvPr/>
        </p:nvSpPr>
        <p:spPr bwMode="auto">
          <a:xfrm>
            <a:off x="9354068" y="2826040"/>
            <a:ext cx="69215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89" name="object 316">
            <a:extLst>
              <a:ext uri="{FF2B5EF4-FFF2-40B4-BE49-F238E27FC236}">
                <a16:creationId xmlns:a16="http://schemas.microsoft.com/office/drawing/2014/main" id="{122366D2-EF5E-4A2B-875E-271197237D83}"/>
              </a:ext>
            </a:extLst>
          </p:cNvPr>
          <p:cNvSpPr txBox="1">
            <a:spLocks noChangeArrowheads="1"/>
          </p:cNvSpPr>
          <p:nvPr/>
        </p:nvSpPr>
        <p:spPr bwMode="auto">
          <a:xfrm>
            <a:off x="2402406" y="2964152"/>
            <a:ext cx="6951662"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90" name="object 317">
            <a:extLst>
              <a:ext uri="{FF2B5EF4-FFF2-40B4-BE49-F238E27FC236}">
                <a16:creationId xmlns:a16="http://schemas.microsoft.com/office/drawing/2014/main" id="{6354BE7D-4B73-4E12-8DF9-8CDC94C64137}"/>
              </a:ext>
            </a:extLst>
          </p:cNvPr>
          <p:cNvSpPr txBox="1">
            <a:spLocks noChangeArrowheads="1"/>
          </p:cNvSpPr>
          <p:nvPr/>
        </p:nvSpPr>
        <p:spPr bwMode="auto">
          <a:xfrm>
            <a:off x="5394843" y="2916527"/>
            <a:ext cx="130175" cy="4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191" name="object 318">
            <a:extLst>
              <a:ext uri="{FF2B5EF4-FFF2-40B4-BE49-F238E27FC236}">
                <a16:creationId xmlns:a16="http://schemas.microsoft.com/office/drawing/2014/main" id="{ECD6692B-FECF-4138-ACBF-215CA32DC3A0}"/>
              </a:ext>
            </a:extLst>
          </p:cNvPr>
          <p:cNvSpPr txBox="1">
            <a:spLocks noChangeArrowheads="1"/>
          </p:cNvSpPr>
          <p:nvPr/>
        </p:nvSpPr>
        <p:spPr bwMode="auto">
          <a:xfrm>
            <a:off x="7123631" y="2926052"/>
            <a:ext cx="128587" cy="4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192" name="object 319">
            <a:extLst>
              <a:ext uri="{FF2B5EF4-FFF2-40B4-BE49-F238E27FC236}">
                <a16:creationId xmlns:a16="http://schemas.microsoft.com/office/drawing/2014/main" id="{1031F0BF-6101-4225-9F37-B6778E93A890}"/>
              </a:ext>
            </a:extLst>
          </p:cNvPr>
          <p:cNvSpPr txBox="1">
            <a:spLocks noChangeArrowheads="1"/>
          </p:cNvSpPr>
          <p:nvPr/>
        </p:nvSpPr>
        <p:spPr bwMode="auto">
          <a:xfrm>
            <a:off x="2402406" y="3468977"/>
            <a:ext cx="1336675" cy="77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600"/>
              </a:lnSpc>
              <a:spcBef>
                <a:spcPts val="13"/>
              </a:spcBef>
              <a:buFontTx/>
              <a:buNone/>
            </a:pPr>
            <a:endParaRPr lang="zh-CN" altLang="zh-CN" sz="600"/>
          </a:p>
        </p:txBody>
      </p:sp>
      <p:sp>
        <p:nvSpPr>
          <p:cNvPr id="193" name="object 320">
            <a:extLst>
              <a:ext uri="{FF2B5EF4-FFF2-40B4-BE49-F238E27FC236}">
                <a16:creationId xmlns:a16="http://schemas.microsoft.com/office/drawing/2014/main" id="{EF277BD9-E43D-4B55-AE10-7C32CC8B1100}"/>
              </a:ext>
            </a:extLst>
          </p:cNvPr>
          <p:cNvSpPr txBox="1">
            <a:spLocks noChangeArrowheads="1"/>
          </p:cNvSpPr>
          <p:nvPr/>
        </p:nvSpPr>
        <p:spPr bwMode="auto">
          <a:xfrm>
            <a:off x="3181868" y="3468977"/>
            <a:ext cx="127000"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94" name="object 321">
            <a:extLst>
              <a:ext uri="{FF2B5EF4-FFF2-40B4-BE49-F238E27FC236}">
                <a16:creationId xmlns:a16="http://schemas.microsoft.com/office/drawing/2014/main" id="{660851A7-2F3B-475F-A25B-B30AE4EA4287}"/>
              </a:ext>
            </a:extLst>
          </p:cNvPr>
          <p:cNvSpPr txBox="1">
            <a:spLocks noChangeArrowheads="1"/>
          </p:cNvSpPr>
          <p:nvPr/>
        </p:nvSpPr>
        <p:spPr bwMode="auto">
          <a:xfrm>
            <a:off x="3867668" y="3468977"/>
            <a:ext cx="1814513" cy="77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600"/>
              </a:lnSpc>
              <a:spcBef>
                <a:spcPts val="13"/>
              </a:spcBef>
              <a:buFontTx/>
              <a:buNone/>
            </a:pPr>
            <a:endParaRPr lang="zh-CN" altLang="zh-CN" sz="600"/>
          </a:p>
        </p:txBody>
      </p:sp>
      <p:sp>
        <p:nvSpPr>
          <p:cNvPr id="195" name="object 326">
            <a:extLst>
              <a:ext uri="{FF2B5EF4-FFF2-40B4-BE49-F238E27FC236}">
                <a16:creationId xmlns:a16="http://schemas.microsoft.com/office/drawing/2014/main" id="{3A5C7042-C2BE-4617-AB9D-B38D520E605F}"/>
              </a:ext>
            </a:extLst>
          </p:cNvPr>
          <p:cNvSpPr txBox="1">
            <a:spLocks noChangeArrowheads="1"/>
          </p:cNvSpPr>
          <p:nvPr/>
        </p:nvSpPr>
        <p:spPr bwMode="auto">
          <a:xfrm>
            <a:off x="9492181" y="3468977"/>
            <a:ext cx="131762"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96" name="object 327">
            <a:extLst>
              <a:ext uri="{FF2B5EF4-FFF2-40B4-BE49-F238E27FC236}">
                <a16:creationId xmlns:a16="http://schemas.microsoft.com/office/drawing/2014/main" id="{A811CDF9-7A99-49A3-9D16-241BDC7BBD70}"/>
              </a:ext>
            </a:extLst>
          </p:cNvPr>
          <p:cNvSpPr txBox="1">
            <a:spLocks noChangeArrowheads="1"/>
          </p:cNvSpPr>
          <p:nvPr/>
        </p:nvSpPr>
        <p:spPr bwMode="auto">
          <a:xfrm>
            <a:off x="9623943" y="3468977"/>
            <a:ext cx="444500" cy="77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600"/>
              </a:lnSpc>
              <a:spcBef>
                <a:spcPts val="13"/>
              </a:spcBef>
              <a:buFontTx/>
              <a:buNone/>
            </a:pPr>
            <a:endParaRPr lang="zh-CN" altLang="zh-CN" sz="600"/>
          </a:p>
        </p:txBody>
      </p:sp>
      <p:sp>
        <p:nvSpPr>
          <p:cNvPr id="197" name="object 329">
            <a:extLst>
              <a:ext uri="{FF2B5EF4-FFF2-40B4-BE49-F238E27FC236}">
                <a16:creationId xmlns:a16="http://schemas.microsoft.com/office/drawing/2014/main" id="{4D9F6FBC-3431-4DF7-9CC5-A5CD2B74D7BD}"/>
              </a:ext>
            </a:extLst>
          </p:cNvPr>
          <p:cNvSpPr txBox="1">
            <a:spLocks noChangeArrowheads="1"/>
          </p:cNvSpPr>
          <p:nvPr/>
        </p:nvSpPr>
        <p:spPr bwMode="auto">
          <a:xfrm>
            <a:off x="9354068" y="3546765"/>
            <a:ext cx="692150"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198" name="object 330">
            <a:extLst>
              <a:ext uri="{FF2B5EF4-FFF2-40B4-BE49-F238E27FC236}">
                <a16:creationId xmlns:a16="http://schemas.microsoft.com/office/drawing/2014/main" id="{8325BDEE-90A2-4454-83B0-AC905B754771}"/>
              </a:ext>
            </a:extLst>
          </p:cNvPr>
          <p:cNvSpPr txBox="1"/>
          <p:nvPr/>
        </p:nvSpPr>
        <p:spPr>
          <a:xfrm>
            <a:off x="2402406" y="3546765"/>
            <a:ext cx="611187" cy="198437"/>
          </a:xfrm>
          <a:prstGeom prst="rect">
            <a:avLst/>
          </a:prstGeom>
        </p:spPr>
        <p:txBody>
          <a:bodyPr lIns="0" tIns="0" rIns="0" bIns="0"/>
          <a:lstStyle/>
          <a:p>
            <a:pPr>
              <a:lnSpc>
                <a:spcPct val="95825"/>
              </a:lnSpc>
              <a:spcBef>
                <a:spcPts val="390"/>
              </a:spcBef>
              <a:defRPr/>
            </a:pPr>
            <a:r>
              <a:rPr sz="800" i="1" spc="-9" dirty="0">
                <a:latin typeface="Arial"/>
                <a:cs typeface="Arial"/>
              </a:rPr>
              <a:t>E</a:t>
            </a:r>
            <a:r>
              <a:rPr sz="800" i="1" spc="4" dirty="0">
                <a:latin typeface="Arial"/>
                <a:cs typeface="Arial"/>
              </a:rPr>
              <a:t>t</a:t>
            </a:r>
            <a:r>
              <a:rPr sz="800" i="1" spc="-9" dirty="0">
                <a:latin typeface="Arial"/>
                <a:cs typeface="Arial"/>
              </a:rPr>
              <a:t>herne</a:t>
            </a:r>
            <a:r>
              <a:rPr sz="800" i="1" dirty="0">
                <a:latin typeface="Arial"/>
                <a:cs typeface="Arial"/>
              </a:rPr>
              <a:t>t</a:t>
            </a:r>
            <a:r>
              <a:rPr sz="800" i="1" spc="56" dirty="0">
                <a:latin typeface="Arial"/>
                <a:cs typeface="Arial"/>
              </a:rPr>
              <a:t> </a:t>
            </a:r>
            <a:endParaRPr sz="800" dirty="0">
              <a:latin typeface="Arial"/>
              <a:cs typeface="Arial"/>
            </a:endParaRPr>
          </a:p>
        </p:txBody>
      </p:sp>
      <p:sp>
        <p:nvSpPr>
          <p:cNvPr id="199" name="object 334">
            <a:extLst>
              <a:ext uri="{FF2B5EF4-FFF2-40B4-BE49-F238E27FC236}">
                <a16:creationId xmlns:a16="http://schemas.microsoft.com/office/drawing/2014/main" id="{AA5A2941-D96C-4C72-B71E-60195C88EE82}"/>
              </a:ext>
            </a:extLst>
          </p:cNvPr>
          <p:cNvSpPr txBox="1">
            <a:spLocks noChangeArrowheads="1"/>
          </p:cNvSpPr>
          <p:nvPr/>
        </p:nvSpPr>
        <p:spPr bwMode="auto">
          <a:xfrm>
            <a:off x="9492181" y="3708690"/>
            <a:ext cx="131762" cy="4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200" name="object 335">
            <a:extLst>
              <a:ext uri="{FF2B5EF4-FFF2-40B4-BE49-F238E27FC236}">
                <a16:creationId xmlns:a16="http://schemas.microsoft.com/office/drawing/2014/main" id="{93F5B419-4907-4AA8-810F-F956734AC406}"/>
              </a:ext>
            </a:extLst>
          </p:cNvPr>
          <p:cNvSpPr txBox="1">
            <a:spLocks noChangeArrowheads="1"/>
          </p:cNvSpPr>
          <p:nvPr/>
        </p:nvSpPr>
        <p:spPr bwMode="auto">
          <a:xfrm>
            <a:off x="3181868" y="3800765"/>
            <a:ext cx="38100" cy="4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201" name="object 336">
            <a:extLst>
              <a:ext uri="{FF2B5EF4-FFF2-40B4-BE49-F238E27FC236}">
                <a16:creationId xmlns:a16="http://schemas.microsoft.com/office/drawing/2014/main" id="{96D62368-6FA6-4018-9049-9F093C2EB7B6}"/>
              </a:ext>
            </a:extLst>
          </p:cNvPr>
          <p:cNvSpPr txBox="1">
            <a:spLocks noChangeArrowheads="1"/>
          </p:cNvSpPr>
          <p:nvPr/>
        </p:nvSpPr>
        <p:spPr bwMode="auto">
          <a:xfrm>
            <a:off x="3219968" y="3800765"/>
            <a:ext cx="88900" cy="4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202" name="object 337">
            <a:extLst>
              <a:ext uri="{FF2B5EF4-FFF2-40B4-BE49-F238E27FC236}">
                <a16:creationId xmlns:a16="http://schemas.microsoft.com/office/drawing/2014/main" id="{2496724C-767C-4622-91B1-FE42DD0D6ABB}"/>
              </a:ext>
            </a:extLst>
          </p:cNvPr>
          <p:cNvSpPr txBox="1">
            <a:spLocks noChangeArrowheads="1"/>
          </p:cNvSpPr>
          <p:nvPr/>
        </p:nvSpPr>
        <p:spPr bwMode="auto">
          <a:xfrm>
            <a:off x="8471418" y="3753140"/>
            <a:ext cx="1093788" cy="9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700"/>
              </a:lnSpc>
              <a:spcBef>
                <a:spcPts val="25"/>
              </a:spcBef>
              <a:buFontTx/>
              <a:buNone/>
            </a:pPr>
            <a:endParaRPr lang="zh-CN" altLang="zh-CN" sz="700"/>
          </a:p>
        </p:txBody>
      </p:sp>
      <p:sp>
        <p:nvSpPr>
          <p:cNvPr id="203" name="object 142">
            <a:extLst>
              <a:ext uri="{FF2B5EF4-FFF2-40B4-BE49-F238E27FC236}">
                <a16:creationId xmlns:a16="http://schemas.microsoft.com/office/drawing/2014/main" id="{D8EDAD14-F78B-4326-808E-C04D18C04605}"/>
              </a:ext>
            </a:extLst>
          </p:cNvPr>
          <p:cNvSpPr>
            <a:spLocks noChangeArrowheads="1"/>
          </p:cNvSpPr>
          <p:nvPr/>
        </p:nvSpPr>
        <p:spPr bwMode="auto">
          <a:xfrm>
            <a:off x="3046931" y="4108740"/>
            <a:ext cx="485775" cy="350837"/>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204" name="object 254">
            <a:extLst>
              <a:ext uri="{FF2B5EF4-FFF2-40B4-BE49-F238E27FC236}">
                <a16:creationId xmlns:a16="http://schemas.microsoft.com/office/drawing/2014/main" id="{8EE64CAE-992A-4B12-A4A9-ED37B9C2247A}"/>
              </a:ext>
            </a:extLst>
          </p:cNvPr>
          <p:cNvSpPr txBox="1"/>
          <p:nvPr/>
        </p:nvSpPr>
        <p:spPr>
          <a:xfrm>
            <a:off x="1942031" y="1514765"/>
            <a:ext cx="596900" cy="158750"/>
          </a:xfrm>
          <a:prstGeom prst="rect">
            <a:avLst/>
          </a:prstGeom>
        </p:spPr>
        <p:txBody>
          <a:bodyPr lIns="0" tIns="0" rIns="0" bIns="0"/>
          <a:lstStyle/>
          <a:p>
            <a:pPr marL="12700">
              <a:lnSpc>
                <a:spcPts val="1180"/>
              </a:lnSpc>
              <a:spcBef>
                <a:spcPts val="59"/>
              </a:spcBef>
              <a:defRPr/>
            </a:pPr>
            <a:r>
              <a:rPr sz="1050" spc="-9" dirty="0">
                <a:solidFill>
                  <a:srgbClr val="FFFFFF"/>
                </a:solidFill>
                <a:latin typeface="Arial"/>
                <a:cs typeface="Arial"/>
              </a:rPr>
              <a:t>Le</a:t>
            </a:r>
            <a:r>
              <a:rPr sz="1050" spc="19" dirty="0">
                <a:solidFill>
                  <a:srgbClr val="FFFFFF"/>
                </a:solidFill>
                <a:latin typeface="Arial"/>
                <a:cs typeface="Arial"/>
              </a:rPr>
              <a:t>v</a:t>
            </a:r>
            <a:r>
              <a:rPr sz="1050" spc="-9" dirty="0">
                <a:solidFill>
                  <a:srgbClr val="FFFFFF"/>
                </a:solidFill>
                <a:latin typeface="Arial"/>
                <a:cs typeface="Arial"/>
              </a:rPr>
              <a:t>e</a:t>
            </a:r>
            <a:r>
              <a:rPr sz="1050" dirty="0">
                <a:solidFill>
                  <a:srgbClr val="FFFFFF"/>
                </a:solidFill>
                <a:latin typeface="Arial"/>
                <a:cs typeface="Arial"/>
              </a:rPr>
              <a:t>l</a:t>
            </a:r>
            <a:r>
              <a:rPr sz="1050" spc="-14" dirty="0">
                <a:solidFill>
                  <a:srgbClr val="FFFFFF"/>
                </a:solidFill>
                <a:latin typeface="Arial"/>
                <a:cs typeface="Arial"/>
              </a:rPr>
              <a:t> </a:t>
            </a:r>
            <a:r>
              <a:rPr lang="en-US" sz="1050" spc="-9" dirty="0">
                <a:solidFill>
                  <a:srgbClr val="FFFFFF"/>
                </a:solidFill>
                <a:latin typeface="Arial"/>
                <a:cs typeface="Arial"/>
              </a:rPr>
              <a:t>2</a:t>
            </a:r>
            <a:endParaRPr sz="1050" dirty="0">
              <a:latin typeface="Arial"/>
              <a:cs typeface="Arial"/>
            </a:endParaRPr>
          </a:p>
        </p:txBody>
      </p:sp>
      <p:sp>
        <p:nvSpPr>
          <p:cNvPr id="205" name="object 283">
            <a:extLst>
              <a:ext uri="{FF2B5EF4-FFF2-40B4-BE49-F238E27FC236}">
                <a16:creationId xmlns:a16="http://schemas.microsoft.com/office/drawing/2014/main" id="{FF261904-9CC1-4319-9EA0-9CE4032F5DAA}"/>
              </a:ext>
            </a:extLst>
          </p:cNvPr>
          <p:cNvSpPr txBox="1"/>
          <p:nvPr/>
        </p:nvSpPr>
        <p:spPr>
          <a:xfrm>
            <a:off x="3032643" y="5102515"/>
            <a:ext cx="704850" cy="204787"/>
          </a:xfrm>
          <a:prstGeom prst="rect">
            <a:avLst/>
          </a:prstGeom>
        </p:spPr>
        <p:txBody>
          <a:bodyPr lIns="0" tIns="0" rIns="0" bIns="0"/>
          <a:lstStyle/>
          <a:p>
            <a:pPr marL="18287">
              <a:lnSpc>
                <a:spcPts val="875"/>
              </a:lnSpc>
              <a:spcBef>
                <a:spcPts val="3"/>
              </a:spcBef>
              <a:tabLst>
                <a:tab pos="800100" algn="l"/>
                <a:tab pos="1384300" algn="l"/>
              </a:tabLst>
              <a:defRPr/>
            </a:pPr>
            <a:r>
              <a:rPr sz="1200" baseline="-7246" dirty="0">
                <a:latin typeface="Arial"/>
                <a:cs typeface="Arial"/>
              </a:rPr>
              <a:t>PLC/Si</a:t>
            </a:r>
            <a:r>
              <a:rPr sz="1200" spc="-14" baseline="-7246" dirty="0">
                <a:latin typeface="Arial"/>
                <a:cs typeface="Arial"/>
              </a:rPr>
              <a:t>m</a:t>
            </a:r>
            <a:r>
              <a:rPr sz="1200" spc="-29" baseline="-7246" dirty="0">
                <a:latin typeface="Arial"/>
                <a:cs typeface="Arial"/>
              </a:rPr>
              <a:t>o</a:t>
            </a:r>
            <a:r>
              <a:rPr sz="1200" baseline="-7246" dirty="0">
                <a:latin typeface="Arial"/>
                <a:cs typeface="Arial"/>
              </a:rPr>
              <a:t>t</a:t>
            </a:r>
            <a:r>
              <a:rPr sz="1200" spc="14" baseline="-7246" dirty="0">
                <a:latin typeface="Arial"/>
                <a:cs typeface="Arial"/>
              </a:rPr>
              <a:t>io</a:t>
            </a:r>
            <a:r>
              <a:rPr sz="1200" baseline="-7246" dirty="0">
                <a:latin typeface="Arial"/>
                <a:cs typeface="Arial"/>
              </a:rPr>
              <a:t>n</a:t>
            </a:r>
            <a:endParaRPr sz="800" dirty="0">
              <a:latin typeface="Arial"/>
              <a:cs typeface="Arial"/>
            </a:endParaRPr>
          </a:p>
        </p:txBody>
      </p:sp>
      <p:sp>
        <p:nvSpPr>
          <p:cNvPr id="206" name="object 283">
            <a:extLst>
              <a:ext uri="{FF2B5EF4-FFF2-40B4-BE49-F238E27FC236}">
                <a16:creationId xmlns:a16="http://schemas.microsoft.com/office/drawing/2014/main" id="{C1F6C9C9-BF1E-419C-9301-B9EA9252940B}"/>
              </a:ext>
            </a:extLst>
          </p:cNvPr>
          <p:cNvSpPr txBox="1">
            <a:spLocks noChangeArrowheads="1"/>
          </p:cNvSpPr>
          <p:nvPr/>
        </p:nvSpPr>
        <p:spPr bwMode="auto">
          <a:xfrm>
            <a:off x="3318393" y="4531015"/>
            <a:ext cx="490538"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463">
              <a:spcBef>
                <a:spcPct val="20000"/>
              </a:spcBef>
              <a:buChar char="•"/>
              <a:tabLst>
                <a:tab pos="800100" algn="l"/>
                <a:tab pos="1384300" algn="l"/>
              </a:tabLst>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tabLst>
                <a:tab pos="800100" algn="l"/>
                <a:tab pos="1384300" algn="l"/>
              </a:tabLst>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tabLst>
                <a:tab pos="800100" algn="l"/>
                <a:tab pos="1384300" algn="l"/>
              </a:tabLst>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9pPr>
          </a:lstStyle>
          <a:p>
            <a:pPr>
              <a:lnSpc>
                <a:spcPts val="875"/>
              </a:lnSpc>
              <a:spcBef>
                <a:spcPct val="0"/>
              </a:spcBef>
              <a:buFontTx/>
              <a:buNone/>
            </a:pPr>
            <a:r>
              <a:rPr lang="en-US" altLang="zh-CN" sz="1200" baseline="-7000">
                <a:cs typeface="Arial" panose="020B0604020202020204" pitchFamily="34" charset="0"/>
              </a:rPr>
              <a:t>Panel PC</a:t>
            </a:r>
            <a:endParaRPr lang="zh-CN" altLang="zh-CN" sz="800">
              <a:cs typeface="Arial" panose="020B0604020202020204" pitchFamily="34" charset="0"/>
            </a:endParaRPr>
          </a:p>
        </p:txBody>
      </p:sp>
      <p:sp>
        <p:nvSpPr>
          <p:cNvPr id="207" name="object 138">
            <a:extLst>
              <a:ext uri="{FF2B5EF4-FFF2-40B4-BE49-F238E27FC236}">
                <a16:creationId xmlns:a16="http://schemas.microsoft.com/office/drawing/2014/main" id="{16D2E6A4-AF69-461B-800F-64892103D224}"/>
              </a:ext>
            </a:extLst>
          </p:cNvPr>
          <p:cNvSpPr>
            <a:spLocks/>
          </p:cNvSpPr>
          <p:nvPr/>
        </p:nvSpPr>
        <p:spPr bwMode="auto">
          <a:xfrm>
            <a:off x="3999431" y="3992852"/>
            <a:ext cx="1008062" cy="1752600"/>
          </a:xfrm>
          <a:custGeom>
            <a:avLst/>
            <a:gdLst>
              <a:gd name="T0" fmla="*/ 0 w 1871459"/>
              <a:gd name="T1" fmla="*/ 2838752 h 1082027"/>
              <a:gd name="T2" fmla="*/ 542993 w 1871459"/>
              <a:gd name="T3" fmla="*/ 2838752 h 1082027"/>
              <a:gd name="T4" fmla="*/ 542993 w 1871459"/>
              <a:gd name="T5" fmla="*/ 0 h 1082027"/>
              <a:gd name="T6" fmla="*/ 0 w 1871459"/>
              <a:gd name="T7" fmla="*/ 0 h 1082027"/>
              <a:gd name="T8" fmla="*/ 0 w 1871459"/>
              <a:gd name="T9" fmla="*/ 2838752 h 10820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71459" h="1082027">
                <a:moveTo>
                  <a:pt x="0" y="1082027"/>
                </a:moveTo>
                <a:lnTo>
                  <a:pt x="1871459" y="1082027"/>
                </a:lnTo>
                <a:lnTo>
                  <a:pt x="1871459" y="0"/>
                </a:lnTo>
                <a:lnTo>
                  <a:pt x="0" y="0"/>
                </a:lnTo>
                <a:lnTo>
                  <a:pt x="0" y="1082027"/>
                </a:lnTo>
                <a:close/>
              </a:path>
            </a:pathLst>
          </a:custGeom>
          <a:solidFill>
            <a:srgbClr val="EEF1F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08" name="object 144">
            <a:extLst>
              <a:ext uri="{FF2B5EF4-FFF2-40B4-BE49-F238E27FC236}">
                <a16:creationId xmlns:a16="http://schemas.microsoft.com/office/drawing/2014/main" id="{0F7A2200-062F-40F8-89A2-7C15F0A2EDDD}"/>
              </a:ext>
            </a:extLst>
          </p:cNvPr>
          <p:cNvSpPr>
            <a:spLocks/>
          </p:cNvSpPr>
          <p:nvPr/>
        </p:nvSpPr>
        <p:spPr bwMode="auto">
          <a:xfrm flipH="1">
            <a:off x="4318518" y="3840452"/>
            <a:ext cx="46038" cy="976313"/>
          </a:xfrm>
          <a:custGeom>
            <a:avLst/>
            <a:gdLst>
              <a:gd name="T0" fmla="*/ 62607 w 30467"/>
              <a:gd name="T1" fmla="*/ 0 h 969251"/>
              <a:gd name="T2" fmla="*/ 0 w 30467"/>
              <a:gd name="T3" fmla="*/ 0 h 969251"/>
              <a:gd name="T4" fmla="*/ 6957 w 30467"/>
              <a:gd name="T5" fmla="*/ 983426 h 969251"/>
              <a:gd name="T6" fmla="*/ 69567 w 30467"/>
              <a:gd name="T7" fmla="*/ 983426 h 969251"/>
              <a:gd name="T8" fmla="*/ 62607 w 30467"/>
              <a:gd name="T9" fmla="*/ 0 h 96925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467" h="969251">
                <a:moveTo>
                  <a:pt x="27419" y="0"/>
                </a:moveTo>
                <a:lnTo>
                  <a:pt x="0" y="0"/>
                </a:lnTo>
                <a:lnTo>
                  <a:pt x="3047" y="969251"/>
                </a:lnTo>
                <a:lnTo>
                  <a:pt x="30467" y="969251"/>
                </a:lnTo>
                <a:lnTo>
                  <a:pt x="27419" y="0"/>
                </a:lnTo>
                <a:close/>
              </a:path>
            </a:pathLst>
          </a:custGeom>
          <a:solidFill>
            <a:srgbClr val="5F973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09" name="object 146">
            <a:extLst>
              <a:ext uri="{FF2B5EF4-FFF2-40B4-BE49-F238E27FC236}">
                <a16:creationId xmlns:a16="http://schemas.microsoft.com/office/drawing/2014/main" id="{6ADF1E09-2412-490A-A911-62B1ED23EC0C}"/>
              </a:ext>
            </a:extLst>
          </p:cNvPr>
          <p:cNvSpPr>
            <a:spLocks noChangeArrowheads="1"/>
          </p:cNvSpPr>
          <p:nvPr/>
        </p:nvSpPr>
        <p:spPr bwMode="auto">
          <a:xfrm>
            <a:off x="4104206" y="4816765"/>
            <a:ext cx="428625" cy="249237"/>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210" name="object 147">
            <a:extLst>
              <a:ext uri="{FF2B5EF4-FFF2-40B4-BE49-F238E27FC236}">
                <a16:creationId xmlns:a16="http://schemas.microsoft.com/office/drawing/2014/main" id="{BD761DA2-96A7-4EF0-943F-AE0B5F8239F0}"/>
              </a:ext>
            </a:extLst>
          </p:cNvPr>
          <p:cNvSpPr>
            <a:spLocks/>
          </p:cNvSpPr>
          <p:nvPr/>
        </p:nvSpPr>
        <p:spPr bwMode="auto">
          <a:xfrm>
            <a:off x="4253431" y="3475327"/>
            <a:ext cx="142875" cy="368300"/>
          </a:xfrm>
          <a:custGeom>
            <a:avLst/>
            <a:gdLst>
              <a:gd name="T0" fmla="*/ 0 w 143256"/>
              <a:gd name="T1" fmla="*/ 367794 h 368807"/>
              <a:gd name="T2" fmla="*/ 142495 w 143256"/>
              <a:gd name="T3" fmla="*/ 367794 h 368807"/>
              <a:gd name="T4" fmla="*/ 142495 w 143256"/>
              <a:gd name="T5" fmla="*/ 0 h 368807"/>
              <a:gd name="T6" fmla="*/ 0 w 143256"/>
              <a:gd name="T7" fmla="*/ 0 h 368807"/>
              <a:gd name="T8" fmla="*/ 0 w 143256"/>
              <a:gd name="T9" fmla="*/ 367794 h 3688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3256" h="368807">
                <a:moveTo>
                  <a:pt x="0" y="368807"/>
                </a:moveTo>
                <a:lnTo>
                  <a:pt x="143256" y="368807"/>
                </a:lnTo>
                <a:lnTo>
                  <a:pt x="143256" y="0"/>
                </a:lnTo>
                <a:lnTo>
                  <a:pt x="0" y="0"/>
                </a:lnTo>
                <a:lnTo>
                  <a:pt x="0" y="368807"/>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11" name="object 148">
            <a:extLst>
              <a:ext uri="{FF2B5EF4-FFF2-40B4-BE49-F238E27FC236}">
                <a16:creationId xmlns:a16="http://schemas.microsoft.com/office/drawing/2014/main" id="{C6076686-6D0E-4A25-B522-104D1561F212}"/>
              </a:ext>
            </a:extLst>
          </p:cNvPr>
          <p:cNvSpPr>
            <a:spLocks/>
          </p:cNvSpPr>
          <p:nvPr/>
        </p:nvSpPr>
        <p:spPr bwMode="auto">
          <a:xfrm>
            <a:off x="4247081" y="3468977"/>
            <a:ext cx="152400" cy="381000"/>
          </a:xfrm>
          <a:custGeom>
            <a:avLst/>
            <a:gdLst>
              <a:gd name="T0" fmla="*/ 152400 w 152400"/>
              <a:gd name="T1" fmla="*/ 0 h 381000"/>
              <a:gd name="T2" fmla="*/ 0 w 152400"/>
              <a:gd name="T3" fmla="*/ 0 h 381000"/>
              <a:gd name="T4" fmla="*/ 0 w 152400"/>
              <a:gd name="T5" fmla="*/ 380999 h 381000"/>
              <a:gd name="T6" fmla="*/ 152400 w 152400"/>
              <a:gd name="T7" fmla="*/ 380999 h 381000"/>
              <a:gd name="T8" fmla="*/ 152400 w 152400"/>
              <a:gd name="T9" fmla="*/ 374903 h 381000"/>
              <a:gd name="T10" fmla="*/ 9131 w 152400"/>
              <a:gd name="T11" fmla="*/ 374903 h 381000"/>
              <a:gd name="T12" fmla="*/ 6083 w 152400"/>
              <a:gd name="T13" fmla="*/ 371855 h 381000"/>
              <a:gd name="T14" fmla="*/ 9131 w 152400"/>
              <a:gd name="T15" fmla="*/ 371855 h 381000"/>
              <a:gd name="T16" fmla="*/ 9131 w 152400"/>
              <a:gd name="T17" fmla="*/ 9143 h 381000"/>
              <a:gd name="T18" fmla="*/ 6083 w 152400"/>
              <a:gd name="T19" fmla="*/ 9143 h 381000"/>
              <a:gd name="T20" fmla="*/ 9131 w 152400"/>
              <a:gd name="T21" fmla="*/ 6095 h 381000"/>
              <a:gd name="T22" fmla="*/ 152400 w 152400"/>
              <a:gd name="T23" fmla="*/ 6095 h 381000"/>
              <a:gd name="T24" fmla="*/ 152400 w 152400"/>
              <a:gd name="T25" fmla="*/ 0 h 381000"/>
              <a:gd name="T26" fmla="*/ 9131 w 152400"/>
              <a:gd name="T27" fmla="*/ 371855 h 381000"/>
              <a:gd name="T28" fmla="*/ 6083 w 152400"/>
              <a:gd name="T29" fmla="*/ 371855 h 381000"/>
              <a:gd name="T30" fmla="*/ 9131 w 152400"/>
              <a:gd name="T31" fmla="*/ 374903 h 381000"/>
              <a:gd name="T32" fmla="*/ 9131 w 152400"/>
              <a:gd name="T33" fmla="*/ 371855 h 381000"/>
              <a:gd name="T34" fmla="*/ 143256 w 152400"/>
              <a:gd name="T35" fmla="*/ 371855 h 381000"/>
              <a:gd name="T36" fmla="*/ 9131 w 152400"/>
              <a:gd name="T37" fmla="*/ 371855 h 381000"/>
              <a:gd name="T38" fmla="*/ 9131 w 152400"/>
              <a:gd name="T39" fmla="*/ 374903 h 381000"/>
              <a:gd name="T40" fmla="*/ 143256 w 152400"/>
              <a:gd name="T41" fmla="*/ 374903 h 381000"/>
              <a:gd name="T42" fmla="*/ 143256 w 152400"/>
              <a:gd name="T43" fmla="*/ 371855 h 381000"/>
              <a:gd name="T44" fmla="*/ 143256 w 152400"/>
              <a:gd name="T45" fmla="*/ 6095 h 381000"/>
              <a:gd name="T46" fmla="*/ 143256 w 152400"/>
              <a:gd name="T47" fmla="*/ 374903 h 381000"/>
              <a:gd name="T48" fmla="*/ 149339 w 152400"/>
              <a:gd name="T49" fmla="*/ 371855 h 381000"/>
              <a:gd name="T50" fmla="*/ 152400 w 152400"/>
              <a:gd name="T51" fmla="*/ 371855 h 381000"/>
              <a:gd name="T52" fmla="*/ 152400 w 152400"/>
              <a:gd name="T53" fmla="*/ 9143 h 381000"/>
              <a:gd name="T54" fmla="*/ 149339 w 152400"/>
              <a:gd name="T55" fmla="*/ 9143 h 381000"/>
              <a:gd name="T56" fmla="*/ 143256 w 152400"/>
              <a:gd name="T57" fmla="*/ 6095 h 381000"/>
              <a:gd name="T58" fmla="*/ 152400 w 152400"/>
              <a:gd name="T59" fmla="*/ 371855 h 381000"/>
              <a:gd name="T60" fmla="*/ 149339 w 152400"/>
              <a:gd name="T61" fmla="*/ 371855 h 381000"/>
              <a:gd name="T62" fmla="*/ 143256 w 152400"/>
              <a:gd name="T63" fmla="*/ 374903 h 381000"/>
              <a:gd name="T64" fmla="*/ 152400 w 152400"/>
              <a:gd name="T65" fmla="*/ 374903 h 381000"/>
              <a:gd name="T66" fmla="*/ 152400 w 152400"/>
              <a:gd name="T67" fmla="*/ 371855 h 381000"/>
              <a:gd name="T68" fmla="*/ 9131 w 152400"/>
              <a:gd name="T69" fmla="*/ 6095 h 381000"/>
              <a:gd name="T70" fmla="*/ 6083 w 152400"/>
              <a:gd name="T71" fmla="*/ 9143 h 381000"/>
              <a:gd name="T72" fmla="*/ 9131 w 152400"/>
              <a:gd name="T73" fmla="*/ 9143 h 381000"/>
              <a:gd name="T74" fmla="*/ 9131 w 152400"/>
              <a:gd name="T75" fmla="*/ 6095 h 381000"/>
              <a:gd name="T76" fmla="*/ 143256 w 152400"/>
              <a:gd name="T77" fmla="*/ 6095 h 381000"/>
              <a:gd name="T78" fmla="*/ 9131 w 152400"/>
              <a:gd name="T79" fmla="*/ 6095 h 381000"/>
              <a:gd name="T80" fmla="*/ 9131 w 152400"/>
              <a:gd name="T81" fmla="*/ 9143 h 381000"/>
              <a:gd name="T82" fmla="*/ 143256 w 152400"/>
              <a:gd name="T83" fmla="*/ 9143 h 381000"/>
              <a:gd name="T84" fmla="*/ 143256 w 152400"/>
              <a:gd name="T85" fmla="*/ 6095 h 381000"/>
              <a:gd name="T86" fmla="*/ 152400 w 152400"/>
              <a:gd name="T87" fmla="*/ 6095 h 381000"/>
              <a:gd name="T88" fmla="*/ 143256 w 152400"/>
              <a:gd name="T89" fmla="*/ 6095 h 381000"/>
              <a:gd name="T90" fmla="*/ 149339 w 152400"/>
              <a:gd name="T91" fmla="*/ 9143 h 381000"/>
              <a:gd name="T92" fmla="*/ 152400 w 152400"/>
              <a:gd name="T93" fmla="*/ 9143 h 381000"/>
              <a:gd name="T94" fmla="*/ 152400 w 152400"/>
              <a:gd name="T95" fmla="*/ 6095 h 3810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52400" h="381000">
                <a:moveTo>
                  <a:pt x="152400" y="0"/>
                </a:moveTo>
                <a:lnTo>
                  <a:pt x="0" y="0"/>
                </a:lnTo>
                <a:lnTo>
                  <a:pt x="0" y="380999"/>
                </a:lnTo>
                <a:lnTo>
                  <a:pt x="152400" y="380999"/>
                </a:lnTo>
                <a:lnTo>
                  <a:pt x="152400" y="374903"/>
                </a:lnTo>
                <a:lnTo>
                  <a:pt x="9131" y="374903"/>
                </a:lnTo>
                <a:lnTo>
                  <a:pt x="6083" y="371855"/>
                </a:lnTo>
                <a:lnTo>
                  <a:pt x="9131" y="371855"/>
                </a:lnTo>
                <a:lnTo>
                  <a:pt x="9131" y="9143"/>
                </a:lnTo>
                <a:lnTo>
                  <a:pt x="6083" y="9143"/>
                </a:lnTo>
                <a:lnTo>
                  <a:pt x="9131" y="6095"/>
                </a:lnTo>
                <a:lnTo>
                  <a:pt x="152400" y="6095"/>
                </a:lnTo>
                <a:lnTo>
                  <a:pt x="152400" y="0"/>
                </a:lnTo>
                <a:close/>
              </a:path>
              <a:path w="152400" h="381000">
                <a:moveTo>
                  <a:pt x="9131" y="371855"/>
                </a:moveTo>
                <a:lnTo>
                  <a:pt x="6083" y="371855"/>
                </a:lnTo>
                <a:lnTo>
                  <a:pt x="9131" y="374903"/>
                </a:lnTo>
                <a:lnTo>
                  <a:pt x="9131" y="371855"/>
                </a:lnTo>
                <a:close/>
              </a:path>
              <a:path w="152400" h="381000">
                <a:moveTo>
                  <a:pt x="143256" y="371855"/>
                </a:moveTo>
                <a:lnTo>
                  <a:pt x="9131" y="371855"/>
                </a:lnTo>
                <a:lnTo>
                  <a:pt x="9131" y="374903"/>
                </a:lnTo>
                <a:lnTo>
                  <a:pt x="143256" y="374903"/>
                </a:lnTo>
                <a:lnTo>
                  <a:pt x="143256" y="371855"/>
                </a:lnTo>
                <a:close/>
              </a:path>
              <a:path w="152400" h="381000">
                <a:moveTo>
                  <a:pt x="143256" y="6095"/>
                </a:moveTo>
                <a:lnTo>
                  <a:pt x="143256" y="374903"/>
                </a:lnTo>
                <a:lnTo>
                  <a:pt x="149339" y="371855"/>
                </a:lnTo>
                <a:lnTo>
                  <a:pt x="152400" y="371855"/>
                </a:lnTo>
                <a:lnTo>
                  <a:pt x="152400" y="9143"/>
                </a:lnTo>
                <a:lnTo>
                  <a:pt x="149339" y="9143"/>
                </a:lnTo>
                <a:lnTo>
                  <a:pt x="143256" y="6095"/>
                </a:lnTo>
                <a:close/>
              </a:path>
              <a:path w="152400" h="381000">
                <a:moveTo>
                  <a:pt x="152400" y="371855"/>
                </a:moveTo>
                <a:lnTo>
                  <a:pt x="149339" y="371855"/>
                </a:lnTo>
                <a:lnTo>
                  <a:pt x="143256" y="374903"/>
                </a:lnTo>
                <a:lnTo>
                  <a:pt x="152400" y="374903"/>
                </a:lnTo>
                <a:lnTo>
                  <a:pt x="152400" y="371855"/>
                </a:lnTo>
                <a:close/>
              </a:path>
              <a:path w="152400" h="381000">
                <a:moveTo>
                  <a:pt x="9131" y="6095"/>
                </a:moveTo>
                <a:lnTo>
                  <a:pt x="6083" y="9143"/>
                </a:lnTo>
                <a:lnTo>
                  <a:pt x="9131" y="9143"/>
                </a:lnTo>
                <a:lnTo>
                  <a:pt x="9131" y="6095"/>
                </a:lnTo>
                <a:close/>
              </a:path>
              <a:path w="152400" h="381000">
                <a:moveTo>
                  <a:pt x="143256" y="6095"/>
                </a:moveTo>
                <a:lnTo>
                  <a:pt x="9131" y="6095"/>
                </a:lnTo>
                <a:lnTo>
                  <a:pt x="9131" y="9143"/>
                </a:lnTo>
                <a:lnTo>
                  <a:pt x="143256" y="9143"/>
                </a:lnTo>
                <a:lnTo>
                  <a:pt x="143256" y="6095"/>
                </a:lnTo>
                <a:close/>
              </a:path>
              <a:path w="152400" h="381000">
                <a:moveTo>
                  <a:pt x="152400" y="6095"/>
                </a:moveTo>
                <a:lnTo>
                  <a:pt x="143256" y="6095"/>
                </a:lnTo>
                <a:lnTo>
                  <a:pt x="149339" y="9143"/>
                </a:lnTo>
                <a:lnTo>
                  <a:pt x="152400" y="9143"/>
                </a:lnTo>
                <a:lnTo>
                  <a:pt x="152400"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12" name="object 149">
            <a:extLst>
              <a:ext uri="{FF2B5EF4-FFF2-40B4-BE49-F238E27FC236}">
                <a16:creationId xmlns:a16="http://schemas.microsoft.com/office/drawing/2014/main" id="{57427DD6-2C80-45D3-8DF4-32A42571F69F}"/>
              </a:ext>
            </a:extLst>
          </p:cNvPr>
          <p:cNvSpPr>
            <a:spLocks/>
          </p:cNvSpPr>
          <p:nvPr/>
        </p:nvSpPr>
        <p:spPr bwMode="auto">
          <a:xfrm>
            <a:off x="4380431" y="3475327"/>
            <a:ext cx="0" cy="368300"/>
          </a:xfrm>
          <a:custGeom>
            <a:avLst/>
            <a:gdLst>
              <a:gd name="T0" fmla="*/ 0 h 368807"/>
              <a:gd name="T1" fmla="*/ 367794 h 368807"/>
              <a:gd name="T2" fmla="*/ 0 60000 65536"/>
              <a:gd name="T3" fmla="*/ 0 60000 65536"/>
            </a:gdLst>
            <a:ahLst/>
            <a:cxnLst>
              <a:cxn ang="T2">
                <a:pos x="0" y="T0"/>
              </a:cxn>
              <a:cxn ang="T3">
                <a:pos x="0" y="T1"/>
              </a:cxn>
            </a:cxnLst>
            <a:rect l="0" t="0" r="r" b="b"/>
            <a:pathLst>
              <a:path h="368807">
                <a:moveTo>
                  <a:pt x="0" y="0"/>
                </a:moveTo>
                <a:lnTo>
                  <a:pt x="0" y="368807"/>
                </a:lnTo>
              </a:path>
            </a:pathLst>
          </a:custGeom>
          <a:noFill/>
          <a:ln w="31750">
            <a:solidFill>
              <a:srgbClr val="6783A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13" name="object 150">
            <a:extLst>
              <a:ext uri="{FF2B5EF4-FFF2-40B4-BE49-F238E27FC236}">
                <a16:creationId xmlns:a16="http://schemas.microsoft.com/office/drawing/2014/main" id="{59647CF7-5BF2-4F04-94E9-532F988191AC}"/>
              </a:ext>
            </a:extLst>
          </p:cNvPr>
          <p:cNvSpPr>
            <a:spLocks/>
          </p:cNvSpPr>
          <p:nvPr/>
        </p:nvSpPr>
        <p:spPr bwMode="auto">
          <a:xfrm>
            <a:off x="4362968" y="3468977"/>
            <a:ext cx="36513" cy="381000"/>
          </a:xfrm>
          <a:custGeom>
            <a:avLst/>
            <a:gdLst>
              <a:gd name="T0" fmla="*/ 36463 w 36563"/>
              <a:gd name="T1" fmla="*/ 0 h 381000"/>
              <a:gd name="T2" fmla="*/ 0 w 36563"/>
              <a:gd name="T3" fmla="*/ 0 h 381000"/>
              <a:gd name="T4" fmla="*/ 0 w 36563"/>
              <a:gd name="T5" fmla="*/ 380999 h 381000"/>
              <a:gd name="T6" fmla="*/ 36463 w 36563"/>
              <a:gd name="T7" fmla="*/ 380999 h 381000"/>
              <a:gd name="T8" fmla="*/ 36463 w 36563"/>
              <a:gd name="T9" fmla="*/ 374903 h 381000"/>
              <a:gd name="T10" fmla="*/ 9107 w 36563"/>
              <a:gd name="T11" fmla="*/ 374903 h 381000"/>
              <a:gd name="T12" fmla="*/ 3027 w 36563"/>
              <a:gd name="T13" fmla="*/ 371855 h 381000"/>
              <a:gd name="T14" fmla="*/ 9107 w 36563"/>
              <a:gd name="T15" fmla="*/ 371855 h 381000"/>
              <a:gd name="T16" fmla="*/ 9107 w 36563"/>
              <a:gd name="T17" fmla="*/ 9143 h 381000"/>
              <a:gd name="T18" fmla="*/ 3027 w 36563"/>
              <a:gd name="T19" fmla="*/ 9143 h 381000"/>
              <a:gd name="T20" fmla="*/ 9107 w 36563"/>
              <a:gd name="T21" fmla="*/ 6095 h 381000"/>
              <a:gd name="T22" fmla="*/ 36463 w 36563"/>
              <a:gd name="T23" fmla="*/ 6095 h 381000"/>
              <a:gd name="T24" fmla="*/ 36463 w 36563"/>
              <a:gd name="T25" fmla="*/ 0 h 381000"/>
              <a:gd name="T26" fmla="*/ 9107 w 36563"/>
              <a:gd name="T27" fmla="*/ 371855 h 381000"/>
              <a:gd name="T28" fmla="*/ 3027 w 36563"/>
              <a:gd name="T29" fmla="*/ 371855 h 381000"/>
              <a:gd name="T30" fmla="*/ 9107 w 36563"/>
              <a:gd name="T31" fmla="*/ 374903 h 381000"/>
              <a:gd name="T32" fmla="*/ 9107 w 36563"/>
              <a:gd name="T33" fmla="*/ 371855 h 381000"/>
              <a:gd name="T34" fmla="*/ 27345 w 36563"/>
              <a:gd name="T35" fmla="*/ 371855 h 381000"/>
              <a:gd name="T36" fmla="*/ 9107 w 36563"/>
              <a:gd name="T37" fmla="*/ 371855 h 381000"/>
              <a:gd name="T38" fmla="*/ 9107 w 36563"/>
              <a:gd name="T39" fmla="*/ 374903 h 381000"/>
              <a:gd name="T40" fmla="*/ 27345 w 36563"/>
              <a:gd name="T41" fmla="*/ 374903 h 381000"/>
              <a:gd name="T42" fmla="*/ 27345 w 36563"/>
              <a:gd name="T43" fmla="*/ 371855 h 381000"/>
              <a:gd name="T44" fmla="*/ 27345 w 36563"/>
              <a:gd name="T45" fmla="*/ 6095 h 381000"/>
              <a:gd name="T46" fmla="*/ 27345 w 36563"/>
              <a:gd name="T47" fmla="*/ 374903 h 381000"/>
              <a:gd name="T48" fmla="*/ 33423 w 36563"/>
              <a:gd name="T49" fmla="*/ 371855 h 381000"/>
              <a:gd name="T50" fmla="*/ 36463 w 36563"/>
              <a:gd name="T51" fmla="*/ 371855 h 381000"/>
              <a:gd name="T52" fmla="*/ 36463 w 36563"/>
              <a:gd name="T53" fmla="*/ 9143 h 381000"/>
              <a:gd name="T54" fmla="*/ 33423 w 36563"/>
              <a:gd name="T55" fmla="*/ 9143 h 381000"/>
              <a:gd name="T56" fmla="*/ 27345 w 36563"/>
              <a:gd name="T57" fmla="*/ 6095 h 381000"/>
              <a:gd name="T58" fmla="*/ 36463 w 36563"/>
              <a:gd name="T59" fmla="*/ 371855 h 381000"/>
              <a:gd name="T60" fmla="*/ 33423 w 36563"/>
              <a:gd name="T61" fmla="*/ 371855 h 381000"/>
              <a:gd name="T62" fmla="*/ 27345 w 36563"/>
              <a:gd name="T63" fmla="*/ 374903 h 381000"/>
              <a:gd name="T64" fmla="*/ 36463 w 36563"/>
              <a:gd name="T65" fmla="*/ 374903 h 381000"/>
              <a:gd name="T66" fmla="*/ 36463 w 36563"/>
              <a:gd name="T67" fmla="*/ 371855 h 381000"/>
              <a:gd name="T68" fmla="*/ 9107 w 36563"/>
              <a:gd name="T69" fmla="*/ 6095 h 381000"/>
              <a:gd name="T70" fmla="*/ 3027 w 36563"/>
              <a:gd name="T71" fmla="*/ 9143 h 381000"/>
              <a:gd name="T72" fmla="*/ 9107 w 36563"/>
              <a:gd name="T73" fmla="*/ 9143 h 381000"/>
              <a:gd name="T74" fmla="*/ 9107 w 36563"/>
              <a:gd name="T75" fmla="*/ 6095 h 381000"/>
              <a:gd name="T76" fmla="*/ 27345 w 36563"/>
              <a:gd name="T77" fmla="*/ 6095 h 381000"/>
              <a:gd name="T78" fmla="*/ 9107 w 36563"/>
              <a:gd name="T79" fmla="*/ 6095 h 381000"/>
              <a:gd name="T80" fmla="*/ 9107 w 36563"/>
              <a:gd name="T81" fmla="*/ 9143 h 381000"/>
              <a:gd name="T82" fmla="*/ 27345 w 36563"/>
              <a:gd name="T83" fmla="*/ 9143 h 381000"/>
              <a:gd name="T84" fmla="*/ 27345 w 36563"/>
              <a:gd name="T85" fmla="*/ 6095 h 381000"/>
              <a:gd name="T86" fmla="*/ 36463 w 36563"/>
              <a:gd name="T87" fmla="*/ 6095 h 381000"/>
              <a:gd name="T88" fmla="*/ 27345 w 36563"/>
              <a:gd name="T89" fmla="*/ 6095 h 381000"/>
              <a:gd name="T90" fmla="*/ 33423 w 36563"/>
              <a:gd name="T91" fmla="*/ 9143 h 381000"/>
              <a:gd name="T92" fmla="*/ 36463 w 36563"/>
              <a:gd name="T93" fmla="*/ 9143 h 381000"/>
              <a:gd name="T94" fmla="*/ 36463 w 36563"/>
              <a:gd name="T95" fmla="*/ 6095 h 3810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6563" h="381000">
                <a:moveTo>
                  <a:pt x="36563" y="0"/>
                </a:moveTo>
                <a:lnTo>
                  <a:pt x="0" y="0"/>
                </a:lnTo>
                <a:lnTo>
                  <a:pt x="0" y="380999"/>
                </a:lnTo>
                <a:lnTo>
                  <a:pt x="36563" y="380999"/>
                </a:lnTo>
                <a:lnTo>
                  <a:pt x="36563" y="374903"/>
                </a:lnTo>
                <a:lnTo>
                  <a:pt x="9131" y="374903"/>
                </a:lnTo>
                <a:lnTo>
                  <a:pt x="3035" y="371855"/>
                </a:lnTo>
                <a:lnTo>
                  <a:pt x="9131" y="371855"/>
                </a:lnTo>
                <a:lnTo>
                  <a:pt x="9131" y="9143"/>
                </a:lnTo>
                <a:lnTo>
                  <a:pt x="3035" y="9143"/>
                </a:lnTo>
                <a:lnTo>
                  <a:pt x="9131" y="6095"/>
                </a:lnTo>
                <a:lnTo>
                  <a:pt x="36563" y="6095"/>
                </a:lnTo>
                <a:lnTo>
                  <a:pt x="36563" y="0"/>
                </a:lnTo>
                <a:close/>
              </a:path>
              <a:path w="36563" h="381000">
                <a:moveTo>
                  <a:pt x="9131" y="371855"/>
                </a:moveTo>
                <a:lnTo>
                  <a:pt x="3035" y="371855"/>
                </a:lnTo>
                <a:lnTo>
                  <a:pt x="9131" y="374903"/>
                </a:lnTo>
                <a:lnTo>
                  <a:pt x="9131" y="371855"/>
                </a:lnTo>
                <a:close/>
              </a:path>
              <a:path w="36563" h="381000">
                <a:moveTo>
                  <a:pt x="27419" y="371855"/>
                </a:moveTo>
                <a:lnTo>
                  <a:pt x="9131" y="371855"/>
                </a:lnTo>
                <a:lnTo>
                  <a:pt x="9131" y="374903"/>
                </a:lnTo>
                <a:lnTo>
                  <a:pt x="27419" y="374903"/>
                </a:lnTo>
                <a:lnTo>
                  <a:pt x="27419" y="371855"/>
                </a:lnTo>
                <a:close/>
              </a:path>
              <a:path w="36563" h="381000">
                <a:moveTo>
                  <a:pt x="27419" y="6095"/>
                </a:moveTo>
                <a:lnTo>
                  <a:pt x="27419" y="374903"/>
                </a:lnTo>
                <a:lnTo>
                  <a:pt x="33515" y="371855"/>
                </a:lnTo>
                <a:lnTo>
                  <a:pt x="36563" y="371855"/>
                </a:lnTo>
                <a:lnTo>
                  <a:pt x="36563" y="9143"/>
                </a:lnTo>
                <a:lnTo>
                  <a:pt x="33515" y="9143"/>
                </a:lnTo>
                <a:lnTo>
                  <a:pt x="27419" y="6095"/>
                </a:lnTo>
                <a:close/>
              </a:path>
              <a:path w="36563" h="381000">
                <a:moveTo>
                  <a:pt x="36563" y="371855"/>
                </a:moveTo>
                <a:lnTo>
                  <a:pt x="33515" y="371855"/>
                </a:lnTo>
                <a:lnTo>
                  <a:pt x="27419" y="374903"/>
                </a:lnTo>
                <a:lnTo>
                  <a:pt x="36563" y="374903"/>
                </a:lnTo>
                <a:lnTo>
                  <a:pt x="36563" y="371855"/>
                </a:lnTo>
                <a:close/>
              </a:path>
              <a:path w="36563" h="381000">
                <a:moveTo>
                  <a:pt x="9131" y="6095"/>
                </a:moveTo>
                <a:lnTo>
                  <a:pt x="3035" y="9143"/>
                </a:lnTo>
                <a:lnTo>
                  <a:pt x="9131" y="9143"/>
                </a:lnTo>
                <a:lnTo>
                  <a:pt x="9131" y="6095"/>
                </a:lnTo>
                <a:close/>
              </a:path>
              <a:path w="36563" h="381000">
                <a:moveTo>
                  <a:pt x="27419" y="6095"/>
                </a:moveTo>
                <a:lnTo>
                  <a:pt x="9131" y="6095"/>
                </a:lnTo>
                <a:lnTo>
                  <a:pt x="9131" y="9143"/>
                </a:lnTo>
                <a:lnTo>
                  <a:pt x="27419" y="9143"/>
                </a:lnTo>
                <a:lnTo>
                  <a:pt x="27419" y="6095"/>
                </a:lnTo>
                <a:close/>
              </a:path>
              <a:path w="36563" h="381000">
                <a:moveTo>
                  <a:pt x="36563" y="6095"/>
                </a:moveTo>
                <a:lnTo>
                  <a:pt x="27419" y="6095"/>
                </a:lnTo>
                <a:lnTo>
                  <a:pt x="33515" y="9143"/>
                </a:lnTo>
                <a:lnTo>
                  <a:pt x="36563" y="9143"/>
                </a:lnTo>
                <a:lnTo>
                  <a:pt x="36563"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14" name="object 151">
            <a:extLst>
              <a:ext uri="{FF2B5EF4-FFF2-40B4-BE49-F238E27FC236}">
                <a16:creationId xmlns:a16="http://schemas.microsoft.com/office/drawing/2014/main" id="{1F208E84-B8C7-4463-A434-289858E0B688}"/>
              </a:ext>
            </a:extLst>
          </p:cNvPr>
          <p:cNvSpPr>
            <a:spLocks/>
          </p:cNvSpPr>
          <p:nvPr/>
        </p:nvSpPr>
        <p:spPr bwMode="auto">
          <a:xfrm>
            <a:off x="4256606" y="3484852"/>
            <a:ext cx="44450" cy="12700"/>
          </a:xfrm>
          <a:custGeom>
            <a:avLst/>
            <a:gdLst>
              <a:gd name="T0" fmla="*/ 0 w 45707"/>
              <a:gd name="T1" fmla="*/ 6615 h 12192"/>
              <a:gd name="T2" fmla="*/ 43228 w 45707"/>
              <a:gd name="T3" fmla="*/ 6615 h 12192"/>
              <a:gd name="T4" fmla="*/ 0 60000 65536"/>
              <a:gd name="T5" fmla="*/ 0 60000 65536"/>
            </a:gdLst>
            <a:ahLst/>
            <a:cxnLst>
              <a:cxn ang="T4">
                <a:pos x="T0" y="T1"/>
              </a:cxn>
              <a:cxn ang="T5">
                <a:pos x="T2" y="T3"/>
              </a:cxn>
            </a:cxnLst>
            <a:rect l="0" t="0" r="r" b="b"/>
            <a:pathLst>
              <a:path w="45707" h="12192">
                <a:moveTo>
                  <a:pt x="0" y="6096"/>
                </a:moveTo>
                <a:lnTo>
                  <a:pt x="45707" y="6096"/>
                </a:lnTo>
              </a:path>
            </a:pathLst>
          </a:custGeom>
          <a:noFill/>
          <a:ln w="13462">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15" name="object 152">
            <a:extLst>
              <a:ext uri="{FF2B5EF4-FFF2-40B4-BE49-F238E27FC236}">
                <a16:creationId xmlns:a16="http://schemas.microsoft.com/office/drawing/2014/main" id="{A5B458BC-2679-4FB5-A9F2-F9A5EBD3A3FD}"/>
              </a:ext>
            </a:extLst>
          </p:cNvPr>
          <p:cNvSpPr>
            <a:spLocks/>
          </p:cNvSpPr>
          <p:nvPr/>
        </p:nvSpPr>
        <p:spPr bwMode="auto">
          <a:xfrm>
            <a:off x="4291531" y="3756315"/>
            <a:ext cx="0" cy="60325"/>
          </a:xfrm>
          <a:custGeom>
            <a:avLst/>
            <a:gdLst>
              <a:gd name="T0" fmla="*/ 0 h 60960"/>
              <a:gd name="T1" fmla="*/ 59697 h 60960"/>
              <a:gd name="T2" fmla="*/ 0 60000 65536"/>
              <a:gd name="T3" fmla="*/ 0 60000 65536"/>
            </a:gdLst>
            <a:ahLst/>
            <a:cxnLst>
              <a:cxn ang="T2">
                <a:pos x="0" y="T0"/>
              </a:cxn>
              <a:cxn ang="T3">
                <a:pos x="0" y="T1"/>
              </a:cxn>
            </a:cxnLst>
            <a:rect l="0" t="0" r="r" b="b"/>
            <a:pathLst>
              <a:path h="60960">
                <a:moveTo>
                  <a:pt x="0" y="0"/>
                </a:moveTo>
                <a:lnTo>
                  <a:pt x="0" y="60960"/>
                </a:lnTo>
              </a:path>
            </a:pathLst>
          </a:custGeom>
          <a:noFill/>
          <a:ln w="22606">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16" name="object 153">
            <a:extLst>
              <a:ext uri="{FF2B5EF4-FFF2-40B4-BE49-F238E27FC236}">
                <a16:creationId xmlns:a16="http://schemas.microsoft.com/office/drawing/2014/main" id="{DB68BD36-1327-4B87-B5F4-80F70AA94D01}"/>
              </a:ext>
            </a:extLst>
          </p:cNvPr>
          <p:cNvSpPr>
            <a:spLocks/>
          </p:cNvSpPr>
          <p:nvPr/>
        </p:nvSpPr>
        <p:spPr bwMode="auto">
          <a:xfrm>
            <a:off x="4274068" y="3764252"/>
            <a:ext cx="9525" cy="12700"/>
          </a:xfrm>
          <a:custGeom>
            <a:avLst/>
            <a:gdLst>
              <a:gd name="T0" fmla="*/ 0 w 9131"/>
              <a:gd name="T1" fmla="*/ 6621 h 12179"/>
              <a:gd name="T2" fmla="*/ 9936 w 9131"/>
              <a:gd name="T3" fmla="*/ 6621 h 12179"/>
              <a:gd name="T4" fmla="*/ 0 60000 65536"/>
              <a:gd name="T5" fmla="*/ 0 60000 65536"/>
            </a:gdLst>
            <a:ahLst/>
            <a:cxnLst>
              <a:cxn ang="T4">
                <a:pos x="T0" y="T1"/>
              </a:cxn>
              <a:cxn ang="T5">
                <a:pos x="T2" y="T3"/>
              </a:cxn>
            </a:cxnLst>
            <a:rect l="0" t="0" r="r" b="b"/>
            <a:pathLst>
              <a:path w="9131" h="12179">
                <a:moveTo>
                  <a:pt x="0" y="6089"/>
                </a:moveTo>
                <a:lnTo>
                  <a:pt x="9131" y="6089"/>
                </a:lnTo>
              </a:path>
            </a:pathLst>
          </a:custGeom>
          <a:noFill/>
          <a:ln w="13449">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17" name="object 154">
            <a:extLst>
              <a:ext uri="{FF2B5EF4-FFF2-40B4-BE49-F238E27FC236}">
                <a16:creationId xmlns:a16="http://schemas.microsoft.com/office/drawing/2014/main" id="{5B61F006-D1BE-4530-928F-F4250B861DD2}"/>
              </a:ext>
            </a:extLst>
          </p:cNvPr>
          <p:cNvSpPr>
            <a:spLocks/>
          </p:cNvSpPr>
          <p:nvPr/>
        </p:nvSpPr>
        <p:spPr bwMode="auto">
          <a:xfrm>
            <a:off x="4274068" y="3796002"/>
            <a:ext cx="9525" cy="11113"/>
          </a:xfrm>
          <a:custGeom>
            <a:avLst/>
            <a:gdLst>
              <a:gd name="T0" fmla="*/ 0 w 9131"/>
              <a:gd name="T1" fmla="*/ 5070 h 12179"/>
              <a:gd name="T2" fmla="*/ 9936 w 9131"/>
              <a:gd name="T3" fmla="*/ 5070 h 12179"/>
              <a:gd name="T4" fmla="*/ 0 60000 65536"/>
              <a:gd name="T5" fmla="*/ 0 60000 65536"/>
            </a:gdLst>
            <a:ahLst/>
            <a:cxnLst>
              <a:cxn ang="T4">
                <a:pos x="T0" y="T1"/>
              </a:cxn>
              <a:cxn ang="T5">
                <a:pos x="T2" y="T3"/>
              </a:cxn>
            </a:cxnLst>
            <a:rect l="0" t="0" r="r" b="b"/>
            <a:pathLst>
              <a:path w="9131" h="12179">
                <a:moveTo>
                  <a:pt x="0" y="6089"/>
                </a:moveTo>
                <a:lnTo>
                  <a:pt x="9131" y="6089"/>
                </a:lnTo>
              </a:path>
            </a:pathLst>
          </a:custGeom>
          <a:noFill/>
          <a:ln w="13449">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18" name="object 155">
            <a:extLst>
              <a:ext uri="{FF2B5EF4-FFF2-40B4-BE49-F238E27FC236}">
                <a16:creationId xmlns:a16="http://schemas.microsoft.com/office/drawing/2014/main" id="{B27D919E-235D-4445-8191-D082D1BEE2D0}"/>
              </a:ext>
            </a:extLst>
          </p:cNvPr>
          <p:cNvSpPr>
            <a:spLocks/>
          </p:cNvSpPr>
          <p:nvPr/>
        </p:nvSpPr>
        <p:spPr bwMode="auto">
          <a:xfrm>
            <a:off x="4334393" y="3783302"/>
            <a:ext cx="22225" cy="33338"/>
          </a:xfrm>
          <a:custGeom>
            <a:avLst/>
            <a:gdLst>
              <a:gd name="T0" fmla="*/ 0 w 21336"/>
              <a:gd name="T1" fmla="*/ 16581 h 33515"/>
              <a:gd name="T2" fmla="*/ 23151 w 21336"/>
              <a:gd name="T3" fmla="*/ 16581 h 33515"/>
              <a:gd name="T4" fmla="*/ 0 60000 65536"/>
              <a:gd name="T5" fmla="*/ 0 60000 65536"/>
            </a:gdLst>
            <a:ahLst/>
            <a:cxnLst>
              <a:cxn ang="T4">
                <a:pos x="T0" y="T1"/>
              </a:cxn>
              <a:cxn ang="T5">
                <a:pos x="T2" y="T3"/>
              </a:cxn>
            </a:cxnLst>
            <a:rect l="0" t="0" r="r" b="b"/>
            <a:pathLst>
              <a:path w="21336" h="33515">
                <a:moveTo>
                  <a:pt x="0" y="16757"/>
                </a:moveTo>
                <a:lnTo>
                  <a:pt x="21336" y="16757"/>
                </a:lnTo>
              </a:path>
            </a:pathLst>
          </a:custGeom>
          <a:noFill/>
          <a:ln w="34785">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19" name="object 156">
            <a:extLst>
              <a:ext uri="{FF2B5EF4-FFF2-40B4-BE49-F238E27FC236}">
                <a16:creationId xmlns:a16="http://schemas.microsoft.com/office/drawing/2014/main" id="{9DC9DBDA-CF67-44A2-8B65-2F268329086F}"/>
              </a:ext>
            </a:extLst>
          </p:cNvPr>
          <p:cNvSpPr>
            <a:spLocks/>
          </p:cNvSpPr>
          <p:nvPr/>
        </p:nvSpPr>
        <p:spPr bwMode="auto">
          <a:xfrm>
            <a:off x="4329631" y="3796002"/>
            <a:ext cx="7937" cy="11113"/>
          </a:xfrm>
          <a:custGeom>
            <a:avLst/>
            <a:gdLst>
              <a:gd name="T0" fmla="*/ 0 w 9131"/>
              <a:gd name="T1" fmla="*/ 5070 h 12179"/>
              <a:gd name="T2" fmla="*/ 6899 w 9131"/>
              <a:gd name="T3" fmla="*/ 5070 h 12179"/>
              <a:gd name="T4" fmla="*/ 0 60000 65536"/>
              <a:gd name="T5" fmla="*/ 0 60000 65536"/>
            </a:gdLst>
            <a:ahLst/>
            <a:cxnLst>
              <a:cxn ang="T4">
                <a:pos x="T0" y="T1"/>
              </a:cxn>
              <a:cxn ang="T5">
                <a:pos x="T2" y="T3"/>
              </a:cxn>
            </a:cxnLst>
            <a:rect l="0" t="0" r="r" b="b"/>
            <a:pathLst>
              <a:path w="9131" h="12179">
                <a:moveTo>
                  <a:pt x="0" y="6089"/>
                </a:moveTo>
                <a:lnTo>
                  <a:pt x="9131" y="6089"/>
                </a:lnTo>
              </a:path>
            </a:pathLst>
          </a:custGeom>
          <a:noFill/>
          <a:ln w="13449">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20" name="object 157">
            <a:extLst>
              <a:ext uri="{FF2B5EF4-FFF2-40B4-BE49-F238E27FC236}">
                <a16:creationId xmlns:a16="http://schemas.microsoft.com/office/drawing/2014/main" id="{603F44E2-90C3-4646-9692-CE8333718F45}"/>
              </a:ext>
            </a:extLst>
          </p:cNvPr>
          <p:cNvSpPr>
            <a:spLocks/>
          </p:cNvSpPr>
          <p:nvPr/>
        </p:nvSpPr>
        <p:spPr bwMode="auto">
          <a:xfrm>
            <a:off x="4258193" y="3508665"/>
            <a:ext cx="46038" cy="52387"/>
          </a:xfrm>
          <a:custGeom>
            <a:avLst/>
            <a:gdLst>
              <a:gd name="T0" fmla="*/ 43270 w 45719"/>
              <a:gd name="T1" fmla="*/ 0 h 51803"/>
              <a:gd name="T2" fmla="*/ 6182 w 45719"/>
              <a:gd name="T3" fmla="*/ 0 h 51803"/>
              <a:gd name="T4" fmla="*/ 0 w 45719"/>
              <a:gd name="T5" fmla="*/ 3116 h 51803"/>
              <a:gd name="T6" fmla="*/ 0 w 45719"/>
              <a:gd name="T7" fmla="*/ 49873 h 51803"/>
              <a:gd name="T8" fmla="*/ 6182 w 45719"/>
              <a:gd name="T9" fmla="*/ 52978 h 51803"/>
              <a:gd name="T10" fmla="*/ 43270 w 45719"/>
              <a:gd name="T11" fmla="*/ 52978 h 51803"/>
              <a:gd name="T12" fmla="*/ 46360 w 45719"/>
              <a:gd name="T13" fmla="*/ 49873 h 51803"/>
              <a:gd name="T14" fmla="*/ 46360 w 45719"/>
              <a:gd name="T15" fmla="*/ 3116 h 51803"/>
              <a:gd name="T16" fmla="*/ 43270 w 45719"/>
              <a:gd name="T17" fmla="*/ 0 h 518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19" h="51803">
                <a:moveTo>
                  <a:pt x="42672" y="0"/>
                </a:moveTo>
                <a:lnTo>
                  <a:pt x="6096" y="0"/>
                </a:lnTo>
                <a:lnTo>
                  <a:pt x="0" y="3047"/>
                </a:lnTo>
                <a:lnTo>
                  <a:pt x="0" y="48767"/>
                </a:lnTo>
                <a:lnTo>
                  <a:pt x="6096" y="51803"/>
                </a:lnTo>
                <a:lnTo>
                  <a:pt x="42672" y="51803"/>
                </a:lnTo>
                <a:lnTo>
                  <a:pt x="45720" y="48767"/>
                </a:lnTo>
                <a:lnTo>
                  <a:pt x="45720" y="3047"/>
                </a:lnTo>
                <a:lnTo>
                  <a:pt x="42672"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21" name="object 158">
            <a:extLst>
              <a:ext uri="{FF2B5EF4-FFF2-40B4-BE49-F238E27FC236}">
                <a16:creationId xmlns:a16="http://schemas.microsoft.com/office/drawing/2014/main" id="{D42ABE79-A003-4CB6-B036-3759C8869831}"/>
              </a:ext>
            </a:extLst>
          </p:cNvPr>
          <p:cNvSpPr>
            <a:spLocks/>
          </p:cNvSpPr>
          <p:nvPr/>
        </p:nvSpPr>
        <p:spPr bwMode="auto">
          <a:xfrm>
            <a:off x="4264543" y="3515015"/>
            <a:ext cx="33338" cy="39687"/>
          </a:xfrm>
          <a:custGeom>
            <a:avLst/>
            <a:gdLst>
              <a:gd name="T0" fmla="*/ 30159 w 33515"/>
              <a:gd name="T1" fmla="*/ 0 h 39611"/>
              <a:gd name="T2" fmla="*/ 3003 w 33515"/>
              <a:gd name="T3" fmla="*/ 0 h 39611"/>
              <a:gd name="T4" fmla="*/ 0 w 33515"/>
              <a:gd name="T5" fmla="*/ 3059 h 39611"/>
              <a:gd name="T6" fmla="*/ 0 w 33515"/>
              <a:gd name="T7" fmla="*/ 36703 h 39611"/>
              <a:gd name="T8" fmla="*/ 3003 w 33515"/>
              <a:gd name="T9" fmla="*/ 39763 h 39611"/>
              <a:gd name="T10" fmla="*/ 30159 w 33515"/>
              <a:gd name="T11" fmla="*/ 39763 h 39611"/>
              <a:gd name="T12" fmla="*/ 33162 w 33515"/>
              <a:gd name="T13" fmla="*/ 36703 h 39611"/>
              <a:gd name="T14" fmla="*/ 33162 w 33515"/>
              <a:gd name="T15" fmla="*/ 3059 h 39611"/>
              <a:gd name="T16" fmla="*/ 30159 w 33515"/>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39611">
                <a:moveTo>
                  <a:pt x="30480" y="0"/>
                </a:moveTo>
                <a:lnTo>
                  <a:pt x="3035" y="0"/>
                </a:lnTo>
                <a:lnTo>
                  <a:pt x="0" y="3047"/>
                </a:lnTo>
                <a:lnTo>
                  <a:pt x="0" y="36563"/>
                </a:lnTo>
                <a:lnTo>
                  <a:pt x="3035" y="39611"/>
                </a:lnTo>
                <a:lnTo>
                  <a:pt x="30480" y="39611"/>
                </a:lnTo>
                <a:lnTo>
                  <a:pt x="33515" y="36563"/>
                </a:lnTo>
                <a:lnTo>
                  <a:pt x="33515" y="3047"/>
                </a:lnTo>
                <a:lnTo>
                  <a:pt x="30480"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22" name="object 159">
            <a:extLst>
              <a:ext uri="{FF2B5EF4-FFF2-40B4-BE49-F238E27FC236}">
                <a16:creationId xmlns:a16="http://schemas.microsoft.com/office/drawing/2014/main" id="{AFD6674C-6AE1-4DAF-B77E-AACDDCC2B97F}"/>
              </a:ext>
            </a:extLst>
          </p:cNvPr>
          <p:cNvSpPr>
            <a:spLocks/>
          </p:cNvSpPr>
          <p:nvPr/>
        </p:nvSpPr>
        <p:spPr bwMode="auto">
          <a:xfrm>
            <a:off x="4261368" y="3511840"/>
            <a:ext cx="39688" cy="46037"/>
          </a:xfrm>
          <a:custGeom>
            <a:avLst/>
            <a:gdLst>
              <a:gd name="T0" fmla="*/ 30578 w 39624"/>
              <a:gd name="T1" fmla="*/ 0 h 45707"/>
              <a:gd name="T2" fmla="*/ 9161 w 39624"/>
              <a:gd name="T3" fmla="*/ 0 h 45707"/>
              <a:gd name="T4" fmla="*/ 3058 w 39624"/>
              <a:gd name="T5" fmla="*/ 3091 h 45707"/>
              <a:gd name="T6" fmla="*/ 0 w 39624"/>
              <a:gd name="T7" fmla="*/ 9275 h 45707"/>
              <a:gd name="T8" fmla="*/ 0 w 39624"/>
              <a:gd name="T9" fmla="*/ 40185 h 45707"/>
              <a:gd name="T10" fmla="*/ 3058 w 39624"/>
              <a:gd name="T11" fmla="*/ 43277 h 45707"/>
              <a:gd name="T12" fmla="*/ 3058 w 39624"/>
              <a:gd name="T13" fmla="*/ 46369 h 45707"/>
              <a:gd name="T14" fmla="*/ 36681 w 39624"/>
              <a:gd name="T15" fmla="*/ 46369 h 45707"/>
              <a:gd name="T16" fmla="*/ 36681 w 39624"/>
              <a:gd name="T17" fmla="*/ 43277 h 45707"/>
              <a:gd name="T18" fmla="*/ 39752 w 39624"/>
              <a:gd name="T19" fmla="*/ 40185 h 45707"/>
              <a:gd name="T20" fmla="*/ 9161 w 39624"/>
              <a:gd name="T21" fmla="*/ 40185 h 45707"/>
              <a:gd name="T22" fmla="*/ 6103 w 39624"/>
              <a:gd name="T23" fmla="*/ 37093 h 45707"/>
              <a:gd name="T24" fmla="*/ 6103 w 39624"/>
              <a:gd name="T25" fmla="*/ 9275 h 45707"/>
              <a:gd name="T26" fmla="*/ 9161 w 39624"/>
              <a:gd name="T27" fmla="*/ 6183 h 45707"/>
              <a:gd name="T28" fmla="*/ 38217 w 39624"/>
              <a:gd name="T29" fmla="*/ 6183 h 45707"/>
              <a:gd name="T30" fmla="*/ 36681 w 39624"/>
              <a:gd name="T31" fmla="*/ 3091 h 45707"/>
              <a:gd name="T32" fmla="*/ 30578 w 39624"/>
              <a:gd name="T33" fmla="*/ 0 h 45707"/>
              <a:gd name="T34" fmla="*/ 38217 w 39624"/>
              <a:gd name="T35" fmla="*/ 6183 h 45707"/>
              <a:gd name="T36" fmla="*/ 30578 w 39624"/>
              <a:gd name="T37" fmla="*/ 6183 h 45707"/>
              <a:gd name="T38" fmla="*/ 33636 w 39624"/>
              <a:gd name="T39" fmla="*/ 9275 h 45707"/>
              <a:gd name="T40" fmla="*/ 33636 w 39624"/>
              <a:gd name="T41" fmla="*/ 37093 h 45707"/>
              <a:gd name="T42" fmla="*/ 30578 w 39624"/>
              <a:gd name="T43" fmla="*/ 40185 h 45707"/>
              <a:gd name="T44" fmla="*/ 39752 w 39624"/>
              <a:gd name="T45" fmla="*/ 40185 h 45707"/>
              <a:gd name="T46" fmla="*/ 39752 w 39624"/>
              <a:gd name="T47" fmla="*/ 9275 h 45707"/>
              <a:gd name="T48" fmla="*/ 38217 w 39624"/>
              <a:gd name="T49" fmla="*/ 6183 h 45707"/>
              <a:gd name="T50" fmla="*/ 8137 w 39624"/>
              <a:gd name="T51" fmla="*/ 8250 h 45707"/>
              <a:gd name="T52" fmla="*/ 6103 w 39624"/>
              <a:gd name="T53" fmla="*/ 9275 h 45707"/>
              <a:gd name="T54" fmla="*/ 6103 w 39624"/>
              <a:gd name="T55" fmla="*/ 12356 h 45707"/>
              <a:gd name="T56" fmla="*/ 8137 w 39624"/>
              <a:gd name="T57" fmla="*/ 8250 h 45707"/>
              <a:gd name="T58" fmla="*/ 31602 w 39624"/>
              <a:gd name="T59" fmla="*/ 8250 h 45707"/>
              <a:gd name="T60" fmla="*/ 33636 w 39624"/>
              <a:gd name="T61" fmla="*/ 12356 h 45707"/>
              <a:gd name="T62" fmla="*/ 33636 w 39624"/>
              <a:gd name="T63" fmla="*/ 9275 h 45707"/>
              <a:gd name="T64" fmla="*/ 31602 w 39624"/>
              <a:gd name="T65" fmla="*/ 8250 h 45707"/>
              <a:gd name="T66" fmla="*/ 9161 w 39624"/>
              <a:gd name="T67" fmla="*/ 6183 h 45707"/>
              <a:gd name="T68" fmla="*/ 6103 w 39624"/>
              <a:gd name="T69" fmla="*/ 9275 h 45707"/>
              <a:gd name="T70" fmla="*/ 8137 w 39624"/>
              <a:gd name="T71" fmla="*/ 8250 h 45707"/>
              <a:gd name="T72" fmla="*/ 9161 w 39624"/>
              <a:gd name="T73" fmla="*/ 6183 h 45707"/>
              <a:gd name="T74" fmla="*/ 30578 w 39624"/>
              <a:gd name="T75" fmla="*/ 6183 h 45707"/>
              <a:gd name="T76" fmla="*/ 31602 w 39624"/>
              <a:gd name="T77" fmla="*/ 8250 h 45707"/>
              <a:gd name="T78" fmla="*/ 33636 w 39624"/>
              <a:gd name="T79" fmla="*/ 9275 h 45707"/>
              <a:gd name="T80" fmla="*/ 30578 w 39624"/>
              <a:gd name="T81" fmla="*/ 6183 h 45707"/>
              <a:gd name="T82" fmla="*/ 12232 w 39624"/>
              <a:gd name="T83" fmla="*/ 6183 h 45707"/>
              <a:gd name="T84" fmla="*/ 9161 w 39624"/>
              <a:gd name="T85" fmla="*/ 6183 h 45707"/>
              <a:gd name="T86" fmla="*/ 8137 w 39624"/>
              <a:gd name="T87" fmla="*/ 8250 h 45707"/>
              <a:gd name="T88" fmla="*/ 12232 w 39624"/>
              <a:gd name="T89" fmla="*/ 6183 h 45707"/>
              <a:gd name="T90" fmla="*/ 30578 w 39624"/>
              <a:gd name="T91" fmla="*/ 6183 h 45707"/>
              <a:gd name="T92" fmla="*/ 27507 w 39624"/>
              <a:gd name="T93" fmla="*/ 6183 h 45707"/>
              <a:gd name="T94" fmla="*/ 31602 w 39624"/>
              <a:gd name="T95" fmla="*/ 8250 h 45707"/>
              <a:gd name="T96" fmla="*/ 30578 w 39624"/>
              <a:gd name="T97" fmla="*/ 6183 h 4570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624" h="45707">
                <a:moveTo>
                  <a:pt x="30480" y="0"/>
                </a:moveTo>
                <a:lnTo>
                  <a:pt x="9131" y="0"/>
                </a:lnTo>
                <a:lnTo>
                  <a:pt x="3048" y="3047"/>
                </a:lnTo>
                <a:lnTo>
                  <a:pt x="0" y="9143"/>
                </a:lnTo>
                <a:lnTo>
                  <a:pt x="0" y="39611"/>
                </a:lnTo>
                <a:lnTo>
                  <a:pt x="3048" y="42659"/>
                </a:lnTo>
                <a:lnTo>
                  <a:pt x="3048" y="45707"/>
                </a:lnTo>
                <a:lnTo>
                  <a:pt x="36563" y="45707"/>
                </a:lnTo>
                <a:lnTo>
                  <a:pt x="36563" y="42659"/>
                </a:lnTo>
                <a:lnTo>
                  <a:pt x="39624" y="39611"/>
                </a:lnTo>
                <a:lnTo>
                  <a:pt x="9131" y="39611"/>
                </a:lnTo>
                <a:lnTo>
                  <a:pt x="6083" y="36563"/>
                </a:lnTo>
                <a:lnTo>
                  <a:pt x="6083" y="9143"/>
                </a:lnTo>
                <a:lnTo>
                  <a:pt x="9131" y="6095"/>
                </a:lnTo>
                <a:lnTo>
                  <a:pt x="38093" y="6095"/>
                </a:lnTo>
                <a:lnTo>
                  <a:pt x="36563" y="3047"/>
                </a:lnTo>
                <a:lnTo>
                  <a:pt x="30480" y="0"/>
                </a:lnTo>
                <a:close/>
              </a:path>
              <a:path w="39624" h="45707">
                <a:moveTo>
                  <a:pt x="38093" y="6095"/>
                </a:moveTo>
                <a:lnTo>
                  <a:pt x="30480" y="6095"/>
                </a:lnTo>
                <a:lnTo>
                  <a:pt x="33528" y="9143"/>
                </a:lnTo>
                <a:lnTo>
                  <a:pt x="33528" y="36563"/>
                </a:lnTo>
                <a:lnTo>
                  <a:pt x="30480" y="39611"/>
                </a:lnTo>
                <a:lnTo>
                  <a:pt x="39624" y="39611"/>
                </a:lnTo>
                <a:lnTo>
                  <a:pt x="39624" y="9143"/>
                </a:lnTo>
                <a:lnTo>
                  <a:pt x="38093" y="6095"/>
                </a:lnTo>
                <a:close/>
              </a:path>
              <a:path w="39624" h="45707">
                <a:moveTo>
                  <a:pt x="8111" y="8132"/>
                </a:moveTo>
                <a:lnTo>
                  <a:pt x="6083" y="9143"/>
                </a:lnTo>
                <a:lnTo>
                  <a:pt x="6083" y="12179"/>
                </a:lnTo>
                <a:lnTo>
                  <a:pt x="8111" y="8132"/>
                </a:lnTo>
                <a:close/>
              </a:path>
              <a:path w="39624" h="45707">
                <a:moveTo>
                  <a:pt x="31500" y="8132"/>
                </a:moveTo>
                <a:lnTo>
                  <a:pt x="33528" y="12179"/>
                </a:lnTo>
                <a:lnTo>
                  <a:pt x="33528" y="9143"/>
                </a:lnTo>
                <a:lnTo>
                  <a:pt x="31500" y="8132"/>
                </a:lnTo>
                <a:close/>
              </a:path>
              <a:path w="39624" h="45707">
                <a:moveTo>
                  <a:pt x="9131" y="6095"/>
                </a:moveTo>
                <a:lnTo>
                  <a:pt x="6083" y="9143"/>
                </a:lnTo>
                <a:lnTo>
                  <a:pt x="8111" y="8132"/>
                </a:lnTo>
                <a:lnTo>
                  <a:pt x="9131" y="6095"/>
                </a:lnTo>
                <a:close/>
              </a:path>
              <a:path w="39624" h="45707">
                <a:moveTo>
                  <a:pt x="30480" y="6095"/>
                </a:moveTo>
                <a:lnTo>
                  <a:pt x="31500" y="8132"/>
                </a:lnTo>
                <a:lnTo>
                  <a:pt x="33528" y="9143"/>
                </a:lnTo>
                <a:lnTo>
                  <a:pt x="30480" y="6095"/>
                </a:lnTo>
                <a:close/>
              </a:path>
              <a:path w="39624" h="45707">
                <a:moveTo>
                  <a:pt x="12192" y="6095"/>
                </a:moveTo>
                <a:lnTo>
                  <a:pt x="9131" y="6095"/>
                </a:lnTo>
                <a:lnTo>
                  <a:pt x="8111" y="8132"/>
                </a:lnTo>
                <a:lnTo>
                  <a:pt x="12192" y="6095"/>
                </a:lnTo>
                <a:close/>
              </a:path>
              <a:path w="39624" h="45707">
                <a:moveTo>
                  <a:pt x="30480" y="6095"/>
                </a:moveTo>
                <a:lnTo>
                  <a:pt x="27419" y="6095"/>
                </a:lnTo>
                <a:lnTo>
                  <a:pt x="31500" y="8132"/>
                </a:lnTo>
                <a:lnTo>
                  <a:pt x="30480"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23" name="object 160">
            <a:extLst>
              <a:ext uri="{FF2B5EF4-FFF2-40B4-BE49-F238E27FC236}">
                <a16:creationId xmlns:a16="http://schemas.microsoft.com/office/drawing/2014/main" id="{63DE00F5-225F-4B5E-87E0-B782526B0731}"/>
              </a:ext>
            </a:extLst>
          </p:cNvPr>
          <p:cNvSpPr>
            <a:spLocks/>
          </p:cNvSpPr>
          <p:nvPr/>
        </p:nvSpPr>
        <p:spPr bwMode="auto">
          <a:xfrm>
            <a:off x="4258193" y="3570577"/>
            <a:ext cx="46038" cy="53975"/>
          </a:xfrm>
          <a:custGeom>
            <a:avLst/>
            <a:gdLst>
              <a:gd name="T0" fmla="*/ 43270 w 45719"/>
              <a:gd name="T1" fmla="*/ 0 h 54851"/>
              <a:gd name="T2" fmla="*/ 6182 w 45719"/>
              <a:gd name="T3" fmla="*/ 0 h 54851"/>
              <a:gd name="T4" fmla="*/ 0 w 45719"/>
              <a:gd name="T5" fmla="*/ 2951 h 54851"/>
              <a:gd name="T6" fmla="*/ 0 w 45719"/>
              <a:gd name="T7" fmla="*/ 47210 h 54851"/>
              <a:gd name="T8" fmla="*/ 6182 w 45719"/>
              <a:gd name="T9" fmla="*/ 53113 h 54851"/>
              <a:gd name="T10" fmla="*/ 43270 w 45719"/>
              <a:gd name="T11" fmla="*/ 53113 h 54851"/>
              <a:gd name="T12" fmla="*/ 46360 w 45719"/>
              <a:gd name="T13" fmla="*/ 47210 h 54851"/>
              <a:gd name="T14" fmla="*/ 46360 w 45719"/>
              <a:gd name="T15" fmla="*/ 2951 h 54851"/>
              <a:gd name="T16" fmla="*/ 43270 w 45719"/>
              <a:gd name="T17" fmla="*/ 0 h 548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19" h="54851">
                <a:moveTo>
                  <a:pt x="42672" y="0"/>
                </a:moveTo>
                <a:lnTo>
                  <a:pt x="6096" y="0"/>
                </a:lnTo>
                <a:lnTo>
                  <a:pt x="0" y="3048"/>
                </a:lnTo>
                <a:lnTo>
                  <a:pt x="0" y="48755"/>
                </a:lnTo>
                <a:lnTo>
                  <a:pt x="6096" y="54851"/>
                </a:lnTo>
                <a:lnTo>
                  <a:pt x="42672" y="54851"/>
                </a:lnTo>
                <a:lnTo>
                  <a:pt x="45720" y="48755"/>
                </a:lnTo>
                <a:lnTo>
                  <a:pt x="45720" y="3048"/>
                </a:lnTo>
                <a:lnTo>
                  <a:pt x="42672"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24" name="object 161">
            <a:extLst>
              <a:ext uri="{FF2B5EF4-FFF2-40B4-BE49-F238E27FC236}">
                <a16:creationId xmlns:a16="http://schemas.microsoft.com/office/drawing/2014/main" id="{8AA2F1CC-DB55-41F7-BF23-6B452CC12207}"/>
              </a:ext>
            </a:extLst>
          </p:cNvPr>
          <p:cNvSpPr>
            <a:spLocks/>
          </p:cNvSpPr>
          <p:nvPr/>
        </p:nvSpPr>
        <p:spPr bwMode="auto">
          <a:xfrm>
            <a:off x="4264543" y="3575340"/>
            <a:ext cx="33338" cy="42862"/>
          </a:xfrm>
          <a:custGeom>
            <a:avLst/>
            <a:gdLst>
              <a:gd name="T0" fmla="*/ 30159 w 33515"/>
              <a:gd name="T1" fmla="*/ 0 h 42646"/>
              <a:gd name="T2" fmla="*/ 3003 w 33515"/>
              <a:gd name="T3" fmla="*/ 0 h 42646"/>
              <a:gd name="T4" fmla="*/ 0 w 33515"/>
              <a:gd name="T5" fmla="*/ 3079 h 42646"/>
              <a:gd name="T6" fmla="*/ 0 w 33515"/>
              <a:gd name="T7" fmla="*/ 40014 h 42646"/>
              <a:gd name="T8" fmla="*/ 3003 w 33515"/>
              <a:gd name="T9" fmla="*/ 43079 h 42646"/>
              <a:gd name="T10" fmla="*/ 30159 w 33515"/>
              <a:gd name="T11" fmla="*/ 43079 h 42646"/>
              <a:gd name="T12" fmla="*/ 33162 w 33515"/>
              <a:gd name="T13" fmla="*/ 40014 h 42646"/>
              <a:gd name="T14" fmla="*/ 33162 w 33515"/>
              <a:gd name="T15" fmla="*/ 3079 h 42646"/>
              <a:gd name="T16" fmla="*/ 30159 w 33515"/>
              <a:gd name="T17" fmla="*/ 0 h 426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42646">
                <a:moveTo>
                  <a:pt x="30480" y="0"/>
                </a:moveTo>
                <a:lnTo>
                  <a:pt x="3035" y="0"/>
                </a:lnTo>
                <a:lnTo>
                  <a:pt x="0" y="3048"/>
                </a:lnTo>
                <a:lnTo>
                  <a:pt x="0" y="39611"/>
                </a:lnTo>
                <a:lnTo>
                  <a:pt x="3035" y="42646"/>
                </a:lnTo>
                <a:lnTo>
                  <a:pt x="30480" y="42646"/>
                </a:lnTo>
                <a:lnTo>
                  <a:pt x="33515" y="39611"/>
                </a:lnTo>
                <a:lnTo>
                  <a:pt x="33515" y="3048"/>
                </a:lnTo>
                <a:lnTo>
                  <a:pt x="30480"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25" name="object 162">
            <a:extLst>
              <a:ext uri="{FF2B5EF4-FFF2-40B4-BE49-F238E27FC236}">
                <a16:creationId xmlns:a16="http://schemas.microsoft.com/office/drawing/2014/main" id="{C453A0FD-04D1-4AF5-B762-3135F2EDD0C0}"/>
              </a:ext>
            </a:extLst>
          </p:cNvPr>
          <p:cNvSpPr>
            <a:spLocks/>
          </p:cNvSpPr>
          <p:nvPr/>
        </p:nvSpPr>
        <p:spPr bwMode="auto">
          <a:xfrm>
            <a:off x="4261368" y="3573752"/>
            <a:ext cx="39688" cy="47625"/>
          </a:xfrm>
          <a:custGeom>
            <a:avLst/>
            <a:gdLst>
              <a:gd name="T0" fmla="*/ 9161 w 39624"/>
              <a:gd name="T1" fmla="*/ 43600 h 48755"/>
              <a:gd name="T2" fmla="*/ 30578 w 39624"/>
              <a:gd name="T3" fmla="*/ 46521 h 48755"/>
              <a:gd name="T4" fmla="*/ 30578 w 39624"/>
              <a:gd name="T5" fmla="*/ 0 h 48755"/>
              <a:gd name="T6" fmla="*/ 3058 w 39624"/>
              <a:gd name="T7" fmla="*/ 2908 h 48755"/>
              <a:gd name="T8" fmla="*/ 0 w 39624"/>
              <a:gd name="T9" fmla="*/ 8712 h 48755"/>
              <a:gd name="T10" fmla="*/ 3058 w 39624"/>
              <a:gd name="T11" fmla="*/ 40704 h 48755"/>
              <a:gd name="T12" fmla="*/ 36681 w 39624"/>
              <a:gd name="T13" fmla="*/ 43600 h 48755"/>
              <a:gd name="T14" fmla="*/ 12232 w 39624"/>
              <a:gd name="T15" fmla="*/ 40704 h 48755"/>
              <a:gd name="T16" fmla="*/ 9161 w 39624"/>
              <a:gd name="T17" fmla="*/ 37796 h 48755"/>
              <a:gd name="T18" fmla="*/ 6103 w 39624"/>
              <a:gd name="T19" fmla="*/ 8712 h 48755"/>
              <a:gd name="T20" fmla="*/ 36681 w 39624"/>
              <a:gd name="T21" fmla="*/ 5817 h 48755"/>
              <a:gd name="T22" fmla="*/ 30578 w 39624"/>
              <a:gd name="T23" fmla="*/ 0 h 48755"/>
              <a:gd name="T24" fmla="*/ 9161 w 39624"/>
              <a:gd name="T25" fmla="*/ 37796 h 48755"/>
              <a:gd name="T26" fmla="*/ 27507 w 39624"/>
              <a:gd name="T27" fmla="*/ 40704 h 48755"/>
              <a:gd name="T28" fmla="*/ 36681 w 39624"/>
              <a:gd name="T29" fmla="*/ 5817 h 48755"/>
              <a:gd name="T30" fmla="*/ 33636 w 39624"/>
              <a:gd name="T31" fmla="*/ 8712 h 48755"/>
              <a:gd name="T32" fmla="*/ 30578 w 39624"/>
              <a:gd name="T33" fmla="*/ 37796 h 48755"/>
              <a:gd name="T34" fmla="*/ 27507 w 39624"/>
              <a:gd name="T35" fmla="*/ 40704 h 48755"/>
              <a:gd name="T36" fmla="*/ 39752 w 39624"/>
              <a:gd name="T37" fmla="*/ 37796 h 48755"/>
              <a:gd name="T38" fmla="*/ 36681 w 39624"/>
              <a:gd name="T39" fmla="*/ 5817 h 48755"/>
              <a:gd name="T40" fmla="*/ 6103 w 39624"/>
              <a:gd name="T41" fmla="*/ 8712 h 48755"/>
              <a:gd name="T42" fmla="*/ 8142 w 39624"/>
              <a:gd name="T43" fmla="*/ 7748 h 48755"/>
              <a:gd name="T44" fmla="*/ 33636 w 39624"/>
              <a:gd name="T45" fmla="*/ 11621 h 48755"/>
              <a:gd name="T46" fmla="*/ 31596 w 39624"/>
              <a:gd name="T47" fmla="*/ 7748 h 48755"/>
              <a:gd name="T48" fmla="*/ 6103 w 39624"/>
              <a:gd name="T49" fmla="*/ 8712 h 48755"/>
              <a:gd name="T50" fmla="*/ 9161 w 39624"/>
              <a:gd name="T51" fmla="*/ 5817 h 48755"/>
              <a:gd name="T52" fmla="*/ 31596 w 39624"/>
              <a:gd name="T53" fmla="*/ 7748 h 48755"/>
              <a:gd name="T54" fmla="*/ 30578 w 39624"/>
              <a:gd name="T55" fmla="*/ 5817 h 48755"/>
              <a:gd name="T56" fmla="*/ 9161 w 39624"/>
              <a:gd name="T57" fmla="*/ 5817 h 48755"/>
              <a:gd name="T58" fmla="*/ 12232 w 39624"/>
              <a:gd name="T59" fmla="*/ 5817 h 48755"/>
              <a:gd name="T60" fmla="*/ 27507 w 39624"/>
              <a:gd name="T61" fmla="*/ 5817 h 48755"/>
              <a:gd name="T62" fmla="*/ 30578 w 39624"/>
              <a:gd name="T63" fmla="*/ 5817 h 487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9624" h="48755">
                <a:moveTo>
                  <a:pt x="30480" y="45694"/>
                </a:moveTo>
                <a:lnTo>
                  <a:pt x="9131" y="45694"/>
                </a:lnTo>
                <a:lnTo>
                  <a:pt x="9131" y="48755"/>
                </a:lnTo>
                <a:lnTo>
                  <a:pt x="30480" y="48755"/>
                </a:lnTo>
                <a:lnTo>
                  <a:pt x="30480" y="45694"/>
                </a:lnTo>
                <a:close/>
              </a:path>
              <a:path w="39624" h="48755">
                <a:moveTo>
                  <a:pt x="30480" y="0"/>
                </a:moveTo>
                <a:lnTo>
                  <a:pt x="9131" y="0"/>
                </a:lnTo>
                <a:lnTo>
                  <a:pt x="3048" y="3048"/>
                </a:lnTo>
                <a:lnTo>
                  <a:pt x="3048" y="6096"/>
                </a:lnTo>
                <a:lnTo>
                  <a:pt x="0" y="9131"/>
                </a:lnTo>
                <a:lnTo>
                  <a:pt x="0" y="39611"/>
                </a:lnTo>
                <a:lnTo>
                  <a:pt x="3048" y="42659"/>
                </a:lnTo>
                <a:lnTo>
                  <a:pt x="3048" y="45694"/>
                </a:lnTo>
                <a:lnTo>
                  <a:pt x="36563" y="45694"/>
                </a:lnTo>
                <a:lnTo>
                  <a:pt x="36563" y="42659"/>
                </a:lnTo>
                <a:lnTo>
                  <a:pt x="12192" y="42659"/>
                </a:lnTo>
                <a:lnTo>
                  <a:pt x="6083" y="39611"/>
                </a:lnTo>
                <a:lnTo>
                  <a:pt x="9131" y="39611"/>
                </a:lnTo>
                <a:lnTo>
                  <a:pt x="6083" y="36563"/>
                </a:lnTo>
                <a:lnTo>
                  <a:pt x="6083" y="9131"/>
                </a:lnTo>
                <a:lnTo>
                  <a:pt x="9131" y="6096"/>
                </a:lnTo>
                <a:lnTo>
                  <a:pt x="36563" y="6096"/>
                </a:lnTo>
                <a:lnTo>
                  <a:pt x="36563" y="3048"/>
                </a:lnTo>
                <a:lnTo>
                  <a:pt x="30480" y="0"/>
                </a:lnTo>
                <a:close/>
              </a:path>
              <a:path w="39624" h="48755">
                <a:moveTo>
                  <a:pt x="30480" y="39611"/>
                </a:moveTo>
                <a:lnTo>
                  <a:pt x="9131" y="39611"/>
                </a:lnTo>
                <a:lnTo>
                  <a:pt x="12192" y="42659"/>
                </a:lnTo>
                <a:lnTo>
                  <a:pt x="27419" y="42659"/>
                </a:lnTo>
                <a:lnTo>
                  <a:pt x="30480" y="39611"/>
                </a:lnTo>
                <a:close/>
              </a:path>
              <a:path w="39624" h="48755">
                <a:moveTo>
                  <a:pt x="36563" y="6096"/>
                </a:moveTo>
                <a:lnTo>
                  <a:pt x="30480" y="6096"/>
                </a:lnTo>
                <a:lnTo>
                  <a:pt x="33528" y="9131"/>
                </a:lnTo>
                <a:lnTo>
                  <a:pt x="33528" y="36563"/>
                </a:lnTo>
                <a:lnTo>
                  <a:pt x="30480" y="39611"/>
                </a:lnTo>
                <a:lnTo>
                  <a:pt x="33528" y="39611"/>
                </a:lnTo>
                <a:lnTo>
                  <a:pt x="27419" y="42659"/>
                </a:lnTo>
                <a:lnTo>
                  <a:pt x="36563" y="42659"/>
                </a:lnTo>
                <a:lnTo>
                  <a:pt x="39624" y="39611"/>
                </a:lnTo>
                <a:lnTo>
                  <a:pt x="39624" y="9131"/>
                </a:lnTo>
                <a:lnTo>
                  <a:pt x="36563" y="6096"/>
                </a:lnTo>
                <a:close/>
              </a:path>
              <a:path w="39624" h="48755">
                <a:moveTo>
                  <a:pt x="8116" y="8120"/>
                </a:moveTo>
                <a:lnTo>
                  <a:pt x="6083" y="9131"/>
                </a:lnTo>
                <a:lnTo>
                  <a:pt x="6083" y="12179"/>
                </a:lnTo>
                <a:lnTo>
                  <a:pt x="8116" y="8120"/>
                </a:lnTo>
                <a:close/>
              </a:path>
              <a:path w="39624" h="48755">
                <a:moveTo>
                  <a:pt x="31494" y="8120"/>
                </a:moveTo>
                <a:lnTo>
                  <a:pt x="33528" y="12179"/>
                </a:lnTo>
                <a:lnTo>
                  <a:pt x="33528" y="9131"/>
                </a:lnTo>
                <a:lnTo>
                  <a:pt x="31494" y="8120"/>
                </a:lnTo>
                <a:close/>
              </a:path>
              <a:path w="39624" h="48755">
                <a:moveTo>
                  <a:pt x="9131" y="6096"/>
                </a:moveTo>
                <a:lnTo>
                  <a:pt x="6083" y="9131"/>
                </a:lnTo>
                <a:lnTo>
                  <a:pt x="8116" y="8120"/>
                </a:lnTo>
                <a:lnTo>
                  <a:pt x="9131" y="6096"/>
                </a:lnTo>
                <a:close/>
              </a:path>
              <a:path w="39624" h="48755">
                <a:moveTo>
                  <a:pt x="30480" y="6096"/>
                </a:moveTo>
                <a:lnTo>
                  <a:pt x="31494" y="8120"/>
                </a:lnTo>
                <a:lnTo>
                  <a:pt x="33528" y="9131"/>
                </a:lnTo>
                <a:lnTo>
                  <a:pt x="30480" y="6096"/>
                </a:lnTo>
                <a:close/>
              </a:path>
              <a:path w="39624" h="48755">
                <a:moveTo>
                  <a:pt x="12192" y="6096"/>
                </a:moveTo>
                <a:lnTo>
                  <a:pt x="9131" y="6096"/>
                </a:lnTo>
                <a:lnTo>
                  <a:pt x="8116" y="8120"/>
                </a:lnTo>
                <a:lnTo>
                  <a:pt x="12192" y="6096"/>
                </a:lnTo>
                <a:close/>
              </a:path>
              <a:path w="39624" h="48755">
                <a:moveTo>
                  <a:pt x="30480" y="6096"/>
                </a:moveTo>
                <a:lnTo>
                  <a:pt x="27419" y="6096"/>
                </a:lnTo>
                <a:lnTo>
                  <a:pt x="31494" y="8120"/>
                </a:lnTo>
                <a:lnTo>
                  <a:pt x="30480" y="6096"/>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26" name="object 163">
            <a:extLst>
              <a:ext uri="{FF2B5EF4-FFF2-40B4-BE49-F238E27FC236}">
                <a16:creationId xmlns:a16="http://schemas.microsoft.com/office/drawing/2014/main" id="{93498F4F-773F-4C44-898C-7A6704D4EE19}"/>
              </a:ext>
            </a:extLst>
          </p:cNvPr>
          <p:cNvSpPr>
            <a:spLocks/>
          </p:cNvSpPr>
          <p:nvPr/>
        </p:nvSpPr>
        <p:spPr bwMode="auto">
          <a:xfrm>
            <a:off x="4258193" y="3627727"/>
            <a:ext cx="46038" cy="55563"/>
          </a:xfrm>
          <a:custGeom>
            <a:avLst/>
            <a:gdLst>
              <a:gd name="T0" fmla="*/ 43270 w 45719"/>
              <a:gd name="T1" fmla="*/ 0 h 54851"/>
              <a:gd name="T2" fmla="*/ 6182 w 45719"/>
              <a:gd name="T3" fmla="*/ 0 h 54851"/>
              <a:gd name="T4" fmla="*/ 0 w 45719"/>
              <a:gd name="T5" fmla="*/ 6254 h 54851"/>
              <a:gd name="T6" fmla="*/ 0 w 45719"/>
              <a:gd name="T7" fmla="*/ 53156 h 54851"/>
              <a:gd name="T8" fmla="*/ 6182 w 45719"/>
              <a:gd name="T9" fmla="*/ 56284 h 54851"/>
              <a:gd name="T10" fmla="*/ 43270 w 45719"/>
              <a:gd name="T11" fmla="*/ 56284 h 54851"/>
              <a:gd name="T12" fmla="*/ 46360 w 45719"/>
              <a:gd name="T13" fmla="*/ 53156 h 54851"/>
              <a:gd name="T14" fmla="*/ 46360 w 45719"/>
              <a:gd name="T15" fmla="*/ 6254 h 54851"/>
              <a:gd name="T16" fmla="*/ 43270 w 45719"/>
              <a:gd name="T17" fmla="*/ 0 h 548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19" h="54851">
                <a:moveTo>
                  <a:pt x="42672" y="0"/>
                </a:moveTo>
                <a:lnTo>
                  <a:pt x="6096" y="0"/>
                </a:lnTo>
                <a:lnTo>
                  <a:pt x="0" y="6095"/>
                </a:lnTo>
                <a:lnTo>
                  <a:pt x="0" y="51803"/>
                </a:lnTo>
                <a:lnTo>
                  <a:pt x="6096" y="54851"/>
                </a:lnTo>
                <a:lnTo>
                  <a:pt x="42672" y="54851"/>
                </a:lnTo>
                <a:lnTo>
                  <a:pt x="45720" y="51803"/>
                </a:lnTo>
                <a:lnTo>
                  <a:pt x="45720" y="6095"/>
                </a:lnTo>
                <a:lnTo>
                  <a:pt x="42672"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27" name="object 164">
            <a:extLst>
              <a:ext uri="{FF2B5EF4-FFF2-40B4-BE49-F238E27FC236}">
                <a16:creationId xmlns:a16="http://schemas.microsoft.com/office/drawing/2014/main" id="{32794013-7B32-4F9E-BD3A-9EAEE164BC4D}"/>
              </a:ext>
            </a:extLst>
          </p:cNvPr>
          <p:cNvSpPr>
            <a:spLocks/>
          </p:cNvSpPr>
          <p:nvPr/>
        </p:nvSpPr>
        <p:spPr bwMode="auto">
          <a:xfrm>
            <a:off x="4264543" y="3637252"/>
            <a:ext cx="33338" cy="39688"/>
          </a:xfrm>
          <a:custGeom>
            <a:avLst/>
            <a:gdLst>
              <a:gd name="T0" fmla="*/ 30159 w 33515"/>
              <a:gd name="T1" fmla="*/ 0 h 39611"/>
              <a:gd name="T2" fmla="*/ 3003 w 33515"/>
              <a:gd name="T3" fmla="*/ 0 h 39611"/>
              <a:gd name="T4" fmla="*/ 0 w 33515"/>
              <a:gd name="T5" fmla="*/ 3059 h 39611"/>
              <a:gd name="T6" fmla="*/ 0 w 33515"/>
              <a:gd name="T7" fmla="*/ 36717 h 39611"/>
              <a:gd name="T8" fmla="*/ 3003 w 33515"/>
              <a:gd name="T9" fmla="*/ 39765 h 39611"/>
              <a:gd name="T10" fmla="*/ 30159 w 33515"/>
              <a:gd name="T11" fmla="*/ 39765 h 39611"/>
              <a:gd name="T12" fmla="*/ 33162 w 33515"/>
              <a:gd name="T13" fmla="*/ 36717 h 39611"/>
              <a:gd name="T14" fmla="*/ 33162 w 33515"/>
              <a:gd name="T15" fmla="*/ 3059 h 39611"/>
              <a:gd name="T16" fmla="*/ 30159 w 33515"/>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39611">
                <a:moveTo>
                  <a:pt x="30480" y="0"/>
                </a:moveTo>
                <a:lnTo>
                  <a:pt x="3035" y="0"/>
                </a:lnTo>
                <a:lnTo>
                  <a:pt x="0" y="3047"/>
                </a:lnTo>
                <a:lnTo>
                  <a:pt x="0" y="36575"/>
                </a:lnTo>
                <a:lnTo>
                  <a:pt x="3035" y="39611"/>
                </a:lnTo>
                <a:lnTo>
                  <a:pt x="30480" y="39611"/>
                </a:lnTo>
                <a:lnTo>
                  <a:pt x="33515" y="36575"/>
                </a:lnTo>
                <a:lnTo>
                  <a:pt x="33515" y="3047"/>
                </a:lnTo>
                <a:lnTo>
                  <a:pt x="30480"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28" name="object 165">
            <a:extLst>
              <a:ext uri="{FF2B5EF4-FFF2-40B4-BE49-F238E27FC236}">
                <a16:creationId xmlns:a16="http://schemas.microsoft.com/office/drawing/2014/main" id="{C6B9397C-24AB-45A7-9500-AEC50876036A}"/>
              </a:ext>
            </a:extLst>
          </p:cNvPr>
          <p:cNvSpPr>
            <a:spLocks/>
          </p:cNvSpPr>
          <p:nvPr/>
        </p:nvSpPr>
        <p:spPr bwMode="auto">
          <a:xfrm>
            <a:off x="4261368" y="3634077"/>
            <a:ext cx="39688" cy="46038"/>
          </a:xfrm>
          <a:custGeom>
            <a:avLst/>
            <a:gdLst>
              <a:gd name="T0" fmla="*/ 36681 w 39624"/>
              <a:gd name="T1" fmla="*/ 0 h 45694"/>
              <a:gd name="T2" fmla="*/ 3058 w 39624"/>
              <a:gd name="T3" fmla="*/ 0 h 45694"/>
              <a:gd name="T4" fmla="*/ 3058 w 39624"/>
              <a:gd name="T5" fmla="*/ 3081 h 45694"/>
              <a:gd name="T6" fmla="*/ 0 w 39624"/>
              <a:gd name="T7" fmla="*/ 9269 h 45694"/>
              <a:gd name="T8" fmla="*/ 0 w 39624"/>
              <a:gd name="T9" fmla="*/ 37115 h 45694"/>
              <a:gd name="T10" fmla="*/ 3058 w 39624"/>
              <a:gd name="T11" fmla="*/ 43290 h 45694"/>
              <a:gd name="T12" fmla="*/ 9161 w 39624"/>
              <a:gd name="T13" fmla="*/ 46385 h 45694"/>
              <a:gd name="T14" fmla="*/ 30578 w 39624"/>
              <a:gd name="T15" fmla="*/ 46385 h 45694"/>
              <a:gd name="T16" fmla="*/ 36681 w 39624"/>
              <a:gd name="T17" fmla="*/ 43290 h 45694"/>
              <a:gd name="T18" fmla="*/ 38214 w 39624"/>
              <a:gd name="T19" fmla="*/ 40209 h 45694"/>
              <a:gd name="T20" fmla="*/ 9161 w 39624"/>
              <a:gd name="T21" fmla="*/ 40209 h 45694"/>
              <a:gd name="T22" fmla="*/ 6103 w 39624"/>
              <a:gd name="T23" fmla="*/ 37115 h 45694"/>
              <a:gd name="T24" fmla="*/ 6103 w 39624"/>
              <a:gd name="T25" fmla="*/ 9269 h 45694"/>
              <a:gd name="T26" fmla="*/ 9161 w 39624"/>
              <a:gd name="T27" fmla="*/ 6175 h 45694"/>
              <a:gd name="T28" fmla="*/ 38217 w 39624"/>
              <a:gd name="T29" fmla="*/ 6175 h 45694"/>
              <a:gd name="T30" fmla="*/ 36681 w 39624"/>
              <a:gd name="T31" fmla="*/ 3081 h 45694"/>
              <a:gd name="T32" fmla="*/ 36681 w 39624"/>
              <a:gd name="T33" fmla="*/ 0 h 45694"/>
              <a:gd name="T34" fmla="*/ 6103 w 39624"/>
              <a:gd name="T35" fmla="*/ 37115 h 45694"/>
              <a:gd name="T36" fmla="*/ 9161 w 39624"/>
              <a:gd name="T37" fmla="*/ 40209 h 45694"/>
              <a:gd name="T38" fmla="*/ 12232 w 39624"/>
              <a:gd name="T39" fmla="*/ 40209 h 45694"/>
              <a:gd name="T40" fmla="*/ 6103 w 39624"/>
              <a:gd name="T41" fmla="*/ 37115 h 45694"/>
              <a:gd name="T42" fmla="*/ 33636 w 39624"/>
              <a:gd name="T43" fmla="*/ 37115 h 45694"/>
              <a:gd name="T44" fmla="*/ 27507 w 39624"/>
              <a:gd name="T45" fmla="*/ 40209 h 45694"/>
              <a:gd name="T46" fmla="*/ 30578 w 39624"/>
              <a:gd name="T47" fmla="*/ 40209 h 45694"/>
              <a:gd name="T48" fmla="*/ 33636 w 39624"/>
              <a:gd name="T49" fmla="*/ 37115 h 45694"/>
              <a:gd name="T50" fmla="*/ 38217 w 39624"/>
              <a:gd name="T51" fmla="*/ 6175 h 45694"/>
              <a:gd name="T52" fmla="*/ 30578 w 39624"/>
              <a:gd name="T53" fmla="*/ 6175 h 45694"/>
              <a:gd name="T54" fmla="*/ 33636 w 39624"/>
              <a:gd name="T55" fmla="*/ 9269 h 45694"/>
              <a:gd name="T56" fmla="*/ 33636 w 39624"/>
              <a:gd name="T57" fmla="*/ 37115 h 45694"/>
              <a:gd name="T58" fmla="*/ 30578 w 39624"/>
              <a:gd name="T59" fmla="*/ 40209 h 45694"/>
              <a:gd name="T60" fmla="*/ 38214 w 39624"/>
              <a:gd name="T61" fmla="*/ 40209 h 45694"/>
              <a:gd name="T62" fmla="*/ 39752 w 39624"/>
              <a:gd name="T63" fmla="*/ 37115 h 45694"/>
              <a:gd name="T64" fmla="*/ 39752 w 39624"/>
              <a:gd name="T65" fmla="*/ 9269 h 45694"/>
              <a:gd name="T66" fmla="*/ 38217 w 39624"/>
              <a:gd name="T67" fmla="*/ 6175 h 4569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9624" h="45694">
                <a:moveTo>
                  <a:pt x="36563" y="0"/>
                </a:moveTo>
                <a:lnTo>
                  <a:pt x="3048" y="0"/>
                </a:lnTo>
                <a:lnTo>
                  <a:pt x="3048" y="3035"/>
                </a:lnTo>
                <a:lnTo>
                  <a:pt x="0" y="9131"/>
                </a:lnTo>
                <a:lnTo>
                  <a:pt x="0" y="36563"/>
                </a:lnTo>
                <a:lnTo>
                  <a:pt x="3048" y="42646"/>
                </a:lnTo>
                <a:lnTo>
                  <a:pt x="9131" y="45694"/>
                </a:lnTo>
                <a:lnTo>
                  <a:pt x="30480" y="45694"/>
                </a:lnTo>
                <a:lnTo>
                  <a:pt x="36563" y="42646"/>
                </a:lnTo>
                <a:lnTo>
                  <a:pt x="38090" y="39611"/>
                </a:lnTo>
                <a:lnTo>
                  <a:pt x="9131" y="39611"/>
                </a:lnTo>
                <a:lnTo>
                  <a:pt x="6083" y="36563"/>
                </a:lnTo>
                <a:lnTo>
                  <a:pt x="6083" y="9131"/>
                </a:lnTo>
                <a:lnTo>
                  <a:pt x="9131" y="6083"/>
                </a:lnTo>
                <a:lnTo>
                  <a:pt x="38093" y="6083"/>
                </a:lnTo>
                <a:lnTo>
                  <a:pt x="36563" y="3035"/>
                </a:lnTo>
                <a:lnTo>
                  <a:pt x="36563" y="0"/>
                </a:lnTo>
                <a:close/>
              </a:path>
              <a:path w="39624" h="45694">
                <a:moveTo>
                  <a:pt x="6083" y="36563"/>
                </a:moveTo>
                <a:lnTo>
                  <a:pt x="9131" y="39611"/>
                </a:lnTo>
                <a:lnTo>
                  <a:pt x="12192" y="39611"/>
                </a:lnTo>
                <a:lnTo>
                  <a:pt x="6083" y="36563"/>
                </a:lnTo>
                <a:close/>
              </a:path>
              <a:path w="39624" h="45694">
                <a:moveTo>
                  <a:pt x="33528" y="36563"/>
                </a:moveTo>
                <a:lnTo>
                  <a:pt x="27419" y="39611"/>
                </a:lnTo>
                <a:lnTo>
                  <a:pt x="30480" y="39611"/>
                </a:lnTo>
                <a:lnTo>
                  <a:pt x="33528" y="36563"/>
                </a:lnTo>
                <a:close/>
              </a:path>
              <a:path w="39624" h="45694">
                <a:moveTo>
                  <a:pt x="38093" y="6083"/>
                </a:moveTo>
                <a:lnTo>
                  <a:pt x="30480" y="6083"/>
                </a:lnTo>
                <a:lnTo>
                  <a:pt x="33528" y="9131"/>
                </a:lnTo>
                <a:lnTo>
                  <a:pt x="33528" y="36563"/>
                </a:lnTo>
                <a:lnTo>
                  <a:pt x="30480" y="39611"/>
                </a:lnTo>
                <a:lnTo>
                  <a:pt x="38090" y="39611"/>
                </a:lnTo>
                <a:lnTo>
                  <a:pt x="39624" y="36563"/>
                </a:lnTo>
                <a:lnTo>
                  <a:pt x="39624" y="9131"/>
                </a:lnTo>
                <a:lnTo>
                  <a:pt x="38093" y="6083"/>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29" name="object 166">
            <a:extLst>
              <a:ext uri="{FF2B5EF4-FFF2-40B4-BE49-F238E27FC236}">
                <a16:creationId xmlns:a16="http://schemas.microsoft.com/office/drawing/2014/main" id="{CD8E00BA-7A0D-4A7F-B6A3-3DF58201B26C}"/>
              </a:ext>
            </a:extLst>
          </p:cNvPr>
          <p:cNvSpPr>
            <a:spLocks/>
          </p:cNvSpPr>
          <p:nvPr/>
        </p:nvSpPr>
        <p:spPr bwMode="auto">
          <a:xfrm>
            <a:off x="4258193" y="3691227"/>
            <a:ext cx="46038" cy="52388"/>
          </a:xfrm>
          <a:custGeom>
            <a:avLst/>
            <a:gdLst>
              <a:gd name="T0" fmla="*/ 43270 w 45719"/>
              <a:gd name="T1" fmla="*/ 0 h 51803"/>
              <a:gd name="T2" fmla="*/ 6182 w 45719"/>
              <a:gd name="T3" fmla="*/ 0 h 51803"/>
              <a:gd name="T4" fmla="*/ 0 w 45719"/>
              <a:gd name="T5" fmla="*/ 3104 h 51803"/>
              <a:gd name="T6" fmla="*/ 0 w 45719"/>
              <a:gd name="T7" fmla="*/ 49863 h 51803"/>
              <a:gd name="T8" fmla="*/ 6182 w 45719"/>
              <a:gd name="T9" fmla="*/ 52980 h 51803"/>
              <a:gd name="T10" fmla="*/ 43270 w 45719"/>
              <a:gd name="T11" fmla="*/ 52980 h 51803"/>
              <a:gd name="T12" fmla="*/ 46360 w 45719"/>
              <a:gd name="T13" fmla="*/ 49863 h 51803"/>
              <a:gd name="T14" fmla="*/ 46360 w 45719"/>
              <a:gd name="T15" fmla="*/ 3104 h 51803"/>
              <a:gd name="T16" fmla="*/ 43270 w 45719"/>
              <a:gd name="T17" fmla="*/ 0 h 518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19" h="51803">
                <a:moveTo>
                  <a:pt x="42672" y="0"/>
                </a:moveTo>
                <a:lnTo>
                  <a:pt x="6096" y="0"/>
                </a:lnTo>
                <a:lnTo>
                  <a:pt x="0" y="3035"/>
                </a:lnTo>
                <a:lnTo>
                  <a:pt x="0" y="48755"/>
                </a:lnTo>
                <a:lnTo>
                  <a:pt x="6096" y="51803"/>
                </a:lnTo>
                <a:lnTo>
                  <a:pt x="42672" y="51803"/>
                </a:lnTo>
                <a:lnTo>
                  <a:pt x="45720" y="48755"/>
                </a:lnTo>
                <a:lnTo>
                  <a:pt x="45720" y="3035"/>
                </a:lnTo>
                <a:lnTo>
                  <a:pt x="42672"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30" name="object 167">
            <a:extLst>
              <a:ext uri="{FF2B5EF4-FFF2-40B4-BE49-F238E27FC236}">
                <a16:creationId xmlns:a16="http://schemas.microsoft.com/office/drawing/2014/main" id="{FA92E380-0845-4123-9495-43183B9F5653}"/>
              </a:ext>
            </a:extLst>
          </p:cNvPr>
          <p:cNvSpPr>
            <a:spLocks/>
          </p:cNvSpPr>
          <p:nvPr/>
        </p:nvSpPr>
        <p:spPr bwMode="auto">
          <a:xfrm>
            <a:off x="4264543" y="3697577"/>
            <a:ext cx="33338" cy="39688"/>
          </a:xfrm>
          <a:custGeom>
            <a:avLst/>
            <a:gdLst>
              <a:gd name="T0" fmla="*/ 30159 w 33515"/>
              <a:gd name="T1" fmla="*/ 0 h 39611"/>
              <a:gd name="T2" fmla="*/ 3003 w 33515"/>
              <a:gd name="T3" fmla="*/ 0 h 39611"/>
              <a:gd name="T4" fmla="*/ 0 w 33515"/>
              <a:gd name="T5" fmla="*/ 3059 h 39611"/>
              <a:gd name="T6" fmla="*/ 0 w 33515"/>
              <a:gd name="T7" fmla="*/ 36705 h 39611"/>
              <a:gd name="T8" fmla="*/ 3003 w 33515"/>
              <a:gd name="T9" fmla="*/ 39765 h 39611"/>
              <a:gd name="T10" fmla="*/ 30159 w 33515"/>
              <a:gd name="T11" fmla="*/ 39765 h 39611"/>
              <a:gd name="T12" fmla="*/ 33162 w 33515"/>
              <a:gd name="T13" fmla="*/ 36705 h 39611"/>
              <a:gd name="T14" fmla="*/ 33162 w 33515"/>
              <a:gd name="T15" fmla="*/ 3059 h 39611"/>
              <a:gd name="T16" fmla="*/ 30159 w 33515"/>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39611">
                <a:moveTo>
                  <a:pt x="30480" y="0"/>
                </a:moveTo>
                <a:lnTo>
                  <a:pt x="3035" y="0"/>
                </a:lnTo>
                <a:lnTo>
                  <a:pt x="0" y="3047"/>
                </a:lnTo>
                <a:lnTo>
                  <a:pt x="0" y="36563"/>
                </a:lnTo>
                <a:lnTo>
                  <a:pt x="3035" y="39611"/>
                </a:lnTo>
                <a:lnTo>
                  <a:pt x="30480" y="39611"/>
                </a:lnTo>
                <a:lnTo>
                  <a:pt x="33515" y="36563"/>
                </a:lnTo>
                <a:lnTo>
                  <a:pt x="33515" y="3047"/>
                </a:lnTo>
                <a:lnTo>
                  <a:pt x="30480"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31" name="object 168">
            <a:extLst>
              <a:ext uri="{FF2B5EF4-FFF2-40B4-BE49-F238E27FC236}">
                <a16:creationId xmlns:a16="http://schemas.microsoft.com/office/drawing/2014/main" id="{AE409822-8717-4CAE-B56D-E7C6FC00DF97}"/>
              </a:ext>
            </a:extLst>
          </p:cNvPr>
          <p:cNvSpPr>
            <a:spLocks/>
          </p:cNvSpPr>
          <p:nvPr/>
        </p:nvSpPr>
        <p:spPr bwMode="auto">
          <a:xfrm>
            <a:off x="4261368" y="3694402"/>
            <a:ext cx="39688" cy="46038"/>
          </a:xfrm>
          <a:custGeom>
            <a:avLst/>
            <a:gdLst>
              <a:gd name="T0" fmla="*/ 30578 w 39624"/>
              <a:gd name="T1" fmla="*/ 0 h 45707"/>
              <a:gd name="T2" fmla="*/ 9161 w 39624"/>
              <a:gd name="T3" fmla="*/ 0 h 45707"/>
              <a:gd name="T4" fmla="*/ 3058 w 39624"/>
              <a:gd name="T5" fmla="*/ 3091 h 45707"/>
              <a:gd name="T6" fmla="*/ 0 w 39624"/>
              <a:gd name="T7" fmla="*/ 9276 h 45707"/>
              <a:gd name="T8" fmla="*/ 0 w 39624"/>
              <a:gd name="T9" fmla="*/ 40187 h 45707"/>
              <a:gd name="T10" fmla="*/ 3058 w 39624"/>
              <a:gd name="T11" fmla="*/ 43279 h 45707"/>
              <a:gd name="T12" fmla="*/ 3058 w 39624"/>
              <a:gd name="T13" fmla="*/ 46371 h 45707"/>
              <a:gd name="T14" fmla="*/ 36681 w 39624"/>
              <a:gd name="T15" fmla="*/ 46371 h 45707"/>
              <a:gd name="T16" fmla="*/ 36681 w 39624"/>
              <a:gd name="T17" fmla="*/ 43279 h 45707"/>
              <a:gd name="T18" fmla="*/ 39752 w 39624"/>
              <a:gd name="T19" fmla="*/ 40187 h 45707"/>
              <a:gd name="T20" fmla="*/ 9161 w 39624"/>
              <a:gd name="T21" fmla="*/ 40187 h 45707"/>
              <a:gd name="T22" fmla="*/ 6103 w 39624"/>
              <a:gd name="T23" fmla="*/ 37095 h 45707"/>
              <a:gd name="T24" fmla="*/ 6103 w 39624"/>
              <a:gd name="T25" fmla="*/ 9276 h 45707"/>
              <a:gd name="T26" fmla="*/ 9161 w 39624"/>
              <a:gd name="T27" fmla="*/ 6183 h 45707"/>
              <a:gd name="T28" fmla="*/ 38217 w 39624"/>
              <a:gd name="T29" fmla="*/ 6183 h 45707"/>
              <a:gd name="T30" fmla="*/ 36681 w 39624"/>
              <a:gd name="T31" fmla="*/ 3091 h 45707"/>
              <a:gd name="T32" fmla="*/ 30578 w 39624"/>
              <a:gd name="T33" fmla="*/ 0 h 45707"/>
              <a:gd name="T34" fmla="*/ 38217 w 39624"/>
              <a:gd name="T35" fmla="*/ 6183 h 45707"/>
              <a:gd name="T36" fmla="*/ 30578 w 39624"/>
              <a:gd name="T37" fmla="*/ 6183 h 45707"/>
              <a:gd name="T38" fmla="*/ 33636 w 39624"/>
              <a:gd name="T39" fmla="*/ 9276 h 45707"/>
              <a:gd name="T40" fmla="*/ 33636 w 39624"/>
              <a:gd name="T41" fmla="*/ 37095 h 45707"/>
              <a:gd name="T42" fmla="*/ 30578 w 39624"/>
              <a:gd name="T43" fmla="*/ 40187 h 45707"/>
              <a:gd name="T44" fmla="*/ 39752 w 39624"/>
              <a:gd name="T45" fmla="*/ 40187 h 45707"/>
              <a:gd name="T46" fmla="*/ 39752 w 39624"/>
              <a:gd name="T47" fmla="*/ 9276 h 45707"/>
              <a:gd name="T48" fmla="*/ 38217 w 39624"/>
              <a:gd name="T49" fmla="*/ 6183 h 45707"/>
              <a:gd name="T50" fmla="*/ 8139 w 39624"/>
              <a:gd name="T51" fmla="*/ 8248 h 45707"/>
              <a:gd name="T52" fmla="*/ 6103 w 39624"/>
              <a:gd name="T53" fmla="*/ 9276 h 45707"/>
              <a:gd name="T54" fmla="*/ 6103 w 39624"/>
              <a:gd name="T55" fmla="*/ 12368 h 45707"/>
              <a:gd name="T56" fmla="*/ 8139 w 39624"/>
              <a:gd name="T57" fmla="*/ 8248 h 45707"/>
              <a:gd name="T58" fmla="*/ 31599 w 39624"/>
              <a:gd name="T59" fmla="*/ 8248 h 45707"/>
              <a:gd name="T60" fmla="*/ 33636 w 39624"/>
              <a:gd name="T61" fmla="*/ 12368 h 45707"/>
              <a:gd name="T62" fmla="*/ 33636 w 39624"/>
              <a:gd name="T63" fmla="*/ 9276 h 45707"/>
              <a:gd name="T64" fmla="*/ 31599 w 39624"/>
              <a:gd name="T65" fmla="*/ 8248 h 45707"/>
              <a:gd name="T66" fmla="*/ 9161 w 39624"/>
              <a:gd name="T67" fmla="*/ 6183 h 45707"/>
              <a:gd name="T68" fmla="*/ 6103 w 39624"/>
              <a:gd name="T69" fmla="*/ 9276 h 45707"/>
              <a:gd name="T70" fmla="*/ 8139 w 39624"/>
              <a:gd name="T71" fmla="*/ 8248 h 45707"/>
              <a:gd name="T72" fmla="*/ 9161 w 39624"/>
              <a:gd name="T73" fmla="*/ 6183 h 45707"/>
              <a:gd name="T74" fmla="*/ 30578 w 39624"/>
              <a:gd name="T75" fmla="*/ 6183 h 45707"/>
              <a:gd name="T76" fmla="*/ 31599 w 39624"/>
              <a:gd name="T77" fmla="*/ 8248 h 45707"/>
              <a:gd name="T78" fmla="*/ 33636 w 39624"/>
              <a:gd name="T79" fmla="*/ 9276 h 45707"/>
              <a:gd name="T80" fmla="*/ 30578 w 39624"/>
              <a:gd name="T81" fmla="*/ 6183 h 45707"/>
              <a:gd name="T82" fmla="*/ 12232 w 39624"/>
              <a:gd name="T83" fmla="*/ 6183 h 45707"/>
              <a:gd name="T84" fmla="*/ 9161 w 39624"/>
              <a:gd name="T85" fmla="*/ 6183 h 45707"/>
              <a:gd name="T86" fmla="*/ 8139 w 39624"/>
              <a:gd name="T87" fmla="*/ 8248 h 45707"/>
              <a:gd name="T88" fmla="*/ 12232 w 39624"/>
              <a:gd name="T89" fmla="*/ 6183 h 45707"/>
              <a:gd name="T90" fmla="*/ 30578 w 39624"/>
              <a:gd name="T91" fmla="*/ 6183 h 45707"/>
              <a:gd name="T92" fmla="*/ 27507 w 39624"/>
              <a:gd name="T93" fmla="*/ 6183 h 45707"/>
              <a:gd name="T94" fmla="*/ 31599 w 39624"/>
              <a:gd name="T95" fmla="*/ 8248 h 45707"/>
              <a:gd name="T96" fmla="*/ 30578 w 39624"/>
              <a:gd name="T97" fmla="*/ 6183 h 4570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624" h="45707">
                <a:moveTo>
                  <a:pt x="30480" y="0"/>
                </a:moveTo>
                <a:lnTo>
                  <a:pt x="9131" y="0"/>
                </a:lnTo>
                <a:lnTo>
                  <a:pt x="3048" y="3047"/>
                </a:lnTo>
                <a:lnTo>
                  <a:pt x="0" y="9143"/>
                </a:lnTo>
                <a:lnTo>
                  <a:pt x="0" y="39611"/>
                </a:lnTo>
                <a:lnTo>
                  <a:pt x="3048" y="42659"/>
                </a:lnTo>
                <a:lnTo>
                  <a:pt x="3048" y="45707"/>
                </a:lnTo>
                <a:lnTo>
                  <a:pt x="36563" y="45707"/>
                </a:lnTo>
                <a:lnTo>
                  <a:pt x="36563" y="42659"/>
                </a:lnTo>
                <a:lnTo>
                  <a:pt x="39624" y="39611"/>
                </a:lnTo>
                <a:lnTo>
                  <a:pt x="9131" y="39611"/>
                </a:lnTo>
                <a:lnTo>
                  <a:pt x="6083" y="36563"/>
                </a:lnTo>
                <a:lnTo>
                  <a:pt x="6083" y="9143"/>
                </a:lnTo>
                <a:lnTo>
                  <a:pt x="9131" y="6095"/>
                </a:lnTo>
                <a:lnTo>
                  <a:pt x="38093" y="6095"/>
                </a:lnTo>
                <a:lnTo>
                  <a:pt x="36563" y="3047"/>
                </a:lnTo>
                <a:lnTo>
                  <a:pt x="30480" y="0"/>
                </a:lnTo>
                <a:close/>
              </a:path>
              <a:path w="39624" h="45707">
                <a:moveTo>
                  <a:pt x="38093" y="6095"/>
                </a:moveTo>
                <a:lnTo>
                  <a:pt x="30480" y="6095"/>
                </a:lnTo>
                <a:lnTo>
                  <a:pt x="33528" y="9143"/>
                </a:lnTo>
                <a:lnTo>
                  <a:pt x="33528" y="36563"/>
                </a:lnTo>
                <a:lnTo>
                  <a:pt x="30480" y="39611"/>
                </a:lnTo>
                <a:lnTo>
                  <a:pt x="39624" y="39611"/>
                </a:lnTo>
                <a:lnTo>
                  <a:pt x="39624" y="9143"/>
                </a:lnTo>
                <a:lnTo>
                  <a:pt x="38093" y="6095"/>
                </a:lnTo>
                <a:close/>
              </a:path>
              <a:path w="39624" h="45707">
                <a:moveTo>
                  <a:pt x="8113" y="8130"/>
                </a:moveTo>
                <a:lnTo>
                  <a:pt x="6083" y="9143"/>
                </a:lnTo>
                <a:lnTo>
                  <a:pt x="6083" y="12191"/>
                </a:lnTo>
                <a:lnTo>
                  <a:pt x="8113" y="8130"/>
                </a:lnTo>
                <a:close/>
              </a:path>
              <a:path w="39624" h="45707">
                <a:moveTo>
                  <a:pt x="31497" y="8130"/>
                </a:moveTo>
                <a:lnTo>
                  <a:pt x="33528" y="12191"/>
                </a:lnTo>
                <a:lnTo>
                  <a:pt x="33528" y="9143"/>
                </a:lnTo>
                <a:lnTo>
                  <a:pt x="31497" y="8130"/>
                </a:lnTo>
                <a:close/>
              </a:path>
              <a:path w="39624" h="45707">
                <a:moveTo>
                  <a:pt x="9131" y="6095"/>
                </a:moveTo>
                <a:lnTo>
                  <a:pt x="6083" y="9143"/>
                </a:lnTo>
                <a:lnTo>
                  <a:pt x="8113" y="8130"/>
                </a:lnTo>
                <a:lnTo>
                  <a:pt x="9131" y="6095"/>
                </a:lnTo>
                <a:close/>
              </a:path>
              <a:path w="39624" h="45707">
                <a:moveTo>
                  <a:pt x="30480" y="6095"/>
                </a:moveTo>
                <a:lnTo>
                  <a:pt x="31497" y="8130"/>
                </a:lnTo>
                <a:lnTo>
                  <a:pt x="33528" y="9143"/>
                </a:lnTo>
                <a:lnTo>
                  <a:pt x="30480" y="6095"/>
                </a:lnTo>
                <a:close/>
              </a:path>
              <a:path w="39624" h="45707">
                <a:moveTo>
                  <a:pt x="12192" y="6095"/>
                </a:moveTo>
                <a:lnTo>
                  <a:pt x="9131" y="6095"/>
                </a:lnTo>
                <a:lnTo>
                  <a:pt x="8113" y="8130"/>
                </a:lnTo>
                <a:lnTo>
                  <a:pt x="12192" y="6095"/>
                </a:lnTo>
                <a:close/>
              </a:path>
              <a:path w="39624" h="45707">
                <a:moveTo>
                  <a:pt x="30480" y="6095"/>
                </a:moveTo>
                <a:lnTo>
                  <a:pt x="27419" y="6095"/>
                </a:lnTo>
                <a:lnTo>
                  <a:pt x="31497" y="8130"/>
                </a:lnTo>
                <a:lnTo>
                  <a:pt x="30480"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32" name="object 283">
            <a:extLst>
              <a:ext uri="{FF2B5EF4-FFF2-40B4-BE49-F238E27FC236}">
                <a16:creationId xmlns:a16="http://schemas.microsoft.com/office/drawing/2014/main" id="{6A642664-B79E-4767-9A47-5800C586EFFA}"/>
              </a:ext>
            </a:extLst>
          </p:cNvPr>
          <p:cNvSpPr txBox="1">
            <a:spLocks noChangeArrowheads="1"/>
          </p:cNvSpPr>
          <p:nvPr/>
        </p:nvSpPr>
        <p:spPr bwMode="auto">
          <a:xfrm>
            <a:off x="4175643" y="5245390"/>
            <a:ext cx="500063"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463">
              <a:spcBef>
                <a:spcPct val="20000"/>
              </a:spcBef>
              <a:buChar char="•"/>
              <a:tabLst>
                <a:tab pos="800100" algn="l"/>
                <a:tab pos="1384300" algn="l"/>
              </a:tabLst>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tabLst>
                <a:tab pos="800100" algn="l"/>
                <a:tab pos="1384300" algn="l"/>
              </a:tabLst>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tabLst>
                <a:tab pos="800100" algn="l"/>
                <a:tab pos="1384300" algn="l"/>
              </a:tabLst>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9pPr>
          </a:lstStyle>
          <a:p>
            <a:pPr>
              <a:lnSpc>
                <a:spcPts val="875"/>
              </a:lnSpc>
              <a:spcBef>
                <a:spcPct val="0"/>
              </a:spcBef>
              <a:buFontTx/>
              <a:buNone/>
            </a:pPr>
            <a:r>
              <a:rPr lang="zh-CN" altLang="en-US" sz="800"/>
              <a:t>胶塞清洗</a:t>
            </a:r>
            <a:endParaRPr lang="zh-CN" altLang="zh-CN" sz="800">
              <a:latin typeface="宋体" panose="02010600030101010101" pitchFamily="2" charset="-122"/>
            </a:endParaRPr>
          </a:p>
        </p:txBody>
      </p:sp>
      <p:sp>
        <p:nvSpPr>
          <p:cNvPr id="233" name="object 320">
            <a:extLst>
              <a:ext uri="{FF2B5EF4-FFF2-40B4-BE49-F238E27FC236}">
                <a16:creationId xmlns:a16="http://schemas.microsoft.com/office/drawing/2014/main" id="{29A29472-D5F0-40D2-8846-AD8589BEE7F7}"/>
              </a:ext>
            </a:extLst>
          </p:cNvPr>
          <p:cNvSpPr txBox="1">
            <a:spLocks noChangeArrowheads="1"/>
          </p:cNvSpPr>
          <p:nvPr/>
        </p:nvSpPr>
        <p:spPr bwMode="auto">
          <a:xfrm>
            <a:off x="4253431" y="3468977"/>
            <a:ext cx="127000"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234" name="object 335">
            <a:extLst>
              <a:ext uri="{FF2B5EF4-FFF2-40B4-BE49-F238E27FC236}">
                <a16:creationId xmlns:a16="http://schemas.microsoft.com/office/drawing/2014/main" id="{927EC000-EFC5-4FFC-9325-B64669A156C1}"/>
              </a:ext>
            </a:extLst>
          </p:cNvPr>
          <p:cNvSpPr txBox="1">
            <a:spLocks noChangeArrowheads="1"/>
          </p:cNvSpPr>
          <p:nvPr/>
        </p:nvSpPr>
        <p:spPr bwMode="auto">
          <a:xfrm>
            <a:off x="4253431" y="3800765"/>
            <a:ext cx="38100" cy="4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235" name="object 336">
            <a:extLst>
              <a:ext uri="{FF2B5EF4-FFF2-40B4-BE49-F238E27FC236}">
                <a16:creationId xmlns:a16="http://schemas.microsoft.com/office/drawing/2014/main" id="{13E79896-8EBF-42DF-818D-F8DB8C56BF2A}"/>
              </a:ext>
            </a:extLst>
          </p:cNvPr>
          <p:cNvSpPr txBox="1">
            <a:spLocks noChangeArrowheads="1"/>
          </p:cNvSpPr>
          <p:nvPr/>
        </p:nvSpPr>
        <p:spPr bwMode="auto">
          <a:xfrm>
            <a:off x="4291531" y="3800765"/>
            <a:ext cx="88900" cy="4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236" name="object 142">
            <a:extLst>
              <a:ext uri="{FF2B5EF4-FFF2-40B4-BE49-F238E27FC236}">
                <a16:creationId xmlns:a16="http://schemas.microsoft.com/office/drawing/2014/main" id="{82AE1C9D-0319-46E2-B219-BB43435019FD}"/>
              </a:ext>
            </a:extLst>
          </p:cNvPr>
          <p:cNvSpPr>
            <a:spLocks noChangeArrowheads="1"/>
          </p:cNvSpPr>
          <p:nvPr/>
        </p:nvSpPr>
        <p:spPr bwMode="auto">
          <a:xfrm>
            <a:off x="4118493" y="4108740"/>
            <a:ext cx="485775" cy="350837"/>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237" name="object 283">
            <a:extLst>
              <a:ext uri="{FF2B5EF4-FFF2-40B4-BE49-F238E27FC236}">
                <a16:creationId xmlns:a16="http://schemas.microsoft.com/office/drawing/2014/main" id="{C1D717EA-3E26-407A-97F1-0E7CB0002D6E}"/>
              </a:ext>
            </a:extLst>
          </p:cNvPr>
          <p:cNvSpPr txBox="1"/>
          <p:nvPr/>
        </p:nvSpPr>
        <p:spPr>
          <a:xfrm>
            <a:off x="4104206" y="5102515"/>
            <a:ext cx="704850" cy="204787"/>
          </a:xfrm>
          <a:prstGeom prst="rect">
            <a:avLst/>
          </a:prstGeom>
        </p:spPr>
        <p:txBody>
          <a:bodyPr lIns="0" tIns="0" rIns="0" bIns="0"/>
          <a:lstStyle/>
          <a:p>
            <a:pPr marL="18287">
              <a:lnSpc>
                <a:spcPts val="875"/>
              </a:lnSpc>
              <a:spcBef>
                <a:spcPts val="3"/>
              </a:spcBef>
              <a:tabLst>
                <a:tab pos="800100" algn="l"/>
                <a:tab pos="1384300" algn="l"/>
              </a:tabLst>
              <a:defRPr/>
            </a:pPr>
            <a:r>
              <a:rPr sz="1200" baseline="-7246" dirty="0">
                <a:latin typeface="Arial"/>
                <a:cs typeface="Arial"/>
              </a:rPr>
              <a:t>PLC/Si</a:t>
            </a:r>
            <a:r>
              <a:rPr sz="1200" spc="-14" baseline="-7246" dirty="0">
                <a:latin typeface="Arial"/>
                <a:cs typeface="Arial"/>
              </a:rPr>
              <a:t>m</a:t>
            </a:r>
            <a:r>
              <a:rPr sz="1200" spc="-29" baseline="-7246" dirty="0">
                <a:latin typeface="Arial"/>
                <a:cs typeface="Arial"/>
              </a:rPr>
              <a:t>o</a:t>
            </a:r>
            <a:r>
              <a:rPr sz="1200" baseline="-7246" dirty="0">
                <a:latin typeface="Arial"/>
                <a:cs typeface="Arial"/>
              </a:rPr>
              <a:t>t</a:t>
            </a:r>
            <a:r>
              <a:rPr sz="1200" spc="14" baseline="-7246" dirty="0">
                <a:latin typeface="Arial"/>
                <a:cs typeface="Arial"/>
              </a:rPr>
              <a:t>io</a:t>
            </a:r>
            <a:r>
              <a:rPr sz="1200" baseline="-7246" dirty="0">
                <a:latin typeface="Arial"/>
                <a:cs typeface="Arial"/>
              </a:rPr>
              <a:t>n</a:t>
            </a:r>
            <a:endParaRPr sz="800" dirty="0">
              <a:latin typeface="Arial"/>
              <a:cs typeface="Arial"/>
            </a:endParaRPr>
          </a:p>
        </p:txBody>
      </p:sp>
      <p:sp>
        <p:nvSpPr>
          <p:cNvPr id="238" name="object 283">
            <a:extLst>
              <a:ext uri="{FF2B5EF4-FFF2-40B4-BE49-F238E27FC236}">
                <a16:creationId xmlns:a16="http://schemas.microsoft.com/office/drawing/2014/main" id="{C947E6B6-8AD1-4D10-ADC5-3DA85BB80F88}"/>
              </a:ext>
            </a:extLst>
          </p:cNvPr>
          <p:cNvSpPr txBox="1">
            <a:spLocks noChangeArrowheads="1"/>
          </p:cNvSpPr>
          <p:nvPr/>
        </p:nvSpPr>
        <p:spPr bwMode="auto">
          <a:xfrm>
            <a:off x="4389956" y="4531015"/>
            <a:ext cx="490537"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463">
              <a:spcBef>
                <a:spcPct val="20000"/>
              </a:spcBef>
              <a:buChar char="•"/>
              <a:tabLst>
                <a:tab pos="800100" algn="l"/>
                <a:tab pos="1384300" algn="l"/>
              </a:tabLst>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tabLst>
                <a:tab pos="800100" algn="l"/>
                <a:tab pos="1384300" algn="l"/>
              </a:tabLst>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tabLst>
                <a:tab pos="800100" algn="l"/>
                <a:tab pos="1384300" algn="l"/>
              </a:tabLst>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9pPr>
          </a:lstStyle>
          <a:p>
            <a:pPr>
              <a:lnSpc>
                <a:spcPts val="875"/>
              </a:lnSpc>
              <a:spcBef>
                <a:spcPct val="0"/>
              </a:spcBef>
              <a:buFontTx/>
              <a:buNone/>
            </a:pPr>
            <a:r>
              <a:rPr lang="en-US" altLang="zh-CN" sz="1200" baseline="-7000">
                <a:cs typeface="Arial" panose="020B0604020202020204" pitchFamily="34" charset="0"/>
              </a:rPr>
              <a:t>Panel PC</a:t>
            </a:r>
            <a:endParaRPr lang="zh-CN" altLang="zh-CN" sz="800">
              <a:cs typeface="Arial" panose="020B0604020202020204" pitchFamily="34" charset="0"/>
            </a:endParaRPr>
          </a:p>
        </p:txBody>
      </p:sp>
      <p:sp>
        <p:nvSpPr>
          <p:cNvPr id="239" name="object 138">
            <a:extLst>
              <a:ext uri="{FF2B5EF4-FFF2-40B4-BE49-F238E27FC236}">
                <a16:creationId xmlns:a16="http://schemas.microsoft.com/office/drawing/2014/main" id="{7FAD7FF4-094A-4E4B-A498-90D07EF7E887}"/>
              </a:ext>
            </a:extLst>
          </p:cNvPr>
          <p:cNvSpPr>
            <a:spLocks/>
          </p:cNvSpPr>
          <p:nvPr/>
        </p:nvSpPr>
        <p:spPr bwMode="auto">
          <a:xfrm>
            <a:off x="5053531" y="4002377"/>
            <a:ext cx="971550" cy="1743075"/>
          </a:xfrm>
          <a:custGeom>
            <a:avLst/>
            <a:gdLst>
              <a:gd name="T0" fmla="*/ 0 w 1871459"/>
              <a:gd name="T1" fmla="*/ 2807980 h 1082027"/>
              <a:gd name="T2" fmla="*/ 504371 w 1871459"/>
              <a:gd name="T3" fmla="*/ 2807980 h 1082027"/>
              <a:gd name="T4" fmla="*/ 504371 w 1871459"/>
              <a:gd name="T5" fmla="*/ 0 h 1082027"/>
              <a:gd name="T6" fmla="*/ 0 w 1871459"/>
              <a:gd name="T7" fmla="*/ 0 h 1082027"/>
              <a:gd name="T8" fmla="*/ 0 w 1871459"/>
              <a:gd name="T9" fmla="*/ 2807980 h 10820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71459" h="1082027">
                <a:moveTo>
                  <a:pt x="0" y="1082027"/>
                </a:moveTo>
                <a:lnTo>
                  <a:pt x="1871459" y="1082027"/>
                </a:lnTo>
                <a:lnTo>
                  <a:pt x="1871459" y="0"/>
                </a:lnTo>
                <a:lnTo>
                  <a:pt x="0" y="0"/>
                </a:lnTo>
                <a:lnTo>
                  <a:pt x="0" y="1082027"/>
                </a:lnTo>
                <a:close/>
              </a:path>
            </a:pathLst>
          </a:custGeom>
          <a:solidFill>
            <a:srgbClr val="EEF1F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40" name="object 144">
            <a:extLst>
              <a:ext uri="{FF2B5EF4-FFF2-40B4-BE49-F238E27FC236}">
                <a16:creationId xmlns:a16="http://schemas.microsoft.com/office/drawing/2014/main" id="{90C56E32-6EDD-422B-A5C4-0D2CA53CB538}"/>
              </a:ext>
            </a:extLst>
          </p:cNvPr>
          <p:cNvSpPr>
            <a:spLocks/>
          </p:cNvSpPr>
          <p:nvPr/>
        </p:nvSpPr>
        <p:spPr bwMode="auto">
          <a:xfrm flipH="1">
            <a:off x="5382143" y="3840452"/>
            <a:ext cx="46038" cy="976313"/>
          </a:xfrm>
          <a:custGeom>
            <a:avLst/>
            <a:gdLst>
              <a:gd name="T0" fmla="*/ 62607 w 30467"/>
              <a:gd name="T1" fmla="*/ 0 h 969251"/>
              <a:gd name="T2" fmla="*/ 0 w 30467"/>
              <a:gd name="T3" fmla="*/ 0 h 969251"/>
              <a:gd name="T4" fmla="*/ 6957 w 30467"/>
              <a:gd name="T5" fmla="*/ 983426 h 969251"/>
              <a:gd name="T6" fmla="*/ 69567 w 30467"/>
              <a:gd name="T7" fmla="*/ 983426 h 969251"/>
              <a:gd name="T8" fmla="*/ 62607 w 30467"/>
              <a:gd name="T9" fmla="*/ 0 h 96925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467" h="969251">
                <a:moveTo>
                  <a:pt x="27419" y="0"/>
                </a:moveTo>
                <a:lnTo>
                  <a:pt x="0" y="0"/>
                </a:lnTo>
                <a:lnTo>
                  <a:pt x="3047" y="969251"/>
                </a:lnTo>
                <a:lnTo>
                  <a:pt x="30467" y="969251"/>
                </a:lnTo>
                <a:lnTo>
                  <a:pt x="27419" y="0"/>
                </a:lnTo>
                <a:close/>
              </a:path>
            </a:pathLst>
          </a:custGeom>
          <a:solidFill>
            <a:srgbClr val="5F973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41" name="object 146">
            <a:extLst>
              <a:ext uri="{FF2B5EF4-FFF2-40B4-BE49-F238E27FC236}">
                <a16:creationId xmlns:a16="http://schemas.microsoft.com/office/drawing/2014/main" id="{64634439-CEFA-442A-87F7-9B2048B2400E}"/>
              </a:ext>
            </a:extLst>
          </p:cNvPr>
          <p:cNvSpPr>
            <a:spLocks noChangeArrowheads="1"/>
          </p:cNvSpPr>
          <p:nvPr/>
        </p:nvSpPr>
        <p:spPr bwMode="auto">
          <a:xfrm>
            <a:off x="5167831" y="4816765"/>
            <a:ext cx="430212" cy="249237"/>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242" name="object 147">
            <a:extLst>
              <a:ext uri="{FF2B5EF4-FFF2-40B4-BE49-F238E27FC236}">
                <a16:creationId xmlns:a16="http://schemas.microsoft.com/office/drawing/2014/main" id="{CF6836EB-17A9-4069-9855-06B3D65D1443}"/>
              </a:ext>
            </a:extLst>
          </p:cNvPr>
          <p:cNvSpPr>
            <a:spLocks/>
          </p:cNvSpPr>
          <p:nvPr/>
        </p:nvSpPr>
        <p:spPr bwMode="auto">
          <a:xfrm>
            <a:off x="5317056" y="3475327"/>
            <a:ext cx="142875" cy="368300"/>
          </a:xfrm>
          <a:custGeom>
            <a:avLst/>
            <a:gdLst>
              <a:gd name="T0" fmla="*/ 0 w 143256"/>
              <a:gd name="T1" fmla="*/ 367794 h 368807"/>
              <a:gd name="T2" fmla="*/ 142495 w 143256"/>
              <a:gd name="T3" fmla="*/ 367794 h 368807"/>
              <a:gd name="T4" fmla="*/ 142495 w 143256"/>
              <a:gd name="T5" fmla="*/ 0 h 368807"/>
              <a:gd name="T6" fmla="*/ 0 w 143256"/>
              <a:gd name="T7" fmla="*/ 0 h 368807"/>
              <a:gd name="T8" fmla="*/ 0 w 143256"/>
              <a:gd name="T9" fmla="*/ 367794 h 3688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3256" h="368807">
                <a:moveTo>
                  <a:pt x="0" y="368807"/>
                </a:moveTo>
                <a:lnTo>
                  <a:pt x="143256" y="368807"/>
                </a:lnTo>
                <a:lnTo>
                  <a:pt x="143256" y="0"/>
                </a:lnTo>
                <a:lnTo>
                  <a:pt x="0" y="0"/>
                </a:lnTo>
                <a:lnTo>
                  <a:pt x="0" y="368807"/>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43" name="object 148">
            <a:extLst>
              <a:ext uri="{FF2B5EF4-FFF2-40B4-BE49-F238E27FC236}">
                <a16:creationId xmlns:a16="http://schemas.microsoft.com/office/drawing/2014/main" id="{8CD499EF-18A4-4DD6-8993-DC157D11DFF9}"/>
              </a:ext>
            </a:extLst>
          </p:cNvPr>
          <p:cNvSpPr>
            <a:spLocks/>
          </p:cNvSpPr>
          <p:nvPr/>
        </p:nvSpPr>
        <p:spPr bwMode="auto">
          <a:xfrm>
            <a:off x="5310706" y="3468977"/>
            <a:ext cx="152400" cy="381000"/>
          </a:xfrm>
          <a:custGeom>
            <a:avLst/>
            <a:gdLst>
              <a:gd name="T0" fmla="*/ 152400 w 152400"/>
              <a:gd name="T1" fmla="*/ 0 h 381000"/>
              <a:gd name="T2" fmla="*/ 0 w 152400"/>
              <a:gd name="T3" fmla="*/ 0 h 381000"/>
              <a:gd name="T4" fmla="*/ 0 w 152400"/>
              <a:gd name="T5" fmla="*/ 380999 h 381000"/>
              <a:gd name="T6" fmla="*/ 152400 w 152400"/>
              <a:gd name="T7" fmla="*/ 380999 h 381000"/>
              <a:gd name="T8" fmla="*/ 152400 w 152400"/>
              <a:gd name="T9" fmla="*/ 374903 h 381000"/>
              <a:gd name="T10" fmla="*/ 9131 w 152400"/>
              <a:gd name="T11" fmla="*/ 374903 h 381000"/>
              <a:gd name="T12" fmla="*/ 6083 w 152400"/>
              <a:gd name="T13" fmla="*/ 371855 h 381000"/>
              <a:gd name="T14" fmla="*/ 9131 w 152400"/>
              <a:gd name="T15" fmla="*/ 371855 h 381000"/>
              <a:gd name="T16" fmla="*/ 9131 w 152400"/>
              <a:gd name="T17" fmla="*/ 9143 h 381000"/>
              <a:gd name="T18" fmla="*/ 6083 w 152400"/>
              <a:gd name="T19" fmla="*/ 9143 h 381000"/>
              <a:gd name="T20" fmla="*/ 9131 w 152400"/>
              <a:gd name="T21" fmla="*/ 6095 h 381000"/>
              <a:gd name="T22" fmla="*/ 152400 w 152400"/>
              <a:gd name="T23" fmla="*/ 6095 h 381000"/>
              <a:gd name="T24" fmla="*/ 152400 w 152400"/>
              <a:gd name="T25" fmla="*/ 0 h 381000"/>
              <a:gd name="T26" fmla="*/ 9131 w 152400"/>
              <a:gd name="T27" fmla="*/ 371855 h 381000"/>
              <a:gd name="T28" fmla="*/ 6083 w 152400"/>
              <a:gd name="T29" fmla="*/ 371855 h 381000"/>
              <a:gd name="T30" fmla="*/ 9131 w 152400"/>
              <a:gd name="T31" fmla="*/ 374903 h 381000"/>
              <a:gd name="T32" fmla="*/ 9131 w 152400"/>
              <a:gd name="T33" fmla="*/ 371855 h 381000"/>
              <a:gd name="T34" fmla="*/ 143256 w 152400"/>
              <a:gd name="T35" fmla="*/ 371855 h 381000"/>
              <a:gd name="T36" fmla="*/ 9131 w 152400"/>
              <a:gd name="T37" fmla="*/ 371855 h 381000"/>
              <a:gd name="T38" fmla="*/ 9131 w 152400"/>
              <a:gd name="T39" fmla="*/ 374903 h 381000"/>
              <a:gd name="T40" fmla="*/ 143256 w 152400"/>
              <a:gd name="T41" fmla="*/ 374903 h 381000"/>
              <a:gd name="T42" fmla="*/ 143256 w 152400"/>
              <a:gd name="T43" fmla="*/ 371855 h 381000"/>
              <a:gd name="T44" fmla="*/ 143256 w 152400"/>
              <a:gd name="T45" fmla="*/ 6095 h 381000"/>
              <a:gd name="T46" fmla="*/ 143256 w 152400"/>
              <a:gd name="T47" fmla="*/ 374903 h 381000"/>
              <a:gd name="T48" fmla="*/ 149339 w 152400"/>
              <a:gd name="T49" fmla="*/ 371855 h 381000"/>
              <a:gd name="T50" fmla="*/ 152400 w 152400"/>
              <a:gd name="T51" fmla="*/ 371855 h 381000"/>
              <a:gd name="T52" fmla="*/ 152400 w 152400"/>
              <a:gd name="T53" fmla="*/ 9143 h 381000"/>
              <a:gd name="T54" fmla="*/ 149339 w 152400"/>
              <a:gd name="T55" fmla="*/ 9143 h 381000"/>
              <a:gd name="T56" fmla="*/ 143256 w 152400"/>
              <a:gd name="T57" fmla="*/ 6095 h 381000"/>
              <a:gd name="T58" fmla="*/ 152400 w 152400"/>
              <a:gd name="T59" fmla="*/ 371855 h 381000"/>
              <a:gd name="T60" fmla="*/ 149339 w 152400"/>
              <a:gd name="T61" fmla="*/ 371855 h 381000"/>
              <a:gd name="T62" fmla="*/ 143256 w 152400"/>
              <a:gd name="T63" fmla="*/ 374903 h 381000"/>
              <a:gd name="T64" fmla="*/ 152400 w 152400"/>
              <a:gd name="T65" fmla="*/ 374903 h 381000"/>
              <a:gd name="T66" fmla="*/ 152400 w 152400"/>
              <a:gd name="T67" fmla="*/ 371855 h 381000"/>
              <a:gd name="T68" fmla="*/ 9131 w 152400"/>
              <a:gd name="T69" fmla="*/ 6095 h 381000"/>
              <a:gd name="T70" fmla="*/ 6083 w 152400"/>
              <a:gd name="T71" fmla="*/ 9143 h 381000"/>
              <a:gd name="T72" fmla="*/ 9131 w 152400"/>
              <a:gd name="T73" fmla="*/ 9143 h 381000"/>
              <a:gd name="T74" fmla="*/ 9131 w 152400"/>
              <a:gd name="T75" fmla="*/ 6095 h 381000"/>
              <a:gd name="T76" fmla="*/ 143256 w 152400"/>
              <a:gd name="T77" fmla="*/ 6095 h 381000"/>
              <a:gd name="T78" fmla="*/ 9131 w 152400"/>
              <a:gd name="T79" fmla="*/ 6095 h 381000"/>
              <a:gd name="T80" fmla="*/ 9131 w 152400"/>
              <a:gd name="T81" fmla="*/ 9143 h 381000"/>
              <a:gd name="T82" fmla="*/ 143256 w 152400"/>
              <a:gd name="T83" fmla="*/ 9143 h 381000"/>
              <a:gd name="T84" fmla="*/ 143256 w 152400"/>
              <a:gd name="T85" fmla="*/ 6095 h 381000"/>
              <a:gd name="T86" fmla="*/ 152400 w 152400"/>
              <a:gd name="T87" fmla="*/ 6095 h 381000"/>
              <a:gd name="T88" fmla="*/ 143256 w 152400"/>
              <a:gd name="T89" fmla="*/ 6095 h 381000"/>
              <a:gd name="T90" fmla="*/ 149339 w 152400"/>
              <a:gd name="T91" fmla="*/ 9143 h 381000"/>
              <a:gd name="T92" fmla="*/ 152400 w 152400"/>
              <a:gd name="T93" fmla="*/ 9143 h 381000"/>
              <a:gd name="T94" fmla="*/ 152400 w 152400"/>
              <a:gd name="T95" fmla="*/ 6095 h 3810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52400" h="381000">
                <a:moveTo>
                  <a:pt x="152400" y="0"/>
                </a:moveTo>
                <a:lnTo>
                  <a:pt x="0" y="0"/>
                </a:lnTo>
                <a:lnTo>
                  <a:pt x="0" y="380999"/>
                </a:lnTo>
                <a:lnTo>
                  <a:pt x="152400" y="380999"/>
                </a:lnTo>
                <a:lnTo>
                  <a:pt x="152400" y="374903"/>
                </a:lnTo>
                <a:lnTo>
                  <a:pt x="9131" y="374903"/>
                </a:lnTo>
                <a:lnTo>
                  <a:pt x="6083" y="371855"/>
                </a:lnTo>
                <a:lnTo>
                  <a:pt x="9131" y="371855"/>
                </a:lnTo>
                <a:lnTo>
                  <a:pt x="9131" y="9143"/>
                </a:lnTo>
                <a:lnTo>
                  <a:pt x="6083" y="9143"/>
                </a:lnTo>
                <a:lnTo>
                  <a:pt x="9131" y="6095"/>
                </a:lnTo>
                <a:lnTo>
                  <a:pt x="152400" y="6095"/>
                </a:lnTo>
                <a:lnTo>
                  <a:pt x="152400" y="0"/>
                </a:lnTo>
                <a:close/>
              </a:path>
              <a:path w="152400" h="381000">
                <a:moveTo>
                  <a:pt x="9131" y="371855"/>
                </a:moveTo>
                <a:lnTo>
                  <a:pt x="6083" y="371855"/>
                </a:lnTo>
                <a:lnTo>
                  <a:pt x="9131" y="374903"/>
                </a:lnTo>
                <a:lnTo>
                  <a:pt x="9131" y="371855"/>
                </a:lnTo>
                <a:close/>
              </a:path>
              <a:path w="152400" h="381000">
                <a:moveTo>
                  <a:pt x="143256" y="371855"/>
                </a:moveTo>
                <a:lnTo>
                  <a:pt x="9131" y="371855"/>
                </a:lnTo>
                <a:lnTo>
                  <a:pt x="9131" y="374903"/>
                </a:lnTo>
                <a:lnTo>
                  <a:pt x="143256" y="374903"/>
                </a:lnTo>
                <a:lnTo>
                  <a:pt x="143256" y="371855"/>
                </a:lnTo>
                <a:close/>
              </a:path>
              <a:path w="152400" h="381000">
                <a:moveTo>
                  <a:pt x="143256" y="6095"/>
                </a:moveTo>
                <a:lnTo>
                  <a:pt x="143256" y="374903"/>
                </a:lnTo>
                <a:lnTo>
                  <a:pt x="149339" y="371855"/>
                </a:lnTo>
                <a:lnTo>
                  <a:pt x="152400" y="371855"/>
                </a:lnTo>
                <a:lnTo>
                  <a:pt x="152400" y="9143"/>
                </a:lnTo>
                <a:lnTo>
                  <a:pt x="149339" y="9143"/>
                </a:lnTo>
                <a:lnTo>
                  <a:pt x="143256" y="6095"/>
                </a:lnTo>
                <a:close/>
              </a:path>
              <a:path w="152400" h="381000">
                <a:moveTo>
                  <a:pt x="152400" y="371855"/>
                </a:moveTo>
                <a:lnTo>
                  <a:pt x="149339" y="371855"/>
                </a:lnTo>
                <a:lnTo>
                  <a:pt x="143256" y="374903"/>
                </a:lnTo>
                <a:lnTo>
                  <a:pt x="152400" y="374903"/>
                </a:lnTo>
                <a:lnTo>
                  <a:pt x="152400" y="371855"/>
                </a:lnTo>
                <a:close/>
              </a:path>
              <a:path w="152400" h="381000">
                <a:moveTo>
                  <a:pt x="9131" y="6095"/>
                </a:moveTo>
                <a:lnTo>
                  <a:pt x="6083" y="9143"/>
                </a:lnTo>
                <a:lnTo>
                  <a:pt x="9131" y="9143"/>
                </a:lnTo>
                <a:lnTo>
                  <a:pt x="9131" y="6095"/>
                </a:lnTo>
                <a:close/>
              </a:path>
              <a:path w="152400" h="381000">
                <a:moveTo>
                  <a:pt x="143256" y="6095"/>
                </a:moveTo>
                <a:lnTo>
                  <a:pt x="9131" y="6095"/>
                </a:lnTo>
                <a:lnTo>
                  <a:pt x="9131" y="9143"/>
                </a:lnTo>
                <a:lnTo>
                  <a:pt x="143256" y="9143"/>
                </a:lnTo>
                <a:lnTo>
                  <a:pt x="143256" y="6095"/>
                </a:lnTo>
                <a:close/>
              </a:path>
              <a:path w="152400" h="381000">
                <a:moveTo>
                  <a:pt x="152400" y="6095"/>
                </a:moveTo>
                <a:lnTo>
                  <a:pt x="143256" y="6095"/>
                </a:lnTo>
                <a:lnTo>
                  <a:pt x="149339" y="9143"/>
                </a:lnTo>
                <a:lnTo>
                  <a:pt x="152400" y="9143"/>
                </a:lnTo>
                <a:lnTo>
                  <a:pt x="152400"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44" name="object 149">
            <a:extLst>
              <a:ext uri="{FF2B5EF4-FFF2-40B4-BE49-F238E27FC236}">
                <a16:creationId xmlns:a16="http://schemas.microsoft.com/office/drawing/2014/main" id="{FA8E9354-368E-4D59-A8EF-206771EBA8B4}"/>
              </a:ext>
            </a:extLst>
          </p:cNvPr>
          <p:cNvSpPr>
            <a:spLocks/>
          </p:cNvSpPr>
          <p:nvPr/>
        </p:nvSpPr>
        <p:spPr bwMode="auto">
          <a:xfrm>
            <a:off x="5444056" y="3475327"/>
            <a:ext cx="0" cy="368300"/>
          </a:xfrm>
          <a:custGeom>
            <a:avLst/>
            <a:gdLst>
              <a:gd name="T0" fmla="*/ 0 h 368807"/>
              <a:gd name="T1" fmla="*/ 367794 h 368807"/>
              <a:gd name="T2" fmla="*/ 0 60000 65536"/>
              <a:gd name="T3" fmla="*/ 0 60000 65536"/>
            </a:gdLst>
            <a:ahLst/>
            <a:cxnLst>
              <a:cxn ang="T2">
                <a:pos x="0" y="T0"/>
              </a:cxn>
              <a:cxn ang="T3">
                <a:pos x="0" y="T1"/>
              </a:cxn>
            </a:cxnLst>
            <a:rect l="0" t="0" r="r" b="b"/>
            <a:pathLst>
              <a:path h="368807">
                <a:moveTo>
                  <a:pt x="0" y="0"/>
                </a:moveTo>
                <a:lnTo>
                  <a:pt x="0" y="368807"/>
                </a:lnTo>
              </a:path>
            </a:pathLst>
          </a:custGeom>
          <a:noFill/>
          <a:ln w="31750">
            <a:solidFill>
              <a:srgbClr val="6783A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45" name="object 150">
            <a:extLst>
              <a:ext uri="{FF2B5EF4-FFF2-40B4-BE49-F238E27FC236}">
                <a16:creationId xmlns:a16="http://schemas.microsoft.com/office/drawing/2014/main" id="{10FAA3EF-7872-41E6-A02C-31695CB1C197}"/>
              </a:ext>
            </a:extLst>
          </p:cNvPr>
          <p:cNvSpPr>
            <a:spLocks/>
          </p:cNvSpPr>
          <p:nvPr/>
        </p:nvSpPr>
        <p:spPr bwMode="auto">
          <a:xfrm>
            <a:off x="5426593" y="3468977"/>
            <a:ext cx="36513" cy="381000"/>
          </a:xfrm>
          <a:custGeom>
            <a:avLst/>
            <a:gdLst>
              <a:gd name="T0" fmla="*/ 36463 w 36563"/>
              <a:gd name="T1" fmla="*/ 0 h 381000"/>
              <a:gd name="T2" fmla="*/ 0 w 36563"/>
              <a:gd name="T3" fmla="*/ 0 h 381000"/>
              <a:gd name="T4" fmla="*/ 0 w 36563"/>
              <a:gd name="T5" fmla="*/ 380999 h 381000"/>
              <a:gd name="T6" fmla="*/ 36463 w 36563"/>
              <a:gd name="T7" fmla="*/ 380999 h 381000"/>
              <a:gd name="T8" fmla="*/ 36463 w 36563"/>
              <a:gd name="T9" fmla="*/ 374903 h 381000"/>
              <a:gd name="T10" fmla="*/ 9107 w 36563"/>
              <a:gd name="T11" fmla="*/ 374903 h 381000"/>
              <a:gd name="T12" fmla="*/ 3027 w 36563"/>
              <a:gd name="T13" fmla="*/ 371855 h 381000"/>
              <a:gd name="T14" fmla="*/ 9107 w 36563"/>
              <a:gd name="T15" fmla="*/ 371855 h 381000"/>
              <a:gd name="T16" fmla="*/ 9107 w 36563"/>
              <a:gd name="T17" fmla="*/ 9143 h 381000"/>
              <a:gd name="T18" fmla="*/ 3027 w 36563"/>
              <a:gd name="T19" fmla="*/ 9143 h 381000"/>
              <a:gd name="T20" fmla="*/ 9107 w 36563"/>
              <a:gd name="T21" fmla="*/ 6095 h 381000"/>
              <a:gd name="T22" fmla="*/ 36463 w 36563"/>
              <a:gd name="T23" fmla="*/ 6095 h 381000"/>
              <a:gd name="T24" fmla="*/ 36463 w 36563"/>
              <a:gd name="T25" fmla="*/ 0 h 381000"/>
              <a:gd name="T26" fmla="*/ 9107 w 36563"/>
              <a:gd name="T27" fmla="*/ 371855 h 381000"/>
              <a:gd name="T28" fmla="*/ 3027 w 36563"/>
              <a:gd name="T29" fmla="*/ 371855 h 381000"/>
              <a:gd name="T30" fmla="*/ 9107 w 36563"/>
              <a:gd name="T31" fmla="*/ 374903 h 381000"/>
              <a:gd name="T32" fmla="*/ 9107 w 36563"/>
              <a:gd name="T33" fmla="*/ 371855 h 381000"/>
              <a:gd name="T34" fmla="*/ 27345 w 36563"/>
              <a:gd name="T35" fmla="*/ 371855 h 381000"/>
              <a:gd name="T36" fmla="*/ 9107 w 36563"/>
              <a:gd name="T37" fmla="*/ 371855 h 381000"/>
              <a:gd name="T38" fmla="*/ 9107 w 36563"/>
              <a:gd name="T39" fmla="*/ 374903 h 381000"/>
              <a:gd name="T40" fmla="*/ 27345 w 36563"/>
              <a:gd name="T41" fmla="*/ 374903 h 381000"/>
              <a:gd name="T42" fmla="*/ 27345 w 36563"/>
              <a:gd name="T43" fmla="*/ 371855 h 381000"/>
              <a:gd name="T44" fmla="*/ 27345 w 36563"/>
              <a:gd name="T45" fmla="*/ 6095 h 381000"/>
              <a:gd name="T46" fmla="*/ 27345 w 36563"/>
              <a:gd name="T47" fmla="*/ 374903 h 381000"/>
              <a:gd name="T48" fmla="*/ 33423 w 36563"/>
              <a:gd name="T49" fmla="*/ 371855 h 381000"/>
              <a:gd name="T50" fmla="*/ 36463 w 36563"/>
              <a:gd name="T51" fmla="*/ 371855 h 381000"/>
              <a:gd name="T52" fmla="*/ 36463 w 36563"/>
              <a:gd name="T53" fmla="*/ 9143 h 381000"/>
              <a:gd name="T54" fmla="*/ 33423 w 36563"/>
              <a:gd name="T55" fmla="*/ 9143 h 381000"/>
              <a:gd name="T56" fmla="*/ 27345 w 36563"/>
              <a:gd name="T57" fmla="*/ 6095 h 381000"/>
              <a:gd name="T58" fmla="*/ 36463 w 36563"/>
              <a:gd name="T59" fmla="*/ 371855 h 381000"/>
              <a:gd name="T60" fmla="*/ 33423 w 36563"/>
              <a:gd name="T61" fmla="*/ 371855 h 381000"/>
              <a:gd name="T62" fmla="*/ 27345 w 36563"/>
              <a:gd name="T63" fmla="*/ 374903 h 381000"/>
              <a:gd name="T64" fmla="*/ 36463 w 36563"/>
              <a:gd name="T65" fmla="*/ 374903 h 381000"/>
              <a:gd name="T66" fmla="*/ 36463 w 36563"/>
              <a:gd name="T67" fmla="*/ 371855 h 381000"/>
              <a:gd name="T68" fmla="*/ 9107 w 36563"/>
              <a:gd name="T69" fmla="*/ 6095 h 381000"/>
              <a:gd name="T70" fmla="*/ 3027 w 36563"/>
              <a:gd name="T71" fmla="*/ 9143 h 381000"/>
              <a:gd name="T72" fmla="*/ 9107 w 36563"/>
              <a:gd name="T73" fmla="*/ 9143 h 381000"/>
              <a:gd name="T74" fmla="*/ 9107 w 36563"/>
              <a:gd name="T75" fmla="*/ 6095 h 381000"/>
              <a:gd name="T76" fmla="*/ 27345 w 36563"/>
              <a:gd name="T77" fmla="*/ 6095 h 381000"/>
              <a:gd name="T78" fmla="*/ 9107 w 36563"/>
              <a:gd name="T79" fmla="*/ 6095 h 381000"/>
              <a:gd name="T80" fmla="*/ 9107 w 36563"/>
              <a:gd name="T81" fmla="*/ 9143 h 381000"/>
              <a:gd name="T82" fmla="*/ 27345 w 36563"/>
              <a:gd name="T83" fmla="*/ 9143 h 381000"/>
              <a:gd name="T84" fmla="*/ 27345 w 36563"/>
              <a:gd name="T85" fmla="*/ 6095 h 381000"/>
              <a:gd name="T86" fmla="*/ 36463 w 36563"/>
              <a:gd name="T87" fmla="*/ 6095 h 381000"/>
              <a:gd name="T88" fmla="*/ 27345 w 36563"/>
              <a:gd name="T89" fmla="*/ 6095 h 381000"/>
              <a:gd name="T90" fmla="*/ 33423 w 36563"/>
              <a:gd name="T91" fmla="*/ 9143 h 381000"/>
              <a:gd name="T92" fmla="*/ 36463 w 36563"/>
              <a:gd name="T93" fmla="*/ 9143 h 381000"/>
              <a:gd name="T94" fmla="*/ 36463 w 36563"/>
              <a:gd name="T95" fmla="*/ 6095 h 3810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6563" h="381000">
                <a:moveTo>
                  <a:pt x="36563" y="0"/>
                </a:moveTo>
                <a:lnTo>
                  <a:pt x="0" y="0"/>
                </a:lnTo>
                <a:lnTo>
                  <a:pt x="0" y="380999"/>
                </a:lnTo>
                <a:lnTo>
                  <a:pt x="36563" y="380999"/>
                </a:lnTo>
                <a:lnTo>
                  <a:pt x="36563" y="374903"/>
                </a:lnTo>
                <a:lnTo>
                  <a:pt x="9131" y="374903"/>
                </a:lnTo>
                <a:lnTo>
                  <a:pt x="3035" y="371855"/>
                </a:lnTo>
                <a:lnTo>
                  <a:pt x="9131" y="371855"/>
                </a:lnTo>
                <a:lnTo>
                  <a:pt x="9131" y="9143"/>
                </a:lnTo>
                <a:lnTo>
                  <a:pt x="3035" y="9143"/>
                </a:lnTo>
                <a:lnTo>
                  <a:pt x="9131" y="6095"/>
                </a:lnTo>
                <a:lnTo>
                  <a:pt x="36563" y="6095"/>
                </a:lnTo>
                <a:lnTo>
                  <a:pt x="36563" y="0"/>
                </a:lnTo>
                <a:close/>
              </a:path>
              <a:path w="36563" h="381000">
                <a:moveTo>
                  <a:pt x="9131" y="371855"/>
                </a:moveTo>
                <a:lnTo>
                  <a:pt x="3035" y="371855"/>
                </a:lnTo>
                <a:lnTo>
                  <a:pt x="9131" y="374903"/>
                </a:lnTo>
                <a:lnTo>
                  <a:pt x="9131" y="371855"/>
                </a:lnTo>
                <a:close/>
              </a:path>
              <a:path w="36563" h="381000">
                <a:moveTo>
                  <a:pt x="27419" y="371855"/>
                </a:moveTo>
                <a:lnTo>
                  <a:pt x="9131" y="371855"/>
                </a:lnTo>
                <a:lnTo>
                  <a:pt x="9131" y="374903"/>
                </a:lnTo>
                <a:lnTo>
                  <a:pt x="27419" y="374903"/>
                </a:lnTo>
                <a:lnTo>
                  <a:pt x="27419" y="371855"/>
                </a:lnTo>
                <a:close/>
              </a:path>
              <a:path w="36563" h="381000">
                <a:moveTo>
                  <a:pt x="27419" y="6095"/>
                </a:moveTo>
                <a:lnTo>
                  <a:pt x="27419" y="374903"/>
                </a:lnTo>
                <a:lnTo>
                  <a:pt x="33515" y="371855"/>
                </a:lnTo>
                <a:lnTo>
                  <a:pt x="36563" y="371855"/>
                </a:lnTo>
                <a:lnTo>
                  <a:pt x="36563" y="9143"/>
                </a:lnTo>
                <a:lnTo>
                  <a:pt x="33515" y="9143"/>
                </a:lnTo>
                <a:lnTo>
                  <a:pt x="27419" y="6095"/>
                </a:lnTo>
                <a:close/>
              </a:path>
              <a:path w="36563" h="381000">
                <a:moveTo>
                  <a:pt x="36563" y="371855"/>
                </a:moveTo>
                <a:lnTo>
                  <a:pt x="33515" y="371855"/>
                </a:lnTo>
                <a:lnTo>
                  <a:pt x="27419" y="374903"/>
                </a:lnTo>
                <a:lnTo>
                  <a:pt x="36563" y="374903"/>
                </a:lnTo>
                <a:lnTo>
                  <a:pt x="36563" y="371855"/>
                </a:lnTo>
                <a:close/>
              </a:path>
              <a:path w="36563" h="381000">
                <a:moveTo>
                  <a:pt x="9131" y="6095"/>
                </a:moveTo>
                <a:lnTo>
                  <a:pt x="3035" y="9143"/>
                </a:lnTo>
                <a:lnTo>
                  <a:pt x="9131" y="9143"/>
                </a:lnTo>
                <a:lnTo>
                  <a:pt x="9131" y="6095"/>
                </a:lnTo>
                <a:close/>
              </a:path>
              <a:path w="36563" h="381000">
                <a:moveTo>
                  <a:pt x="27419" y="6095"/>
                </a:moveTo>
                <a:lnTo>
                  <a:pt x="9131" y="6095"/>
                </a:lnTo>
                <a:lnTo>
                  <a:pt x="9131" y="9143"/>
                </a:lnTo>
                <a:lnTo>
                  <a:pt x="27419" y="9143"/>
                </a:lnTo>
                <a:lnTo>
                  <a:pt x="27419" y="6095"/>
                </a:lnTo>
                <a:close/>
              </a:path>
              <a:path w="36563" h="381000">
                <a:moveTo>
                  <a:pt x="36563" y="6095"/>
                </a:moveTo>
                <a:lnTo>
                  <a:pt x="27419" y="6095"/>
                </a:lnTo>
                <a:lnTo>
                  <a:pt x="33515" y="9143"/>
                </a:lnTo>
                <a:lnTo>
                  <a:pt x="36563" y="9143"/>
                </a:lnTo>
                <a:lnTo>
                  <a:pt x="36563"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46" name="object 151">
            <a:extLst>
              <a:ext uri="{FF2B5EF4-FFF2-40B4-BE49-F238E27FC236}">
                <a16:creationId xmlns:a16="http://schemas.microsoft.com/office/drawing/2014/main" id="{78C12667-27BB-402E-9CD0-E7DB7288C888}"/>
              </a:ext>
            </a:extLst>
          </p:cNvPr>
          <p:cNvSpPr>
            <a:spLocks/>
          </p:cNvSpPr>
          <p:nvPr/>
        </p:nvSpPr>
        <p:spPr bwMode="auto">
          <a:xfrm>
            <a:off x="5320231" y="3484852"/>
            <a:ext cx="46037" cy="12700"/>
          </a:xfrm>
          <a:custGeom>
            <a:avLst/>
            <a:gdLst>
              <a:gd name="T0" fmla="*/ 0 w 45707"/>
              <a:gd name="T1" fmla="*/ 6615 h 12192"/>
              <a:gd name="T2" fmla="*/ 46369 w 45707"/>
              <a:gd name="T3" fmla="*/ 6615 h 12192"/>
              <a:gd name="T4" fmla="*/ 0 60000 65536"/>
              <a:gd name="T5" fmla="*/ 0 60000 65536"/>
            </a:gdLst>
            <a:ahLst/>
            <a:cxnLst>
              <a:cxn ang="T4">
                <a:pos x="T0" y="T1"/>
              </a:cxn>
              <a:cxn ang="T5">
                <a:pos x="T2" y="T3"/>
              </a:cxn>
            </a:cxnLst>
            <a:rect l="0" t="0" r="r" b="b"/>
            <a:pathLst>
              <a:path w="45707" h="12192">
                <a:moveTo>
                  <a:pt x="0" y="6096"/>
                </a:moveTo>
                <a:lnTo>
                  <a:pt x="45707" y="6096"/>
                </a:lnTo>
              </a:path>
            </a:pathLst>
          </a:custGeom>
          <a:noFill/>
          <a:ln w="13462">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47" name="object 152">
            <a:extLst>
              <a:ext uri="{FF2B5EF4-FFF2-40B4-BE49-F238E27FC236}">
                <a16:creationId xmlns:a16="http://schemas.microsoft.com/office/drawing/2014/main" id="{DC0D46D7-0774-4B56-9420-FCB2FF9821D0}"/>
              </a:ext>
            </a:extLst>
          </p:cNvPr>
          <p:cNvSpPr>
            <a:spLocks/>
          </p:cNvSpPr>
          <p:nvPr/>
        </p:nvSpPr>
        <p:spPr bwMode="auto">
          <a:xfrm>
            <a:off x="5355156" y="3756315"/>
            <a:ext cx="0" cy="60325"/>
          </a:xfrm>
          <a:custGeom>
            <a:avLst/>
            <a:gdLst>
              <a:gd name="T0" fmla="*/ 0 h 60960"/>
              <a:gd name="T1" fmla="*/ 59697 h 60960"/>
              <a:gd name="T2" fmla="*/ 0 60000 65536"/>
              <a:gd name="T3" fmla="*/ 0 60000 65536"/>
            </a:gdLst>
            <a:ahLst/>
            <a:cxnLst>
              <a:cxn ang="T2">
                <a:pos x="0" y="T0"/>
              </a:cxn>
              <a:cxn ang="T3">
                <a:pos x="0" y="T1"/>
              </a:cxn>
            </a:cxnLst>
            <a:rect l="0" t="0" r="r" b="b"/>
            <a:pathLst>
              <a:path h="60960">
                <a:moveTo>
                  <a:pt x="0" y="0"/>
                </a:moveTo>
                <a:lnTo>
                  <a:pt x="0" y="60960"/>
                </a:lnTo>
              </a:path>
            </a:pathLst>
          </a:custGeom>
          <a:noFill/>
          <a:ln w="22606">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48" name="object 153">
            <a:extLst>
              <a:ext uri="{FF2B5EF4-FFF2-40B4-BE49-F238E27FC236}">
                <a16:creationId xmlns:a16="http://schemas.microsoft.com/office/drawing/2014/main" id="{CD456F8C-8A64-497D-AFEE-882E6E872EEF}"/>
              </a:ext>
            </a:extLst>
          </p:cNvPr>
          <p:cNvSpPr>
            <a:spLocks/>
          </p:cNvSpPr>
          <p:nvPr/>
        </p:nvSpPr>
        <p:spPr bwMode="auto">
          <a:xfrm>
            <a:off x="5337693" y="3764252"/>
            <a:ext cx="9525" cy="12700"/>
          </a:xfrm>
          <a:custGeom>
            <a:avLst/>
            <a:gdLst>
              <a:gd name="T0" fmla="*/ 0 w 9131"/>
              <a:gd name="T1" fmla="*/ 6621 h 12179"/>
              <a:gd name="T2" fmla="*/ 9936 w 9131"/>
              <a:gd name="T3" fmla="*/ 6621 h 12179"/>
              <a:gd name="T4" fmla="*/ 0 60000 65536"/>
              <a:gd name="T5" fmla="*/ 0 60000 65536"/>
            </a:gdLst>
            <a:ahLst/>
            <a:cxnLst>
              <a:cxn ang="T4">
                <a:pos x="T0" y="T1"/>
              </a:cxn>
              <a:cxn ang="T5">
                <a:pos x="T2" y="T3"/>
              </a:cxn>
            </a:cxnLst>
            <a:rect l="0" t="0" r="r" b="b"/>
            <a:pathLst>
              <a:path w="9131" h="12179">
                <a:moveTo>
                  <a:pt x="0" y="6089"/>
                </a:moveTo>
                <a:lnTo>
                  <a:pt x="9131" y="6089"/>
                </a:lnTo>
              </a:path>
            </a:pathLst>
          </a:custGeom>
          <a:noFill/>
          <a:ln w="13449">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49" name="object 154">
            <a:extLst>
              <a:ext uri="{FF2B5EF4-FFF2-40B4-BE49-F238E27FC236}">
                <a16:creationId xmlns:a16="http://schemas.microsoft.com/office/drawing/2014/main" id="{76A191CD-5604-457D-A175-00359CDC81CD}"/>
              </a:ext>
            </a:extLst>
          </p:cNvPr>
          <p:cNvSpPr>
            <a:spLocks/>
          </p:cNvSpPr>
          <p:nvPr/>
        </p:nvSpPr>
        <p:spPr bwMode="auto">
          <a:xfrm>
            <a:off x="5337693" y="3796002"/>
            <a:ext cx="9525" cy="11113"/>
          </a:xfrm>
          <a:custGeom>
            <a:avLst/>
            <a:gdLst>
              <a:gd name="T0" fmla="*/ 0 w 9131"/>
              <a:gd name="T1" fmla="*/ 5070 h 12179"/>
              <a:gd name="T2" fmla="*/ 9936 w 9131"/>
              <a:gd name="T3" fmla="*/ 5070 h 12179"/>
              <a:gd name="T4" fmla="*/ 0 60000 65536"/>
              <a:gd name="T5" fmla="*/ 0 60000 65536"/>
            </a:gdLst>
            <a:ahLst/>
            <a:cxnLst>
              <a:cxn ang="T4">
                <a:pos x="T0" y="T1"/>
              </a:cxn>
              <a:cxn ang="T5">
                <a:pos x="T2" y="T3"/>
              </a:cxn>
            </a:cxnLst>
            <a:rect l="0" t="0" r="r" b="b"/>
            <a:pathLst>
              <a:path w="9131" h="12179">
                <a:moveTo>
                  <a:pt x="0" y="6089"/>
                </a:moveTo>
                <a:lnTo>
                  <a:pt x="9131" y="6089"/>
                </a:lnTo>
              </a:path>
            </a:pathLst>
          </a:custGeom>
          <a:noFill/>
          <a:ln w="13449">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50" name="object 155">
            <a:extLst>
              <a:ext uri="{FF2B5EF4-FFF2-40B4-BE49-F238E27FC236}">
                <a16:creationId xmlns:a16="http://schemas.microsoft.com/office/drawing/2014/main" id="{DF4EA778-68D4-4C1A-BEBC-2F5B1970AA4B}"/>
              </a:ext>
            </a:extLst>
          </p:cNvPr>
          <p:cNvSpPr>
            <a:spLocks/>
          </p:cNvSpPr>
          <p:nvPr/>
        </p:nvSpPr>
        <p:spPr bwMode="auto">
          <a:xfrm>
            <a:off x="5399606" y="3783302"/>
            <a:ext cx="20637" cy="33338"/>
          </a:xfrm>
          <a:custGeom>
            <a:avLst/>
            <a:gdLst>
              <a:gd name="T0" fmla="*/ 0 w 21336"/>
              <a:gd name="T1" fmla="*/ 16581 h 33515"/>
              <a:gd name="T2" fmla="*/ 19961 w 21336"/>
              <a:gd name="T3" fmla="*/ 16581 h 33515"/>
              <a:gd name="T4" fmla="*/ 0 60000 65536"/>
              <a:gd name="T5" fmla="*/ 0 60000 65536"/>
            </a:gdLst>
            <a:ahLst/>
            <a:cxnLst>
              <a:cxn ang="T4">
                <a:pos x="T0" y="T1"/>
              </a:cxn>
              <a:cxn ang="T5">
                <a:pos x="T2" y="T3"/>
              </a:cxn>
            </a:cxnLst>
            <a:rect l="0" t="0" r="r" b="b"/>
            <a:pathLst>
              <a:path w="21336" h="33515">
                <a:moveTo>
                  <a:pt x="0" y="16757"/>
                </a:moveTo>
                <a:lnTo>
                  <a:pt x="21336" y="16757"/>
                </a:lnTo>
              </a:path>
            </a:pathLst>
          </a:custGeom>
          <a:noFill/>
          <a:ln w="34785">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51" name="object 156">
            <a:extLst>
              <a:ext uri="{FF2B5EF4-FFF2-40B4-BE49-F238E27FC236}">
                <a16:creationId xmlns:a16="http://schemas.microsoft.com/office/drawing/2014/main" id="{0B7616C6-0474-4D06-AE41-940C92C57998}"/>
              </a:ext>
            </a:extLst>
          </p:cNvPr>
          <p:cNvSpPr>
            <a:spLocks/>
          </p:cNvSpPr>
          <p:nvPr/>
        </p:nvSpPr>
        <p:spPr bwMode="auto">
          <a:xfrm>
            <a:off x="5393256" y="3796002"/>
            <a:ext cx="9525" cy="11113"/>
          </a:xfrm>
          <a:custGeom>
            <a:avLst/>
            <a:gdLst>
              <a:gd name="T0" fmla="*/ 0 w 9131"/>
              <a:gd name="T1" fmla="*/ 5070 h 12179"/>
              <a:gd name="T2" fmla="*/ 9936 w 9131"/>
              <a:gd name="T3" fmla="*/ 5070 h 12179"/>
              <a:gd name="T4" fmla="*/ 0 60000 65536"/>
              <a:gd name="T5" fmla="*/ 0 60000 65536"/>
            </a:gdLst>
            <a:ahLst/>
            <a:cxnLst>
              <a:cxn ang="T4">
                <a:pos x="T0" y="T1"/>
              </a:cxn>
              <a:cxn ang="T5">
                <a:pos x="T2" y="T3"/>
              </a:cxn>
            </a:cxnLst>
            <a:rect l="0" t="0" r="r" b="b"/>
            <a:pathLst>
              <a:path w="9131" h="12179">
                <a:moveTo>
                  <a:pt x="0" y="6089"/>
                </a:moveTo>
                <a:lnTo>
                  <a:pt x="9131" y="6089"/>
                </a:lnTo>
              </a:path>
            </a:pathLst>
          </a:custGeom>
          <a:noFill/>
          <a:ln w="13449">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52" name="object 157">
            <a:extLst>
              <a:ext uri="{FF2B5EF4-FFF2-40B4-BE49-F238E27FC236}">
                <a16:creationId xmlns:a16="http://schemas.microsoft.com/office/drawing/2014/main" id="{BA94ED52-FC9A-4C27-BC26-8C0F222F9455}"/>
              </a:ext>
            </a:extLst>
          </p:cNvPr>
          <p:cNvSpPr>
            <a:spLocks/>
          </p:cNvSpPr>
          <p:nvPr/>
        </p:nvSpPr>
        <p:spPr bwMode="auto">
          <a:xfrm>
            <a:off x="5323406" y="3508665"/>
            <a:ext cx="44450" cy="52387"/>
          </a:xfrm>
          <a:custGeom>
            <a:avLst/>
            <a:gdLst>
              <a:gd name="T0" fmla="*/ 40336 w 45719"/>
              <a:gd name="T1" fmla="*/ 0 h 51803"/>
              <a:gd name="T2" fmla="*/ 5762 w 45719"/>
              <a:gd name="T3" fmla="*/ 0 h 51803"/>
              <a:gd name="T4" fmla="*/ 0 w 45719"/>
              <a:gd name="T5" fmla="*/ 3116 h 51803"/>
              <a:gd name="T6" fmla="*/ 0 w 45719"/>
              <a:gd name="T7" fmla="*/ 49873 h 51803"/>
              <a:gd name="T8" fmla="*/ 5762 w 45719"/>
              <a:gd name="T9" fmla="*/ 52978 h 51803"/>
              <a:gd name="T10" fmla="*/ 40336 w 45719"/>
              <a:gd name="T11" fmla="*/ 52978 h 51803"/>
              <a:gd name="T12" fmla="*/ 43217 w 45719"/>
              <a:gd name="T13" fmla="*/ 49873 h 51803"/>
              <a:gd name="T14" fmla="*/ 43217 w 45719"/>
              <a:gd name="T15" fmla="*/ 3116 h 51803"/>
              <a:gd name="T16" fmla="*/ 40336 w 45719"/>
              <a:gd name="T17" fmla="*/ 0 h 518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19" h="51803">
                <a:moveTo>
                  <a:pt x="42672" y="0"/>
                </a:moveTo>
                <a:lnTo>
                  <a:pt x="6096" y="0"/>
                </a:lnTo>
                <a:lnTo>
                  <a:pt x="0" y="3047"/>
                </a:lnTo>
                <a:lnTo>
                  <a:pt x="0" y="48767"/>
                </a:lnTo>
                <a:lnTo>
                  <a:pt x="6096" y="51803"/>
                </a:lnTo>
                <a:lnTo>
                  <a:pt x="42672" y="51803"/>
                </a:lnTo>
                <a:lnTo>
                  <a:pt x="45720" y="48767"/>
                </a:lnTo>
                <a:lnTo>
                  <a:pt x="45720" y="3047"/>
                </a:lnTo>
                <a:lnTo>
                  <a:pt x="42672"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53" name="object 158">
            <a:extLst>
              <a:ext uri="{FF2B5EF4-FFF2-40B4-BE49-F238E27FC236}">
                <a16:creationId xmlns:a16="http://schemas.microsoft.com/office/drawing/2014/main" id="{77848363-FC3E-423A-B5D4-06A1AD86EC34}"/>
              </a:ext>
            </a:extLst>
          </p:cNvPr>
          <p:cNvSpPr>
            <a:spLocks/>
          </p:cNvSpPr>
          <p:nvPr/>
        </p:nvSpPr>
        <p:spPr bwMode="auto">
          <a:xfrm>
            <a:off x="5329756" y="3515015"/>
            <a:ext cx="33337" cy="39687"/>
          </a:xfrm>
          <a:custGeom>
            <a:avLst/>
            <a:gdLst>
              <a:gd name="T0" fmla="*/ 30157 w 33515"/>
              <a:gd name="T1" fmla="*/ 0 h 39611"/>
              <a:gd name="T2" fmla="*/ 3003 w 33515"/>
              <a:gd name="T3" fmla="*/ 0 h 39611"/>
              <a:gd name="T4" fmla="*/ 0 w 33515"/>
              <a:gd name="T5" fmla="*/ 3059 h 39611"/>
              <a:gd name="T6" fmla="*/ 0 w 33515"/>
              <a:gd name="T7" fmla="*/ 36703 h 39611"/>
              <a:gd name="T8" fmla="*/ 3003 w 33515"/>
              <a:gd name="T9" fmla="*/ 39763 h 39611"/>
              <a:gd name="T10" fmla="*/ 30157 w 33515"/>
              <a:gd name="T11" fmla="*/ 39763 h 39611"/>
              <a:gd name="T12" fmla="*/ 33160 w 33515"/>
              <a:gd name="T13" fmla="*/ 36703 h 39611"/>
              <a:gd name="T14" fmla="*/ 33160 w 33515"/>
              <a:gd name="T15" fmla="*/ 3059 h 39611"/>
              <a:gd name="T16" fmla="*/ 30157 w 33515"/>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39611">
                <a:moveTo>
                  <a:pt x="30480" y="0"/>
                </a:moveTo>
                <a:lnTo>
                  <a:pt x="3035" y="0"/>
                </a:lnTo>
                <a:lnTo>
                  <a:pt x="0" y="3047"/>
                </a:lnTo>
                <a:lnTo>
                  <a:pt x="0" y="36563"/>
                </a:lnTo>
                <a:lnTo>
                  <a:pt x="3035" y="39611"/>
                </a:lnTo>
                <a:lnTo>
                  <a:pt x="30480" y="39611"/>
                </a:lnTo>
                <a:lnTo>
                  <a:pt x="33515" y="36563"/>
                </a:lnTo>
                <a:lnTo>
                  <a:pt x="33515" y="3047"/>
                </a:lnTo>
                <a:lnTo>
                  <a:pt x="30480"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54" name="object 159">
            <a:extLst>
              <a:ext uri="{FF2B5EF4-FFF2-40B4-BE49-F238E27FC236}">
                <a16:creationId xmlns:a16="http://schemas.microsoft.com/office/drawing/2014/main" id="{31C9297F-302D-4CF8-87B3-96D1F1A4E425}"/>
              </a:ext>
            </a:extLst>
          </p:cNvPr>
          <p:cNvSpPr>
            <a:spLocks/>
          </p:cNvSpPr>
          <p:nvPr/>
        </p:nvSpPr>
        <p:spPr bwMode="auto">
          <a:xfrm>
            <a:off x="5326581" y="3511840"/>
            <a:ext cx="39687" cy="46037"/>
          </a:xfrm>
          <a:custGeom>
            <a:avLst/>
            <a:gdLst>
              <a:gd name="T0" fmla="*/ 30577 w 39624"/>
              <a:gd name="T1" fmla="*/ 0 h 45707"/>
              <a:gd name="T2" fmla="*/ 9161 w 39624"/>
              <a:gd name="T3" fmla="*/ 0 h 45707"/>
              <a:gd name="T4" fmla="*/ 3058 w 39624"/>
              <a:gd name="T5" fmla="*/ 3091 h 45707"/>
              <a:gd name="T6" fmla="*/ 0 w 39624"/>
              <a:gd name="T7" fmla="*/ 9275 h 45707"/>
              <a:gd name="T8" fmla="*/ 0 w 39624"/>
              <a:gd name="T9" fmla="*/ 40185 h 45707"/>
              <a:gd name="T10" fmla="*/ 3058 w 39624"/>
              <a:gd name="T11" fmla="*/ 43277 h 45707"/>
              <a:gd name="T12" fmla="*/ 3058 w 39624"/>
              <a:gd name="T13" fmla="*/ 46369 h 45707"/>
              <a:gd name="T14" fmla="*/ 36679 w 39624"/>
              <a:gd name="T15" fmla="*/ 46369 h 45707"/>
              <a:gd name="T16" fmla="*/ 36679 w 39624"/>
              <a:gd name="T17" fmla="*/ 43277 h 45707"/>
              <a:gd name="T18" fmla="*/ 39750 w 39624"/>
              <a:gd name="T19" fmla="*/ 40185 h 45707"/>
              <a:gd name="T20" fmla="*/ 9161 w 39624"/>
              <a:gd name="T21" fmla="*/ 40185 h 45707"/>
              <a:gd name="T22" fmla="*/ 6103 w 39624"/>
              <a:gd name="T23" fmla="*/ 37093 h 45707"/>
              <a:gd name="T24" fmla="*/ 6103 w 39624"/>
              <a:gd name="T25" fmla="*/ 9275 h 45707"/>
              <a:gd name="T26" fmla="*/ 9161 w 39624"/>
              <a:gd name="T27" fmla="*/ 6183 h 45707"/>
              <a:gd name="T28" fmla="*/ 38215 w 39624"/>
              <a:gd name="T29" fmla="*/ 6183 h 45707"/>
              <a:gd name="T30" fmla="*/ 36679 w 39624"/>
              <a:gd name="T31" fmla="*/ 3091 h 45707"/>
              <a:gd name="T32" fmla="*/ 30577 w 39624"/>
              <a:gd name="T33" fmla="*/ 0 h 45707"/>
              <a:gd name="T34" fmla="*/ 38215 w 39624"/>
              <a:gd name="T35" fmla="*/ 6183 h 45707"/>
              <a:gd name="T36" fmla="*/ 30577 w 39624"/>
              <a:gd name="T37" fmla="*/ 6183 h 45707"/>
              <a:gd name="T38" fmla="*/ 33634 w 39624"/>
              <a:gd name="T39" fmla="*/ 9275 h 45707"/>
              <a:gd name="T40" fmla="*/ 33634 w 39624"/>
              <a:gd name="T41" fmla="*/ 37093 h 45707"/>
              <a:gd name="T42" fmla="*/ 30577 w 39624"/>
              <a:gd name="T43" fmla="*/ 40185 h 45707"/>
              <a:gd name="T44" fmla="*/ 39750 w 39624"/>
              <a:gd name="T45" fmla="*/ 40185 h 45707"/>
              <a:gd name="T46" fmla="*/ 39750 w 39624"/>
              <a:gd name="T47" fmla="*/ 9275 h 45707"/>
              <a:gd name="T48" fmla="*/ 38215 w 39624"/>
              <a:gd name="T49" fmla="*/ 6183 h 45707"/>
              <a:gd name="T50" fmla="*/ 8137 w 39624"/>
              <a:gd name="T51" fmla="*/ 8250 h 45707"/>
              <a:gd name="T52" fmla="*/ 6103 w 39624"/>
              <a:gd name="T53" fmla="*/ 9275 h 45707"/>
              <a:gd name="T54" fmla="*/ 6103 w 39624"/>
              <a:gd name="T55" fmla="*/ 12356 h 45707"/>
              <a:gd name="T56" fmla="*/ 8137 w 39624"/>
              <a:gd name="T57" fmla="*/ 8250 h 45707"/>
              <a:gd name="T58" fmla="*/ 31600 w 39624"/>
              <a:gd name="T59" fmla="*/ 8250 h 45707"/>
              <a:gd name="T60" fmla="*/ 33634 w 39624"/>
              <a:gd name="T61" fmla="*/ 12356 h 45707"/>
              <a:gd name="T62" fmla="*/ 33634 w 39624"/>
              <a:gd name="T63" fmla="*/ 9275 h 45707"/>
              <a:gd name="T64" fmla="*/ 31600 w 39624"/>
              <a:gd name="T65" fmla="*/ 8250 h 45707"/>
              <a:gd name="T66" fmla="*/ 9161 w 39624"/>
              <a:gd name="T67" fmla="*/ 6183 h 45707"/>
              <a:gd name="T68" fmla="*/ 6103 w 39624"/>
              <a:gd name="T69" fmla="*/ 9275 h 45707"/>
              <a:gd name="T70" fmla="*/ 8137 w 39624"/>
              <a:gd name="T71" fmla="*/ 8250 h 45707"/>
              <a:gd name="T72" fmla="*/ 9161 w 39624"/>
              <a:gd name="T73" fmla="*/ 6183 h 45707"/>
              <a:gd name="T74" fmla="*/ 30577 w 39624"/>
              <a:gd name="T75" fmla="*/ 6183 h 45707"/>
              <a:gd name="T76" fmla="*/ 31600 w 39624"/>
              <a:gd name="T77" fmla="*/ 8250 h 45707"/>
              <a:gd name="T78" fmla="*/ 33634 w 39624"/>
              <a:gd name="T79" fmla="*/ 9275 h 45707"/>
              <a:gd name="T80" fmla="*/ 30577 w 39624"/>
              <a:gd name="T81" fmla="*/ 6183 h 45707"/>
              <a:gd name="T82" fmla="*/ 12230 w 39624"/>
              <a:gd name="T83" fmla="*/ 6183 h 45707"/>
              <a:gd name="T84" fmla="*/ 9161 w 39624"/>
              <a:gd name="T85" fmla="*/ 6183 h 45707"/>
              <a:gd name="T86" fmla="*/ 8137 w 39624"/>
              <a:gd name="T87" fmla="*/ 8250 h 45707"/>
              <a:gd name="T88" fmla="*/ 12230 w 39624"/>
              <a:gd name="T89" fmla="*/ 6183 h 45707"/>
              <a:gd name="T90" fmla="*/ 30577 w 39624"/>
              <a:gd name="T91" fmla="*/ 6183 h 45707"/>
              <a:gd name="T92" fmla="*/ 27507 w 39624"/>
              <a:gd name="T93" fmla="*/ 6183 h 45707"/>
              <a:gd name="T94" fmla="*/ 31600 w 39624"/>
              <a:gd name="T95" fmla="*/ 8250 h 45707"/>
              <a:gd name="T96" fmla="*/ 30577 w 39624"/>
              <a:gd name="T97" fmla="*/ 6183 h 4570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624" h="45707">
                <a:moveTo>
                  <a:pt x="30480" y="0"/>
                </a:moveTo>
                <a:lnTo>
                  <a:pt x="9131" y="0"/>
                </a:lnTo>
                <a:lnTo>
                  <a:pt x="3048" y="3047"/>
                </a:lnTo>
                <a:lnTo>
                  <a:pt x="0" y="9143"/>
                </a:lnTo>
                <a:lnTo>
                  <a:pt x="0" y="39611"/>
                </a:lnTo>
                <a:lnTo>
                  <a:pt x="3048" y="42659"/>
                </a:lnTo>
                <a:lnTo>
                  <a:pt x="3048" y="45707"/>
                </a:lnTo>
                <a:lnTo>
                  <a:pt x="36563" y="45707"/>
                </a:lnTo>
                <a:lnTo>
                  <a:pt x="36563" y="42659"/>
                </a:lnTo>
                <a:lnTo>
                  <a:pt x="39624" y="39611"/>
                </a:lnTo>
                <a:lnTo>
                  <a:pt x="9131" y="39611"/>
                </a:lnTo>
                <a:lnTo>
                  <a:pt x="6083" y="36563"/>
                </a:lnTo>
                <a:lnTo>
                  <a:pt x="6083" y="9143"/>
                </a:lnTo>
                <a:lnTo>
                  <a:pt x="9131" y="6095"/>
                </a:lnTo>
                <a:lnTo>
                  <a:pt x="38093" y="6095"/>
                </a:lnTo>
                <a:lnTo>
                  <a:pt x="36563" y="3047"/>
                </a:lnTo>
                <a:lnTo>
                  <a:pt x="30480" y="0"/>
                </a:lnTo>
                <a:close/>
              </a:path>
              <a:path w="39624" h="45707">
                <a:moveTo>
                  <a:pt x="38093" y="6095"/>
                </a:moveTo>
                <a:lnTo>
                  <a:pt x="30480" y="6095"/>
                </a:lnTo>
                <a:lnTo>
                  <a:pt x="33528" y="9143"/>
                </a:lnTo>
                <a:lnTo>
                  <a:pt x="33528" y="36563"/>
                </a:lnTo>
                <a:lnTo>
                  <a:pt x="30480" y="39611"/>
                </a:lnTo>
                <a:lnTo>
                  <a:pt x="39624" y="39611"/>
                </a:lnTo>
                <a:lnTo>
                  <a:pt x="39624" y="9143"/>
                </a:lnTo>
                <a:lnTo>
                  <a:pt x="38093" y="6095"/>
                </a:lnTo>
                <a:close/>
              </a:path>
              <a:path w="39624" h="45707">
                <a:moveTo>
                  <a:pt x="8111" y="8132"/>
                </a:moveTo>
                <a:lnTo>
                  <a:pt x="6083" y="9143"/>
                </a:lnTo>
                <a:lnTo>
                  <a:pt x="6083" y="12179"/>
                </a:lnTo>
                <a:lnTo>
                  <a:pt x="8111" y="8132"/>
                </a:lnTo>
                <a:close/>
              </a:path>
              <a:path w="39624" h="45707">
                <a:moveTo>
                  <a:pt x="31500" y="8132"/>
                </a:moveTo>
                <a:lnTo>
                  <a:pt x="33528" y="12179"/>
                </a:lnTo>
                <a:lnTo>
                  <a:pt x="33528" y="9143"/>
                </a:lnTo>
                <a:lnTo>
                  <a:pt x="31500" y="8132"/>
                </a:lnTo>
                <a:close/>
              </a:path>
              <a:path w="39624" h="45707">
                <a:moveTo>
                  <a:pt x="9131" y="6095"/>
                </a:moveTo>
                <a:lnTo>
                  <a:pt x="6083" y="9143"/>
                </a:lnTo>
                <a:lnTo>
                  <a:pt x="8111" y="8132"/>
                </a:lnTo>
                <a:lnTo>
                  <a:pt x="9131" y="6095"/>
                </a:lnTo>
                <a:close/>
              </a:path>
              <a:path w="39624" h="45707">
                <a:moveTo>
                  <a:pt x="30480" y="6095"/>
                </a:moveTo>
                <a:lnTo>
                  <a:pt x="31500" y="8132"/>
                </a:lnTo>
                <a:lnTo>
                  <a:pt x="33528" y="9143"/>
                </a:lnTo>
                <a:lnTo>
                  <a:pt x="30480" y="6095"/>
                </a:lnTo>
                <a:close/>
              </a:path>
              <a:path w="39624" h="45707">
                <a:moveTo>
                  <a:pt x="12192" y="6095"/>
                </a:moveTo>
                <a:lnTo>
                  <a:pt x="9131" y="6095"/>
                </a:lnTo>
                <a:lnTo>
                  <a:pt x="8111" y="8132"/>
                </a:lnTo>
                <a:lnTo>
                  <a:pt x="12192" y="6095"/>
                </a:lnTo>
                <a:close/>
              </a:path>
              <a:path w="39624" h="45707">
                <a:moveTo>
                  <a:pt x="30480" y="6095"/>
                </a:moveTo>
                <a:lnTo>
                  <a:pt x="27419" y="6095"/>
                </a:lnTo>
                <a:lnTo>
                  <a:pt x="31500" y="8132"/>
                </a:lnTo>
                <a:lnTo>
                  <a:pt x="30480"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55" name="object 160">
            <a:extLst>
              <a:ext uri="{FF2B5EF4-FFF2-40B4-BE49-F238E27FC236}">
                <a16:creationId xmlns:a16="http://schemas.microsoft.com/office/drawing/2014/main" id="{C8E5A800-2DEC-4FB3-895C-329C387754E1}"/>
              </a:ext>
            </a:extLst>
          </p:cNvPr>
          <p:cNvSpPr>
            <a:spLocks/>
          </p:cNvSpPr>
          <p:nvPr/>
        </p:nvSpPr>
        <p:spPr bwMode="auto">
          <a:xfrm>
            <a:off x="5323406" y="3570577"/>
            <a:ext cx="44450" cy="53975"/>
          </a:xfrm>
          <a:custGeom>
            <a:avLst/>
            <a:gdLst>
              <a:gd name="T0" fmla="*/ 40336 w 45719"/>
              <a:gd name="T1" fmla="*/ 0 h 54851"/>
              <a:gd name="T2" fmla="*/ 5762 w 45719"/>
              <a:gd name="T3" fmla="*/ 0 h 54851"/>
              <a:gd name="T4" fmla="*/ 0 w 45719"/>
              <a:gd name="T5" fmla="*/ 2951 h 54851"/>
              <a:gd name="T6" fmla="*/ 0 w 45719"/>
              <a:gd name="T7" fmla="*/ 47210 h 54851"/>
              <a:gd name="T8" fmla="*/ 5762 w 45719"/>
              <a:gd name="T9" fmla="*/ 53113 h 54851"/>
              <a:gd name="T10" fmla="*/ 40336 w 45719"/>
              <a:gd name="T11" fmla="*/ 53113 h 54851"/>
              <a:gd name="T12" fmla="*/ 43217 w 45719"/>
              <a:gd name="T13" fmla="*/ 47210 h 54851"/>
              <a:gd name="T14" fmla="*/ 43217 w 45719"/>
              <a:gd name="T15" fmla="*/ 2951 h 54851"/>
              <a:gd name="T16" fmla="*/ 40336 w 45719"/>
              <a:gd name="T17" fmla="*/ 0 h 548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19" h="54851">
                <a:moveTo>
                  <a:pt x="42672" y="0"/>
                </a:moveTo>
                <a:lnTo>
                  <a:pt x="6096" y="0"/>
                </a:lnTo>
                <a:lnTo>
                  <a:pt x="0" y="3048"/>
                </a:lnTo>
                <a:lnTo>
                  <a:pt x="0" y="48755"/>
                </a:lnTo>
                <a:lnTo>
                  <a:pt x="6096" y="54851"/>
                </a:lnTo>
                <a:lnTo>
                  <a:pt x="42672" y="54851"/>
                </a:lnTo>
                <a:lnTo>
                  <a:pt x="45720" y="48755"/>
                </a:lnTo>
                <a:lnTo>
                  <a:pt x="45720" y="3048"/>
                </a:lnTo>
                <a:lnTo>
                  <a:pt x="42672"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56" name="object 161">
            <a:extLst>
              <a:ext uri="{FF2B5EF4-FFF2-40B4-BE49-F238E27FC236}">
                <a16:creationId xmlns:a16="http://schemas.microsoft.com/office/drawing/2014/main" id="{A1F605C4-D1AB-47EA-9A8C-E8435A956CDF}"/>
              </a:ext>
            </a:extLst>
          </p:cNvPr>
          <p:cNvSpPr>
            <a:spLocks/>
          </p:cNvSpPr>
          <p:nvPr/>
        </p:nvSpPr>
        <p:spPr bwMode="auto">
          <a:xfrm>
            <a:off x="5329756" y="3575340"/>
            <a:ext cx="33337" cy="42862"/>
          </a:xfrm>
          <a:custGeom>
            <a:avLst/>
            <a:gdLst>
              <a:gd name="T0" fmla="*/ 30157 w 33515"/>
              <a:gd name="T1" fmla="*/ 0 h 42646"/>
              <a:gd name="T2" fmla="*/ 3003 w 33515"/>
              <a:gd name="T3" fmla="*/ 0 h 42646"/>
              <a:gd name="T4" fmla="*/ 0 w 33515"/>
              <a:gd name="T5" fmla="*/ 3079 h 42646"/>
              <a:gd name="T6" fmla="*/ 0 w 33515"/>
              <a:gd name="T7" fmla="*/ 40014 h 42646"/>
              <a:gd name="T8" fmla="*/ 3003 w 33515"/>
              <a:gd name="T9" fmla="*/ 43079 h 42646"/>
              <a:gd name="T10" fmla="*/ 30157 w 33515"/>
              <a:gd name="T11" fmla="*/ 43079 h 42646"/>
              <a:gd name="T12" fmla="*/ 33160 w 33515"/>
              <a:gd name="T13" fmla="*/ 40014 h 42646"/>
              <a:gd name="T14" fmla="*/ 33160 w 33515"/>
              <a:gd name="T15" fmla="*/ 3079 h 42646"/>
              <a:gd name="T16" fmla="*/ 30157 w 33515"/>
              <a:gd name="T17" fmla="*/ 0 h 426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42646">
                <a:moveTo>
                  <a:pt x="30480" y="0"/>
                </a:moveTo>
                <a:lnTo>
                  <a:pt x="3035" y="0"/>
                </a:lnTo>
                <a:lnTo>
                  <a:pt x="0" y="3048"/>
                </a:lnTo>
                <a:lnTo>
                  <a:pt x="0" y="39611"/>
                </a:lnTo>
                <a:lnTo>
                  <a:pt x="3035" y="42646"/>
                </a:lnTo>
                <a:lnTo>
                  <a:pt x="30480" y="42646"/>
                </a:lnTo>
                <a:lnTo>
                  <a:pt x="33515" y="39611"/>
                </a:lnTo>
                <a:lnTo>
                  <a:pt x="33515" y="3048"/>
                </a:lnTo>
                <a:lnTo>
                  <a:pt x="30480"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57" name="object 162">
            <a:extLst>
              <a:ext uri="{FF2B5EF4-FFF2-40B4-BE49-F238E27FC236}">
                <a16:creationId xmlns:a16="http://schemas.microsoft.com/office/drawing/2014/main" id="{0033CAB1-440C-4E68-B29E-4B7FED3E7617}"/>
              </a:ext>
            </a:extLst>
          </p:cNvPr>
          <p:cNvSpPr>
            <a:spLocks/>
          </p:cNvSpPr>
          <p:nvPr/>
        </p:nvSpPr>
        <p:spPr bwMode="auto">
          <a:xfrm>
            <a:off x="5326581" y="3573752"/>
            <a:ext cx="39687" cy="47625"/>
          </a:xfrm>
          <a:custGeom>
            <a:avLst/>
            <a:gdLst>
              <a:gd name="T0" fmla="*/ 9161 w 39624"/>
              <a:gd name="T1" fmla="*/ 43600 h 48755"/>
              <a:gd name="T2" fmla="*/ 30577 w 39624"/>
              <a:gd name="T3" fmla="*/ 46521 h 48755"/>
              <a:gd name="T4" fmla="*/ 30577 w 39624"/>
              <a:gd name="T5" fmla="*/ 0 h 48755"/>
              <a:gd name="T6" fmla="*/ 3058 w 39624"/>
              <a:gd name="T7" fmla="*/ 2908 h 48755"/>
              <a:gd name="T8" fmla="*/ 0 w 39624"/>
              <a:gd name="T9" fmla="*/ 8712 h 48755"/>
              <a:gd name="T10" fmla="*/ 3058 w 39624"/>
              <a:gd name="T11" fmla="*/ 40704 h 48755"/>
              <a:gd name="T12" fmla="*/ 36679 w 39624"/>
              <a:gd name="T13" fmla="*/ 43600 h 48755"/>
              <a:gd name="T14" fmla="*/ 12230 w 39624"/>
              <a:gd name="T15" fmla="*/ 40704 h 48755"/>
              <a:gd name="T16" fmla="*/ 9161 w 39624"/>
              <a:gd name="T17" fmla="*/ 37796 h 48755"/>
              <a:gd name="T18" fmla="*/ 6103 w 39624"/>
              <a:gd name="T19" fmla="*/ 8712 h 48755"/>
              <a:gd name="T20" fmla="*/ 36679 w 39624"/>
              <a:gd name="T21" fmla="*/ 5817 h 48755"/>
              <a:gd name="T22" fmla="*/ 30577 w 39624"/>
              <a:gd name="T23" fmla="*/ 0 h 48755"/>
              <a:gd name="T24" fmla="*/ 9161 w 39624"/>
              <a:gd name="T25" fmla="*/ 37796 h 48755"/>
              <a:gd name="T26" fmla="*/ 27507 w 39624"/>
              <a:gd name="T27" fmla="*/ 40704 h 48755"/>
              <a:gd name="T28" fmla="*/ 36679 w 39624"/>
              <a:gd name="T29" fmla="*/ 5817 h 48755"/>
              <a:gd name="T30" fmla="*/ 33634 w 39624"/>
              <a:gd name="T31" fmla="*/ 8712 h 48755"/>
              <a:gd name="T32" fmla="*/ 30577 w 39624"/>
              <a:gd name="T33" fmla="*/ 37796 h 48755"/>
              <a:gd name="T34" fmla="*/ 27507 w 39624"/>
              <a:gd name="T35" fmla="*/ 40704 h 48755"/>
              <a:gd name="T36" fmla="*/ 39750 w 39624"/>
              <a:gd name="T37" fmla="*/ 37796 h 48755"/>
              <a:gd name="T38" fmla="*/ 36679 w 39624"/>
              <a:gd name="T39" fmla="*/ 5817 h 48755"/>
              <a:gd name="T40" fmla="*/ 6103 w 39624"/>
              <a:gd name="T41" fmla="*/ 8712 h 48755"/>
              <a:gd name="T42" fmla="*/ 8142 w 39624"/>
              <a:gd name="T43" fmla="*/ 7748 h 48755"/>
              <a:gd name="T44" fmla="*/ 33634 w 39624"/>
              <a:gd name="T45" fmla="*/ 11621 h 48755"/>
              <a:gd name="T46" fmla="*/ 31594 w 39624"/>
              <a:gd name="T47" fmla="*/ 7748 h 48755"/>
              <a:gd name="T48" fmla="*/ 6103 w 39624"/>
              <a:gd name="T49" fmla="*/ 8712 h 48755"/>
              <a:gd name="T50" fmla="*/ 9161 w 39624"/>
              <a:gd name="T51" fmla="*/ 5817 h 48755"/>
              <a:gd name="T52" fmla="*/ 31594 w 39624"/>
              <a:gd name="T53" fmla="*/ 7748 h 48755"/>
              <a:gd name="T54" fmla="*/ 30577 w 39624"/>
              <a:gd name="T55" fmla="*/ 5817 h 48755"/>
              <a:gd name="T56" fmla="*/ 9161 w 39624"/>
              <a:gd name="T57" fmla="*/ 5817 h 48755"/>
              <a:gd name="T58" fmla="*/ 12230 w 39624"/>
              <a:gd name="T59" fmla="*/ 5817 h 48755"/>
              <a:gd name="T60" fmla="*/ 27507 w 39624"/>
              <a:gd name="T61" fmla="*/ 5817 h 48755"/>
              <a:gd name="T62" fmla="*/ 30577 w 39624"/>
              <a:gd name="T63" fmla="*/ 5817 h 487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9624" h="48755">
                <a:moveTo>
                  <a:pt x="30480" y="45694"/>
                </a:moveTo>
                <a:lnTo>
                  <a:pt x="9131" y="45694"/>
                </a:lnTo>
                <a:lnTo>
                  <a:pt x="9131" y="48755"/>
                </a:lnTo>
                <a:lnTo>
                  <a:pt x="30480" y="48755"/>
                </a:lnTo>
                <a:lnTo>
                  <a:pt x="30480" y="45694"/>
                </a:lnTo>
                <a:close/>
              </a:path>
              <a:path w="39624" h="48755">
                <a:moveTo>
                  <a:pt x="30480" y="0"/>
                </a:moveTo>
                <a:lnTo>
                  <a:pt x="9131" y="0"/>
                </a:lnTo>
                <a:lnTo>
                  <a:pt x="3048" y="3048"/>
                </a:lnTo>
                <a:lnTo>
                  <a:pt x="3048" y="6096"/>
                </a:lnTo>
                <a:lnTo>
                  <a:pt x="0" y="9131"/>
                </a:lnTo>
                <a:lnTo>
                  <a:pt x="0" y="39611"/>
                </a:lnTo>
                <a:lnTo>
                  <a:pt x="3048" y="42659"/>
                </a:lnTo>
                <a:lnTo>
                  <a:pt x="3048" y="45694"/>
                </a:lnTo>
                <a:lnTo>
                  <a:pt x="36563" y="45694"/>
                </a:lnTo>
                <a:lnTo>
                  <a:pt x="36563" y="42659"/>
                </a:lnTo>
                <a:lnTo>
                  <a:pt x="12192" y="42659"/>
                </a:lnTo>
                <a:lnTo>
                  <a:pt x="6083" y="39611"/>
                </a:lnTo>
                <a:lnTo>
                  <a:pt x="9131" y="39611"/>
                </a:lnTo>
                <a:lnTo>
                  <a:pt x="6083" y="36563"/>
                </a:lnTo>
                <a:lnTo>
                  <a:pt x="6083" y="9131"/>
                </a:lnTo>
                <a:lnTo>
                  <a:pt x="9131" y="6096"/>
                </a:lnTo>
                <a:lnTo>
                  <a:pt x="36563" y="6096"/>
                </a:lnTo>
                <a:lnTo>
                  <a:pt x="36563" y="3048"/>
                </a:lnTo>
                <a:lnTo>
                  <a:pt x="30480" y="0"/>
                </a:lnTo>
                <a:close/>
              </a:path>
              <a:path w="39624" h="48755">
                <a:moveTo>
                  <a:pt x="30480" y="39611"/>
                </a:moveTo>
                <a:lnTo>
                  <a:pt x="9131" y="39611"/>
                </a:lnTo>
                <a:lnTo>
                  <a:pt x="12192" y="42659"/>
                </a:lnTo>
                <a:lnTo>
                  <a:pt x="27419" y="42659"/>
                </a:lnTo>
                <a:lnTo>
                  <a:pt x="30480" y="39611"/>
                </a:lnTo>
                <a:close/>
              </a:path>
              <a:path w="39624" h="48755">
                <a:moveTo>
                  <a:pt x="36563" y="6096"/>
                </a:moveTo>
                <a:lnTo>
                  <a:pt x="30480" y="6096"/>
                </a:lnTo>
                <a:lnTo>
                  <a:pt x="33528" y="9131"/>
                </a:lnTo>
                <a:lnTo>
                  <a:pt x="33528" y="36563"/>
                </a:lnTo>
                <a:lnTo>
                  <a:pt x="30480" y="39611"/>
                </a:lnTo>
                <a:lnTo>
                  <a:pt x="33528" y="39611"/>
                </a:lnTo>
                <a:lnTo>
                  <a:pt x="27419" y="42659"/>
                </a:lnTo>
                <a:lnTo>
                  <a:pt x="36563" y="42659"/>
                </a:lnTo>
                <a:lnTo>
                  <a:pt x="39624" y="39611"/>
                </a:lnTo>
                <a:lnTo>
                  <a:pt x="39624" y="9131"/>
                </a:lnTo>
                <a:lnTo>
                  <a:pt x="36563" y="6096"/>
                </a:lnTo>
                <a:close/>
              </a:path>
              <a:path w="39624" h="48755">
                <a:moveTo>
                  <a:pt x="8116" y="8120"/>
                </a:moveTo>
                <a:lnTo>
                  <a:pt x="6083" y="9131"/>
                </a:lnTo>
                <a:lnTo>
                  <a:pt x="6083" y="12179"/>
                </a:lnTo>
                <a:lnTo>
                  <a:pt x="8116" y="8120"/>
                </a:lnTo>
                <a:close/>
              </a:path>
              <a:path w="39624" h="48755">
                <a:moveTo>
                  <a:pt x="31494" y="8120"/>
                </a:moveTo>
                <a:lnTo>
                  <a:pt x="33528" y="12179"/>
                </a:lnTo>
                <a:lnTo>
                  <a:pt x="33528" y="9131"/>
                </a:lnTo>
                <a:lnTo>
                  <a:pt x="31494" y="8120"/>
                </a:lnTo>
                <a:close/>
              </a:path>
              <a:path w="39624" h="48755">
                <a:moveTo>
                  <a:pt x="9131" y="6096"/>
                </a:moveTo>
                <a:lnTo>
                  <a:pt x="6083" y="9131"/>
                </a:lnTo>
                <a:lnTo>
                  <a:pt x="8116" y="8120"/>
                </a:lnTo>
                <a:lnTo>
                  <a:pt x="9131" y="6096"/>
                </a:lnTo>
                <a:close/>
              </a:path>
              <a:path w="39624" h="48755">
                <a:moveTo>
                  <a:pt x="30480" y="6096"/>
                </a:moveTo>
                <a:lnTo>
                  <a:pt x="31494" y="8120"/>
                </a:lnTo>
                <a:lnTo>
                  <a:pt x="33528" y="9131"/>
                </a:lnTo>
                <a:lnTo>
                  <a:pt x="30480" y="6096"/>
                </a:lnTo>
                <a:close/>
              </a:path>
              <a:path w="39624" h="48755">
                <a:moveTo>
                  <a:pt x="12192" y="6096"/>
                </a:moveTo>
                <a:lnTo>
                  <a:pt x="9131" y="6096"/>
                </a:lnTo>
                <a:lnTo>
                  <a:pt x="8116" y="8120"/>
                </a:lnTo>
                <a:lnTo>
                  <a:pt x="12192" y="6096"/>
                </a:lnTo>
                <a:close/>
              </a:path>
              <a:path w="39624" h="48755">
                <a:moveTo>
                  <a:pt x="30480" y="6096"/>
                </a:moveTo>
                <a:lnTo>
                  <a:pt x="27419" y="6096"/>
                </a:lnTo>
                <a:lnTo>
                  <a:pt x="31494" y="8120"/>
                </a:lnTo>
                <a:lnTo>
                  <a:pt x="30480" y="6096"/>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58" name="object 163">
            <a:extLst>
              <a:ext uri="{FF2B5EF4-FFF2-40B4-BE49-F238E27FC236}">
                <a16:creationId xmlns:a16="http://schemas.microsoft.com/office/drawing/2014/main" id="{AE91BDF5-698D-4CFE-B37B-504739FDD011}"/>
              </a:ext>
            </a:extLst>
          </p:cNvPr>
          <p:cNvSpPr>
            <a:spLocks/>
          </p:cNvSpPr>
          <p:nvPr/>
        </p:nvSpPr>
        <p:spPr bwMode="auto">
          <a:xfrm>
            <a:off x="5323406" y="3627727"/>
            <a:ext cx="44450" cy="55563"/>
          </a:xfrm>
          <a:custGeom>
            <a:avLst/>
            <a:gdLst>
              <a:gd name="T0" fmla="*/ 40336 w 45719"/>
              <a:gd name="T1" fmla="*/ 0 h 54851"/>
              <a:gd name="T2" fmla="*/ 5762 w 45719"/>
              <a:gd name="T3" fmla="*/ 0 h 54851"/>
              <a:gd name="T4" fmla="*/ 0 w 45719"/>
              <a:gd name="T5" fmla="*/ 6254 h 54851"/>
              <a:gd name="T6" fmla="*/ 0 w 45719"/>
              <a:gd name="T7" fmla="*/ 53156 h 54851"/>
              <a:gd name="T8" fmla="*/ 5762 w 45719"/>
              <a:gd name="T9" fmla="*/ 56284 h 54851"/>
              <a:gd name="T10" fmla="*/ 40336 w 45719"/>
              <a:gd name="T11" fmla="*/ 56284 h 54851"/>
              <a:gd name="T12" fmla="*/ 43217 w 45719"/>
              <a:gd name="T13" fmla="*/ 53156 h 54851"/>
              <a:gd name="T14" fmla="*/ 43217 w 45719"/>
              <a:gd name="T15" fmla="*/ 6254 h 54851"/>
              <a:gd name="T16" fmla="*/ 40336 w 45719"/>
              <a:gd name="T17" fmla="*/ 0 h 548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19" h="54851">
                <a:moveTo>
                  <a:pt x="42672" y="0"/>
                </a:moveTo>
                <a:lnTo>
                  <a:pt x="6096" y="0"/>
                </a:lnTo>
                <a:lnTo>
                  <a:pt x="0" y="6095"/>
                </a:lnTo>
                <a:lnTo>
                  <a:pt x="0" y="51803"/>
                </a:lnTo>
                <a:lnTo>
                  <a:pt x="6096" y="54851"/>
                </a:lnTo>
                <a:lnTo>
                  <a:pt x="42672" y="54851"/>
                </a:lnTo>
                <a:lnTo>
                  <a:pt x="45720" y="51803"/>
                </a:lnTo>
                <a:lnTo>
                  <a:pt x="45720" y="6095"/>
                </a:lnTo>
                <a:lnTo>
                  <a:pt x="42672"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59" name="object 164">
            <a:extLst>
              <a:ext uri="{FF2B5EF4-FFF2-40B4-BE49-F238E27FC236}">
                <a16:creationId xmlns:a16="http://schemas.microsoft.com/office/drawing/2014/main" id="{102D3427-9652-4A59-BA03-4786EBA060A4}"/>
              </a:ext>
            </a:extLst>
          </p:cNvPr>
          <p:cNvSpPr>
            <a:spLocks/>
          </p:cNvSpPr>
          <p:nvPr/>
        </p:nvSpPr>
        <p:spPr bwMode="auto">
          <a:xfrm>
            <a:off x="5329756" y="3637252"/>
            <a:ext cx="33337" cy="39688"/>
          </a:xfrm>
          <a:custGeom>
            <a:avLst/>
            <a:gdLst>
              <a:gd name="T0" fmla="*/ 30157 w 33515"/>
              <a:gd name="T1" fmla="*/ 0 h 39611"/>
              <a:gd name="T2" fmla="*/ 3003 w 33515"/>
              <a:gd name="T3" fmla="*/ 0 h 39611"/>
              <a:gd name="T4" fmla="*/ 0 w 33515"/>
              <a:gd name="T5" fmla="*/ 3059 h 39611"/>
              <a:gd name="T6" fmla="*/ 0 w 33515"/>
              <a:gd name="T7" fmla="*/ 36717 h 39611"/>
              <a:gd name="T8" fmla="*/ 3003 w 33515"/>
              <a:gd name="T9" fmla="*/ 39765 h 39611"/>
              <a:gd name="T10" fmla="*/ 30157 w 33515"/>
              <a:gd name="T11" fmla="*/ 39765 h 39611"/>
              <a:gd name="T12" fmla="*/ 33160 w 33515"/>
              <a:gd name="T13" fmla="*/ 36717 h 39611"/>
              <a:gd name="T14" fmla="*/ 33160 w 33515"/>
              <a:gd name="T15" fmla="*/ 3059 h 39611"/>
              <a:gd name="T16" fmla="*/ 30157 w 33515"/>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39611">
                <a:moveTo>
                  <a:pt x="30480" y="0"/>
                </a:moveTo>
                <a:lnTo>
                  <a:pt x="3035" y="0"/>
                </a:lnTo>
                <a:lnTo>
                  <a:pt x="0" y="3047"/>
                </a:lnTo>
                <a:lnTo>
                  <a:pt x="0" y="36575"/>
                </a:lnTo>
                <a:lnTo>
                  <a:pt x="3035" y="39611"/>
                </a:lnTo>
                <a:lnTo>
                  <a:pt x="30480" y="39611"/>
                </a:lnTo>
                <a:lnTo>
                  <a:pt x="33515" y="36575"/>
                </a:lnTo>
                <a:lnTo>
                  <a:pt x="33515" y="3047"/>
                </a:lnTo>
                <a:lnTo>
                  <a:pt x="30480"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60" name="object 165">
            <a:extLst>
              <a:ext uri="{FF2B5EF4-FFF2-40B4-BE49-F238E27FC236}">
                <a16:creationId xmlns:a16="http://schemas.microsoft.com/office/drawing/2014/main" id="{CDF21D14-985F-4E3F-970F-9D6C6BCC9903}"/>
              </a:ext>
            </a:extLst>
          </p:cNvPr>
          <p:cNvSpPr>
            <a:spLocks/>
          </p:cNvSpPr>
          <p:nvPr/>
        </p:nvSpPr>
        <p:spPr bwMode="auto">
          <a:xfrm>
            <a:off x="5326581" y="3634077"/>
            <a:ext cx="39687" cy="46038"/>
          </a:xfrm>
          <a:custGeom>
            <a:avLst/>
            <a:gdLst>
              <a:gd name="T0" fmla="*/ 36679 w 39624"/>
              <a:gd name="T1" fmla="*/ 0 h 45694"/>
              <a:gd name="T2" fmla="*/ 3058 w 39624"/>
              <a:gd name="T3" fmla="*/ 0 h 45694"/>
              <a:gd name="T4" fmla="*/ 3058 w 39624"/>
              <a:gd name="T5" fmla="*/ 3081 h 45694"/>
              <a:gd name="T6" fmla="*/ 0 w 39624"/>
              <a:gd name="T7" fmla="*/ 9269 h 45694"/>
              <a:gd name="T8" fmla="*/ 0 w 39624"/>
              <a:gd name="T9" fmla="*/ 37115 h 45694"/>
              <a:gd name="T10" fmla="*/ 3058 w 39624"/>
              <a:gd name="T11" fmla="*/ 43290 h 45694"/>
              <a:gd name="T12" fmla="*/ 9161 w 39624"/>
              <a:gd name="T13" fmla="*/ 46385 h 45694"/>
              <a:gd name="T14" fmla="*/ 30577 w 39624"/>
              <a:gd name="T15" fmla="*/ 46385 h 45694"/>
              <a:gd name="T16" fmla="*/ 36679 w 39624"/>
              <a:gd name="T17" fmla="*/ 43290 h 45694"/>
              <a:gd name="T18" fmla="*/ 38212 w 39624"/>
              <a:gd name="T19" fmla="*/ 40209 h 45694"/>
              <a:gd name="T20" fmla="*/ 9161 w 39624"/>
              <a:gd name="T21" fmla="*/ 40209 h 45694"/>
              <a:gd name="T22" fmla="*/ 6103 w 39624"/>
              <a:gd name="T23" fmla="*/ 37115 h 45694"/>
              <a:gd name="T24" fmla="*/ 6103 w 39624"/>
              <a:gd name="T25" fmla="*/ 9269 h 45694"/>
              <a:gd name="T26" fmla="*/ 9161 w 39624"/>
              <a:gd name="T27" fmla="*/ 6175 h 45694"/>
              <a:gd name="T28" fmla="*/ 38215 w 39624"/>
              <a:gd name="T29" fmla="*/ 6175 h 45694"/>
              <a:gd name="T30" fmla="*/ 36679 w 39624"/>
              <a:gd name="T31" fmla="*/ 3081 h 45694"/>
              <a:gd name="T32" fmla="*/ 36679 w 39624"/>
              <a:gd name="T33" fmla="*/ 0 h 45694"/>
              <a:gd name="T34" fmla="*/ 6103 w 39624"/>
              <a:gd name="T35" fmla="*/ 37115 h 45694"/>
              <a:gd name="T36" fmla="*/ 9161 w 39624"/>
              <a:gd name="T37" fmla="*/ 40209 h 45694"/>
              <a:gd name="T38" fmla="*/ 12230 w 39624"/>
              <a:gd name="T39" fmla="*/ 40209 h 45694"/>
              <a:gd name="T40" fmla="*/ 6103 w 39624"/>
              <a:gd name="T41" fmla="*/ 37115 h 45694"/>
              <a:gd name="T42" fmla="*/ 33634 w 39624"/>
              <a:gd name="T43" fmla="*/ 37115 h 45694"/>
              <a:gd name="T44" fmla="*/ 27507 w 39624"/>
              <a:gd name="T45" fmla="*/ 40209 h 45694"/>
              <a:gd name="T46" fmla="*/ 30577 w 39624"/>
              <a:gd name="T47" fmla="*/ 40209 h 45694"/>
              <a:gd name="T48" fmla="*/ 33634 w 39624"/>
              <a:gd name="T49" fmla="*/ 37115 h 45694"/>
              <a:gd name="T50" fmla="*/ 38215 w 39624"/>
              <a:gd name="T51" fmla="*/ 6175 h 45694"/>
              <a:gd name="T52" fmla="*/ 30577 w 39624"/>
              <a:gd name="T53" fmla="*/ 6175 h 45694"/>
              <a:gd name="T54" fmla="*/ 33634 w 39624"/>
              <a:gd name="T55" fmla="*/ 9269 h 45694"/>
              <a:gd name="T56" fmla="*/ 33634 w 39624"/>
              <a:gd name="T57" fmla="*/ 37115 h 45694"/>
              <a:gd name="T58" fmla="*/ 30577 w 39624"/>
              <a:gd name="T59" fmla="*/ 40209 h 45694"/>
              <a:gd name="T60" fmla="*/ 38212 w 39624"/>
              <a:gd name="T61" fmla="*/ 40209 h 45694"/>
              <a:gd name="T62" fmla="*/ 39750 w 39624"/>
              <a:gd name="T63" fmla="*/ 37115 h 45694"/>
              <a:gd name="T64" fmla="*/ 39750 w 39624"/>
              <a:gd name="T65" fmla="*/ 9269 h 45694"/>
              <a:gd name="T66" fmla="*/ 38215 w 39624"/>
              <a:gd name="T67" fmla="*/ 6175 h 4569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9624" h="45694">
                <a:moveTo>
                  <a:pt x="36563" y="0"/>
                </a:moveTo>
                <a:lnTo>
                  <a:pt x="3048" y="0"/>
                </a:lnTo>
                <a:lnTo>
                  <a:pt x="3048" y="3035"/>
                </a:lnTo>
                <a:lnTo>
                  <a:pt x="0" y="9131"/>
                </a:lnTo>
                <a:lnTo>
                  <a:pt x="0" y="36563"/>
                </a:lnTo>
                <a:lnTo>
                  <a:pt x="3048" y="42646"/>
                </a:lnTo>
                <a:lnTo>
                  <a:pt x="9131" y="45694"/>
                </a:lnTo>
                <a:lnTo>
                  <a:pt x="30480" y="45694"/>
                </a:lnTo>
                <a:lnTo>
                  <a:pt x="36563" y="42646"/>
                </a:lnTo>
                <a:lnTo>
                  <a:pt x="38090" y="39611"/>
                </a:lnTo>
                <a:lnTo>
                  <a:pt x="9131" y="39611"/>
                </a:lnTo>
                <a:lnTo>
                  <a:pt x="6083" y="36563"/>
                </a:lnTo>
                <a:lnTo>
                  <a:pt x="6083" y="9131"/>
                </a:lnTo>
                <a:lnTo>
                  <a:pt x="9131" y="6083"/>
                </a:lnTo>
                <a:lnTo>
                  <a:pt x="38093" y="6083"/>
                </a:lnTo>
                <a:lnTo>
                  <a:pt x="36563" y="3035"/>
                </a:lnTo>
                <a:lnTo>
                  <a:pt x="36563" y="0"/>
                </a:lnTo>
                <a:close/>
              </a:path>
              <a:path w="39624" h="45694">
                <a:moveTo>
                  <a:pt x="6083" y="36563"/>
                </a:moveTo>
                <a:lnTo>
                  <a:pt x="9131" y="39611"/>
                </a:lnTo>
                <a:lnTo>
                  <a:pt x="12192" y="39611"/>
                </a:lnTo>
                <a:lnTo>
                  <a:pt x="6083" y="36563"/>
                </a:lnTo>
                <a:close/>
              </a:path>
              <a:path w="39624" h="45694">
                <a:moveTo>
                  <a:pt x="33528" y="36563"/>
                </a:moveTo>
                <a:lnTo>
                  <a:pt x="27419" y="39611"/>
                </a:lnTo>
                <a:lnTo>
                  <a:pt x="30480" y="39611"/>
                </a:lnTo>
                <a:lnTo>
                  <a:pt x="33528" y="36563"/>
                </a:lnTo>
                <a:close/>
              </a:path>
              <a:path w="39624" h="45694">
                <a:moveTo>
                  <a:pt x="38093" y="6083"/>
                </a:moveTo>
                <a:lnTo>
                  <a:pt x="30480" y="6083"/>
                </a:lnTo>
                <a:lnTo>
                  <a:pt x="33528" y="9131"/>
                </a:lnTo>
                <a:lnTo>
                  <a:pt x="33528" y="36563"/>
                </a:lnTo>
                <a:lnTo>
                  <a:pt x="30480" y="39611"/>
                </a:lnTo>
                <a:lnTo>
                  <a:pt x="38090" y="39611"/>
                </a:lnTo>
                <a:lnTo>
                  <a:pt x="39624" y="36563"/>
                </a:lnTo>
                <a:lnTo>
                  <a:pt x="39624" y="9131"/>
                </a:lnTo>
                <a:lnTo>
                  <a:pt x="38093" y="6083"/>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61" name="object 166">
            <a:extLst>
              <a:ext uri="{FF2B5EF4-FFF2-40B4-BE49-F238E27FC236}">
                <a16:creationId xmlns:a16="http://schemas.microsoft.com/office/drawing/2014/main" id="{6ADA78AC-AD52-4D6F-91CD-00BB667DE41A}"/>
              </a:ext>
            </a:extLst>
          </p:cNvPr>
          <p:cNvSpPr>
            <a:spLocks/>
          </p:cNvSpPr>
          <p:nvPr/>
        </p:nvSpPr>
        <p:spPr bwMode="auto">
          <a:xfrm>
            <a:off x="5323406" y="3691227"/>
            <a:ext cx="44450" cy="52388"/>
          </a:xfrm>
          <a:custGeom>
            <a:avLst/>
            <a:gdLst>
              <a:gd name="T0" fmla="*/ 40336 w 45719"/>
              <a:gd name="T1" fmla="*/ 0 h 51803"/>
              <a:gd name="T2" fmla="*/ 5762 w 45719"/>
              <a:gd name="T3" fmla="*/ 0 h 51803"/>
              <a:gd name="T4" fmla="*/ 0 w 45719"/>
              <a:gd name="T5" fmla="*/ 3104 h 51803"/>
              <a:gd name="T6" fmla="*/ 0 w 45719"/>
              <a:gd name="T7" fmla="*/ 49863 h 51803"/>
              <a:gd name="T8" fmla="*/ 5762 w 45719"/>
              <a:gd name="T9" fmla="*/ 52980 h 51803"/>
              <a:gd name="T10" fmla="*/ 40336 w 45719"/>
              <a:gd name="T11" fmla="*/ 52980 h 51803"/>
              <a:gd name="T12" fmla="*/ 43217 w 45719"/>
              <a:gd name="T13" fmla="*/ 49863 h 51803"/>
              <a:gd name="T14" fmla="*/ 43217 w 45719"/>
              <a:gd name="T15" fmla="*/ 3104 h 51803"/>
              <a:gd name="T16" fmla="*/ 40336 w 45719"/>
              <a:gd name="T17" fmla="*/ 0 h 518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19" h="51803">
                <a:moveTo>
                  <a:pt x="42672" y="0"/>
                </a:moveTo>
                <a:lnTo>
                  <a:pt x="6096" y="0"/>
                </a:lnTo>
                <a:lnTo>
                  <a:pt x="0" y="3035"/>
                </a:lnTo>
                <a:lnTo>
                  <a:pt x="0" y="48755"/>
                </a:lnTo>
                <a:lnTo>
                  <a:pt x="6096" y="51803"/>
                </a:lnTo>
                <a:lnTo>
                  <a:pt x="42672" y="51803"/>
                </a:lnTo>
                <a:lnTo>
                  <a:pt x="45720" y="48755"/>
                </a:lnTo>
                <a:lnTo>
                  <a:pt x="45720" y="3035"/>
                </a:lnTo>
                <a:lnTo>
                  <a:pt x="42672"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62" name="object 167">
            <a:extLst>
              <a:ext uri="{FF2B5EF4-FFF2-40B4-BE49-F238E27FC236}">
                <a16:creationId xmlns:a16="http://schemas.microsoft.com/office/drawing/2014/main" id="{6923DDA6-EE2B-430A-9170-FFBA866D2825}"/>
              </a:ext>
            </a:extLst>
          </p:cNvPr>
          <p:cNvSpPr>
            <a:spLocks/>
          </p:cNvSpPr>
          <p:nvPr/>
        </p:nvSpPr>
        <p:spPr bwMode="auto">
          <a:xfrm>
            <a:off x="5329756" y="3697577"/>
            <a:ext cx="33337" cy="39688"/>
          </a:xfrm>
          <a:custGeom>
            <a:avLst/>
            <a:gdLst>
              <a:gd name="T0" fmla="*/ 30157 w 33515"/>
              <a:gd name="T1" fmla="*/ 0 h 39611"/>
              <a:gd name="T2" fmla="*/ 3003 w 33515"/>
              <a:gd name="T3" fmla="*/ 0 h 39611"/>
              <a:gd name="T4" fmla="*/ 0 w 33515"/>
              <a:gd name="T5" fmla="*/ 3059 h 39611"/>
              <a:gd name="T6" fmla="*/ 0 w 33515"/>
              <a:gd name="T7" fmla="*/ 36705 h 39611"/>
              <a:gd name="T8" fmla="*/ 3003 w 33515"/>
              <a:gd name="T9" fmla="*/ 39765 h 39611"/>
              <a:gd name="T10" fmla="*/ 30157 w 33515"/>
              <a:gd name="T11" fmla="*/ 39765 h 39611"/>
              <a:gd name="T12" fmla="*/ 33160 w 33515"/>
              <a:gd name="T13" fmla="*/ 36705 h 39611"/>
              <a:gd name="T14" fmla="*/ 33160 w 33515"/>
              <a:gd name="T15" fmla="*/ 3059 h 39611"/>
              <a:gd name="T16" fmla="*/ 30157 w 33515"/>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39611">
                <a:moveTo>
                  <a:pt x="30480" y="0"/>
                </a:moveTo>
                <a:lnTo>
                  <a:pt x="3035" y="0"/>
                </a:lnTo>
                <a:lnTo>
                  <a:pt x="0" y="3047"/>
                </a:lnTo>
                <a:lnTo>
                  <a:pt x="0" y="36563"/>
                </a:lnTo>
                <a:lnTo>
                  <a:pt x="3035" y="39611"/>
                </a:lnTo>
                <a:lnTo>
                  <a:pt x="30480" y="39611"/>
                </a:lnTo>
                <a:lnTo>
                  <a:pt x="33515" y="36563"/>
                </a:lnTo>
                <a:lnTo>
                  <a:pt x="33515" y="3047"/>
                </a:lnTo>
                <a:lnTo>
                  <a:pt x="30480"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63" name="object 168">
            <a:extLst>
              <a:ext uri="{FF2B5EF4-FFF2-40B4-BE49-F238E27FC236}">
                <a16:creationId xmlns:a16="http://schemas.microsoft.com/office/drawing/2014/main" id="{F3DC4ECE-74E5-4B4E-91F0-F4D271FF50DC}"/>
              </a:ext>
            </a:extLst>
          </p:cNvPr>
          <p:cNvSpPr>
            <a:spLocks/>
          </p:cNvSpPr>
          <p:nvPr/>
        </p:nvSpPr>
        <p:spPr bwMode="auto">
          <a:xfrm>
            <a:off x="5326581" y="3694402"/>
            <a:ext cx="39687" cy="46038"/>
          </a:xfrm>
          <a:custGeom>
            <a:avLst/>
            <a:gdLst>
              <a:gd name="T0" fmla="*/ 30577 w 39624"/>
              <a:gd name="T1" fmla="*/ 0 h 45707"/>
              <a:gd name="T2" fmla="*/ 9161 w 39624"/>
              <a:gd name="T3" fmla="*/ 0 h 45707"/>
              <a:gd name="T4" fmla="*/ 3058 w 39624"/>
              <a:gd name="T5" fmla="*/ 3091 h 45707"/>
              <a:gd name="T6" fmla="*/ 0 w 39624"/>
              <a:gd name="T7" fmla="*/ 9276 h 45707"/>
              <a:gd name="T8" fmla="*/ 0 w 39624"/>
              <a:gd name="T9" fmla="*/ 40187 h 45707"/>
              <a:gd name="T10" fmla="*/ 3058 w 39624"/>
              <a:gd name="T11" fmla="*/ 43279 h 45707"/>
              <a:gd name="T12" fmla="*/ 3058 w 39624"/>
              <a:gd name="T13" fmla="*/ 46371 h 45707"/>
              <a:gd name="T14" fmla="*/ 36679 w 39624"/>
              <a:gd name="T15" fmla="*/ 46371 h 45707"/>
              <a:gd name="T16" fmla="*/ 36679 w 39624"/>
              <a:gd name="T17" fmla="*/ 43279 h 45707"/>
              <a:gd name="T18" fmla="*/ 39750 w 39624"/>
              <a:gd name="T19" fmla="*/ 40187 h 45707"/>
              <a:gd name="T20" fmla="*/ 9161 w 39624"/>
              <a:gd name="T21" fmla="*/ 40187 h 45707"/>
              <a:gd name="T22" fmla="*/ 6103 w 39624"/>
              <a:gd name="T23" fmla="*/ 37095 h 45707"/>
              <a:gd name="T24" fmla="*/ 6103 w 39624"/>
              <a:gd name="T25" fmla="*/ 9276 h 45707"/>
              <a:gd name="T26" fmla="*/ 9161 w 39624"/>
              <a:gd name="T27" fmla="*/ 6183 h 45707"/>
              <a:gd name="T28" fmla="*/ 38215 w 39624"/>
              <a:gd name="T29" fmla="*/ 6183 h 45707"/>
              <a:gd name="T30" fmla="*/ 36679 w 39624"/>
              <a:gd name="T31" fmla="*/ 3091 h 45707"/>
              <a:gd name="T32" fmla="*/ 30577 w 39624"/>
              <a:gd name="T33" fmla="*/ 0 h 45707"/>
              <a:gd name="T34" fmla="*/ 38215 w 39624"/>
              <a:gd name="T35" fmla="*/ 6183 h 45707"/>
              <a:gd name="T36" fmla="*/ 30577 w 39624"/>
              <a:gd name="T37" fmla="*/ 6183 h 45707"/>
              <a:gd name="T38" fmla="*/ 33634 w 39624"/>
              <a:gd name="T39" fmla="*/ 9276 h 45707"/>
              <a:gd name="T40" fmla="*/ 33634 w 39624"/>
              <a:gd name="T41" fmla="*/ 37095 h 45707"/>
              <a:gd name="T42" fmla="*/ 30577 w 39624"/>
              <a:gd name="T43" fmla="*/ 40187 h 45707"/>
              <a:gd name="T44" fmla="*/ 39750 w 39624"/>
              <a:gd name="T45" fmla="*/ 40187 h 45707"/>
              <a:gd name="T46" fmla="*/ 39750 w 39624"/>
              <a:gd name="T47" fmla="*/ 9276 h 45707"/>
              <a:gd name="T48" fmla="*/ 38215 w 39624"/>
              <a:gd name="T49" fmla="*/ 6183 h 45707"/>
              <a:gd name="T50" fmla="*/ 8139 w 39624"/>
              <a:gd name="T51" fmla="*/ 8248 h 45707"/>
              <a:gd name="T52" fmla="*/ 6103 w 39624"/>
              <a:gd name="T53" fmla="*/ 9276 h 45707"/>
              <a:gd name="T54" fmla="*/ 6103 w 39624"/>
              <a:gd name="T55" fmla="*/ 12368 h 45707"/>
              <a:gd name="T56" fmla="*/ 8139 w 39624"/>
              <a:gd name="T57" fmla="*/ 8248 h 45707"/>
              <a:gd name="T58" fmla="*/ 31597 w 39624"/>
              <a:gd name="T59" fmla="*/ 8248 h 45707"/>
              <a:gd name="T60" fmla="*/ 33634 w 39624"/>
              <a:gd name="T61" fmla="*/ 12368 h 45707"/>
              <a:gd name="T62" fmla="*/ 33634 w 39624"/>
              <a:gd name="T63" fmla="*/ 9276 h 45707"/>
              <a:gd name="T64" fmla="*/ 31597 w 39624"/>
              <a:gd name="T65" fmla="*/ 8248 h 45707"/>
              <a:gd name="T66" fmla="*/ 9161 w 39624"/>
              <a:gd name="T67" fmla="*/ 6183 h 45707"/>
              <a:gd name="T68" fmla="*/ 6103 w 39624"/>
              <a:gd name="T69" fmla="*/ 9276 h 45707"/>
              <a:gd name="T70" fmla="*/ 8139 w 39624"/>
              <a:gd name="T71" fmla="*/ 8248 h 45707"/>
              <a:gd name="T72" fmla="*/ 9161 w 39624"/>
              <a:gd name="T73" fmla="*/ 6183 h 45707"/>
              <a:gd name="T74" fmla="*/ 30577 w 39624"/>
              <a:gd name="T75" fmla="*/ 6183 h 45707"/>
              <a:gd name="T76" fmla="*/ 31597 w 39624"/>
              <a:gd name="T77" fmla="*/ 8248 h 45707"/>
              <a:gd name="T78" fmla="*/ 33634 w 39624"/>
              <a:gd name="T79" fmla="*/ 9276 h 45707"/>
              <a:gd name="T80" fmla="*/ 30577 w 39624"/>
              <a:gd name="T81" fmla="*/ 6183 h 45707"/>
              <a:gd name="T82" fmla="*/ 12230 w 39624"/>
              <a:gd name="T83" fmla="*/ 6183 h 45707"/>
              <a:gd name="T84" fmla="*/ 9161 w 39624"/>
              <a:gd name="T85" fmla="*/ 6183 h 45707"/>
              <a:gd name="T86" fmla="*/ 8139 w 39624"/>
              <a:gd name="T87" fmla="*/ 8248 h 45707"/>
              <a:gd name="T88" fmla="*/ 12230 w 39624"/>
              <a:gd name="T89" fmla="*/ 6183 h 45707"/>
              <a:gd name="T90" fmla="*/ 30577 w 39624"/>
              <a:gd name="T91" fmla="*/ 6183 h 45707"/>
              <a:gd name="T92" fmla="*/ 27507 w 39624"/>
              <a:gd name="T93" fmla="*/ 6183 h 45707"/>
              <a:gd name="T94" fmla="*/ 31597 w 39624"/>
              <a:gd name="T95" fmla="*/ 8248 h 45707"/>
              <a:gd name="T96" fmla="*/ 30577 w 39624"/>
              <a:gd name="T97" fmla="*/ 6183 h 4570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624" h="45707">
                <a:moveTo>
                  <a:pt x="30480" y="0"/>
                </a:moveTo>
                <a:lnTo>
                  <a:pt x="9131" y="0"/>
                </a:lnTo>
                <a:lnTo>
                  <a:pt x="3048" y="3047"/>
                </a:lnTo>
                <a:lnTo>
                  <a:pt x="0" y="9143"/>
                </a:lnTo>
                <a:lnTo>
                  <a:pt x="0" y="39611"/>
                </a:lnTo>
                <a:lnTo>
                  <a:pt x="3048" y="42659"/>
                </a:lnTo>
                <a:lnTo>
                  <a:pt x="3048" y="45707"/>
                </a:lnTo>
                <a:lnTo>
                  <a:pt x="36563" y="45707"/>
                </a:lnTo>
                <a:lnTo>
                  <a:pt x="36563" y="42659"/>
                </a:lnTo>
                <a:lnTo>
                  <a:pt x="39624" y="39611"/>
                </a:lnTo>
                <a:lnTo>
                  <a:pt x="9131" y="39611"/>
                </a:lnTo>
                <a:lnTo>
                  <a:pt x="6083" y="36563"/>
                </a:lnTo>
                <a:lnTo>
                  <a:pt x="6083" y="9143"/>
                </a:lnTo>
                <a:lnTo>
                  <a:pt x="9131" y="6095"/>
                </a:lnTo>
                <a:lnTo>
                  <a:pt x="38093" y="6095"/>
                </a:lnTo>
                <a:lnTo>
                  <a:pt x="36563" y="3047"/>
                </a:lnTo>
                <a:lnTo>
                  <a:pt x="30480" y="0"/>
                </a:lnTo>
                <a:close/>
              </a:path>
              <a:path w="39624" h="45707">
                <a:moveTo>
                  <a:pt x="38093" y="6095"/>
                </a:moveTo>
                <a:lnTo>
                  <a:pt x="30480" y="6095"/>
                </a:lnTo>
                <a:lnTo>
                  <a:pt x="33528" y="9143"/>
                </a:lnTo>
                <a:lnTo>
                  <a:pt x="33528" y="36563"/>
                </a:lnTo>
                <a:lnTo>
                  <a:pt x="30480" y="39611"/>
                </a:lnTo>
                <a:lnTo>
                  <a:pt x="39624" y="39611"/>
                </a:lnTo>
                <a:lnTo>
                  <a:pt x="39624" y="9143"/>
                </a:lnTo>
                <a:lnTo>
                  <a:pt x="38093" y="6095"/>
                </a:lnTo>
                <a:close/>
              </a:path>
              <a:path w="39624" h="45707">
                <a:moveTo>
                  <a:pt x="8113" y="8130"/>
                </a:moveTo>
                <a:lnTo>
                  <a:pt x="6083" y="9143"/>
                </a:lnTo>
                <a:lnTo>
                  <a:pt x="6083" y="12191"/>
                </a:lnTo>
                <a:lnTo>
                  <a:pt x="8113" y="8130"/>
                </a:lnTo>
                <a:close/>
              </a:path>
              <a:path w="39624" h="45707">
                <a:moveTo>
                  <a:pt x="31497" y="8130"/>
                </a:moveTo>
                <a:lnTo>
                  <a:pt x="33528" y="12191"/>
                </a:lnTo>
                <a:lnTo>
                  <a:pt x="33528" y="9143"/>
                </a:lnTo>
                <a:lnTo>
                  <a:pt x="31497" y="8130"/>
                </a:lnTo>
                <a:close/>
              </a:path>
              <a:path w="39624" h="45707">
                <a:moveTo>
                  <a:pt x="9131" y="6095"/>
                </a:moveTo>
                <a:lnTo>
                  <a:pt x="6083" y="9143"/>
                </a:lnTo>
                <a:lnTo>
                  <a:pt x="8113" y="8130"/>
                </a:lnTo>
                <a:lnTo>
                  <a:pt x="9131" y="6095"/>
                </a:lnTo>
                <a:close/>
              </a:path>
              <a:path w="39624" h="45707">
                <a:moveTo>
                  <a:pt x="30480" y="6095"/>
                </a:moveTo>
                <a:lnTo>
                  <a:pt x="31497" y="8130"/>
                </a:lnTo>
                <a:lnTo>
                  <a:pt x="33528" y="9143"/>
                </a:lnTo>
                <a:lnTo>
                  <a:pt x="30480" y="6095"/>
                </a:lnTo>
                <a:close/>
              </a:path>
              <a:path w="39624" h="45707">
                <a:moveTo>
                  <a:pt x="12192" y="6095"/>
                </a:moveTo>
                <a:lnTo>
                  <a:pt x="9131" y="6095"/>
                </a:lnTo>
                <a:lnTo>
                  <a:pt x="8113" y="8130"/>
                </a:lnTo>
                <a:lnTo>
                  <a:pt x="12192" y="6095"/>
                </a:lnTo>
                <a:close/>
              </a:path>
              <a:path w="39624" h="45707">
                <a:moveTo>
                  <a:pt x="30480" y="6095"/>
                </a:moveTo>
                <a:lnTo>
                  <a:pt x="27419" y="6095"/>
                </a:lnTo>
                <a:lnTo>
                  <a:pt x="31497" y="8130"/>
                </a:lnTo>
                <a:lnTo>
                  <a:pt x="30480"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64" name="object 283">
            <a:extLst>
              <a:ext uri="{FF2B5EF4-FFF2-40B4-BE49-F238E27FC236}">
                <a16:creationId xmlns:a16="http://schemas.microsoft.com/office/drawing/2014/main" id="{D47C5FFA-2E40-4C5B-BFD8-AE430F04C5A4}"/>
              </a:ext>
            </a:extLst>
          </p:cNvPr>
          <p:cNvSpPr txBox="1">
            <a:spLocks noChangeArrowheads="1"/>
          </p:cNvSpPr>
          <p:nvPr/>
        </p:nvSpPr>
        <p:spPr bwMode="auto">
          <a:xfrm>
            <a:off x="5239268" y="5245390"/>
            <a:ext cx="500063"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463">
              <a:spcBef>
                <a:spcPct val="20000"/>
              </a:spcBef>
              <a:buChar char="•"/>
              <a:tabLst>
                <a:tab pos="800100" algn="l"/>
                <a:tab pos="1384300" algn="l"/>
              </a:tabLst>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tabLst>
                <a:tab pos="800100" algn="l"/>
                <a:tab pos="1384300" algn="l"/>
              </a:tabLst>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tabLst>
                <a:tab pos="800100" algn="l"/>
                <a:tab pos="1384300" algn="l"/>
              </a:tabLst>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9pPr>
          </a:lstStyle>
          <a:p>
            <a:pPr>
              <a:lnSpc>
                <a:spcPts val="875"/>
              </a:lnSpc>
              <a:spcBef>
                <a:spcPct val="0"/>
              </a:spcBef>
              <a:buFontTx/>
              <a:buNone/>
            </a:pPr>
            <a:r>
              <a:rPr lang="zh-CN" altLang="en-US" sz="800" dirty="0">
                <a:latin typeface="宋体" panose="02010600030101010101" pitchFamily="2" charset="-122"/>
              </a:rPr>
              <a:t>联动线</a:t>
            </a:r>
            <a:endParaRPr lang="zh-CN" altLang="zh-CN" sz="800" dirty="0">
              <a:latin typeface="宋体" panose="02010600030101010101" pitchFamily="2" charset="-122"/>
            </a:endParaRPr>
          </a:p>
        </p:txBody>
      </p:sp>
      <p:sp>
        <p:nvSpPr>
          <p:cNvPr id="265" name="object 320">
            <a:extLst>
              <a:ext uri="{FF2B5EF4-FFF2-40B4-BE49-F238E27FC236}">
                <a16:creationId xmlns:a16="http://schemas.microsoft.com/office/drawing/2014/main" id="{662429CC-2C1D-457C-8F50-72B41862E65E}"/>
              </a:ext>
            </a:extLst>
          </p:cNvPr>
          <p:cNvSpPr txBox="1">
            <a:spLocks noChangeArrowheads="1"/>
          </p:cNvSpPr>
          <p:nvPr/>
        </p:nvSpPr>
        <p:spPr bwMode="auto">
          <a:xfrm>
            <a:off x="5317056" y="3468977"/>
            <a:ext cx="127000"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266" name="object 335">
            <a:extLst>
              <a:ext uri="{FF2B5EF4-FFF2-40B4-BE49-F238E27FC236}">
                <a16:creationId xmlns:a16="http://schemas.microsoft.com/office/drawing/2014/main" id="{C9AF37BC-6636-4B3B-A1F5-001DE6039150}"/>
              </a:ext>
            </a:extLst>
          </p:cNvPr>
          <p:cNvSpPr txBox="1">
            <a:spLocks noChangeArrowheads="1"/>
          </p:cNvSpPr>
          <p:nvPr/>
        </p:nvSpPr>
        <p:spPr bwMode="auto">
          <a:xfrm>
            <a:off x="5317056" y="3800765"/>
            <a:ext cx="38100" cy="4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267" name="object 336">
            <a:extLst>
              <a:ext uri="{FF2B5EF4-FFF2-40B4-BE49-F238E27FC236}">
                <a16:creationId xmlns:a16="http://schemas.microsoft.com/office/drawing/2014/main" id="{9DB60F82-09F9-47E5-8F9B-CD10785A3BA4}"/>
              </a:ext>
            </a:extLst>
          </p:cNvPr>
          <p:cNvSpPr txBox="1">
            <a:spLocks noChangeArrowheads="1"/>
          </p:cNvSpPr>
          <p:nvPr/>
        </p:nvSpPr>
        <p:spPr bwMode="auto">
          <a:xfrm>
            <a:off x="5355156" y="3800765"/>
            <a:ext cx="88900" cy="4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268" name="object 142">
            <a:extLst>
              <a:ext uri="{FF2B5EF4-FFF2-40B4-BE49-F238E27FC236}">
                <a16:creationId xmlns:a16="http://schemas.microsoft.com/office/drawing/2014/main" id="{B7C3380D-08F7-4B28-A21F-2FB0C1648745}"/>
              </a:ext>
            </a:extLst>
          </p:cNvPr>
          <p:cNvSpPr>
            <a:spLocks noChangeArrowheads="1"/>
          </p:cNvSpPr>
          <p:nvPr/>
        </p:nvSpPr>
        <p:spPr bwMode="auto">
          <a:xfrm>
            <a:off x="5183706" y="4108740"/>
            <a:ext cx="484187" cy="350837"/>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269" name="object 283">
            <a:extLst>
              <a:ext uri="{FF2B5EF4-FFF2-40B4-BE49-F238E27FC236}">
                <a16:creationId xmlns:a16="http://schemas.microsoft.com/office/drawing/2014/main" id="{D465A529-5C72-49C2-A60F-7A2D6D5C3015}"/>
              </a:ext>
            </a:extLst>
          </p:cNvPr>
          <p:cNvSpPr txBox="1"/>
          <p:nvPr/>
        </p:nvSpPr>
        <p:spPr>
          <a:xfrm>
            <a:off x="5167831" y="5102515"/>
            <a:ext cx="704850" cy="204787"/>
          </a:xfrm>
          <a:prstGeom prst="rect">
            <a:avLst/>
          </a:prstGeom>
        </p:spPr>
        <p:txBody>
          <a:bodyPr lIns="0" tIns="0" rIns="0" bIns="0"/>
          <a:lstStyle/>
          <a:p>
            <a:pPr marL="18287">
              <a:lnSpc>
                <a:spcPts val="875"/>
              </a:lnSpc>
              <a:spcBef>
                <a:spcPts val="3"/>
              </a:spcBef>
              <a:tabLst>
                <a:tab pos="800100" algn="l"/>
                <a:tab pos="1384300" algn="l"/>
              </a:tabLst>
              <a:defRPr/>
            </a:pPr>
            <a:r>
              <a:rPr sz="1200" baseline="-7246" dirty="0">
                <a:latin typeface="Arial"/>
                <a:cs typeface="Arial"/>
              </a:rPr>
              <a:t>PLC/Si</a:t>
            </a:r>
            <a:r>
              <a:rPr sz="1200" spc="-14" baseline="-7246" dirty="0">
                <a:latin typeface="Arial"/>
                <a:cs typeface="Arial"/>
              </a:rPr>
              <a:t>m</a:t>
            </a:r>
            <a:r>
              <a:rPr sz="1200" spc="-29" baseline="-7246" dirty="0">
                <a:latin typeface="Arial"/>
                <a:cs typeface="Arial"/>
              </a:rPr>
              <a:t>o</a:t>
            </a:r>
            <a:r>
              <a:rPr sz="1200" baseline="-7246" dirty="0">
                <a:latin typeface="Arial"/>
                <a:cs typeface="Arial"/>
              </a:rPr>
              <a:t>t</a:t>
            </a:r>
            <a:r>
              <a:rPr sz="1200" spc="14" baseline="-7246" dirty="0">
                <a:latin typeface="Arial"/>
                <a:cs typeface="Arial"/>
              </a:rPr>
              <a:t>io</a:t>
            </a:r>
            <a:r>
              <a:rPr sz="1200" baseline="-7246" dirty="0">
                <a:latin typeface="Arial"/>
                <a:cs typeface="Arial"/>
              </a:rPr>
              <a:t>n</a:t>
            </a:r>
            <a:endParaRPr sz="800" dirty="0">
              <a:latin typeface="Arial"/>
              <a:cs typeface="Arial"/>
            </a:endParaRPr>
          </a:p>
        </p:txBody>
      </p:sp>
      <p:sp>
        <p:nvSpPr>
          <p:cNvPr id="270" name="object 283">
            <a:extLst>
              <a:ext uri="{FF2B5EF4-FFF2-40B4-BE49-F238E27FC236}">
                <a16:creationId xmlns:a16="http://schemas.microsoft.com/office/drawing/2014/main" id="{92F19DB6-F914-4360-A556-4C59B02A6D27}"/>
              </a:ext>
            </a:extLst>
          </p:cNvPr>
          <p:cNvSpPr txBox="1">
            <a:spLocks noChangeArrowheads="1"/>
          </p:cNvSpPr>
          <p:nvPr/>
        </p:nvSpPr>
        <p:spPr bwMode="auto">
          <a:xfrm>
            <a:off x="5453581" y="4531015"/>
            <a:ext cx="490537"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463">
              <a:spcBef>
                <a:spcPct val="20000"/>
              </a:spcBef>
              <a:buChar char="•"/>
              <a:tabLst>
                <a:tab pos="800100" algn="l"/>
                <a:tab pos="1384300" algn="l"/>
              </a:tabLst>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tabLst>
                <a:tab pos="800100" algn="l"/>
                <a:tab pos="1384300" algn="l"/>
              </a:tabLst>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tabLst>
                <a:tab pos="800100" algn="l"/>
                <a:tab pos="1384300" algn="l"/>
              </a:tabLst>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9pPr>
          </a:lstStyle>
          <a:p>
            <a:pPr>
              <a:lnSpc>
                <a:spcPts val="875"/>
              </a:lnSpc>
              <a:spcBef>
                <a:spcPct val="0"/>
              </a:spcBef>
              <a:buFontTx/>
              <a:buNone/>
            </a:pPr>
            <a:r>
              <a:rPr lang="en-US" altLang="zh-CN" sz="1200" baseline="-7000">
                <a:cs typeface="Arial" panose="020B0604020202020204" pitchFamily="34" charset="0"/>
              </a:rPr>
              <a:t>Panel PC</a:t>
            </a:r>
            <a:endParaRPr lang="zh-CN" altLang="zh-CN" sz="800">
              <a:cs typeface="Arial" panose="020B0604020202020204" pitchFamily="34" charset="0"/>
            </a:endParaRPr>
          </a:p>
        </p:txBody>
      </p:sp>
      <p:sp>
        <p:nvSpPr>
          <p:cNvPr id="271" name="object 17">
            <a:extLst>
              <a:ext uri="{FF2B5EF4-FFF2-40B4-BE49-F238E27FC236}">
                <a16:creationId xmlns:a16="http://schemas.microsoft.com/office/drawing/2014/main" id="{8C2F598F-9C1B-4391-8183-5043F76B04C2}"/>
              </a:ext>
            </a:extLst>
          </p:cNvPr>
          <p:cNvSpPr>
            <a:spLocks noChangeArrowheads="1"/>
          </p:cNvSpPr>
          <p:nvPr/>
        </p:nvSpPr>
        <p:spPr bwMode="auto">
          <a:xfrm>
            <a:off x="8382518" y="4531015"/>
            <a:ext cx="571500" cy="500062"/>
          </a:xfrm>
          <a:prstGeom prst="rect">
            <a:avLst/>
          </a:prstGeom>
          <a:blipFill dpi="0" rotWithShape="1">
            <a:blip r:embed="rId1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272" name="object 17">
            <a:extLst>
              <a:ext uri="{FF2B5EF4-FFF2-40B4-BE49-F238E27FC236}">
                <a16:creationId xmlns:a16="http://schemas.microsoft.com/office/drawing/2014/main" id="{324D68D9-A74A-49ED-BD25-8530D562A5BE}"/>
              </a:ext>
            </a:extLst>
          </p:cNvPr>
          <p:cNvSpPr>
            <a:spLocks noChangeArrowheads="1"/>
          </p:cNvSpPr>
          <p:nvPr/>
        </p:nvSpPr>
        <p:spPr bwMode="auto">
          <a:xfrm>
            <a:off x="9239768" y="4531015"/>
            <a:ext cx="571500" cy="500062"/>
          </a:xfrm>
          <a:prstGeom prst="rect">
            <a:avLst/>
          </a:prstGeom>
          <a:blipFill dpi="0" rotWithShape="1">
            <a:blip r:embed="rId1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273" name="object 111">
            <a:extLst>
              <a:ext uri="{FF2B5EF4-FFF2-40B4-BE49-F238E27FC236}">
                <a16:creationId xmlns:a16="http://schemas.microsoft.com/office/drawing/2014/main" id="{C0591A1D-BCE2-47AB-ACB9-FC0781F90C61}"/>
              </a:ext>
            </a:extLst>
          </p:cNvPr>
          <p:cNvSpPr>
            <a:spLocks/>
          </p:cNvSpPr>
          <p:nvPr/>
        </p:nvSpPr>
        <p:spPr bwMode="auto">
          <a:xfrm>
            <a:off x="8734943" y="3743615"/>
            <a:ext cx="46038" cy="787400"/>
          </a:xfrm>
          <a:custGeom>
            <a:avLst/>
            <a:gdLst>
              <a:gd name="T0" fmla="*/ 0 w 45719"/>
              <a:gd name="T1" fmla="*/ 0 h 731520"/>
              <a:gd name="T2" fmla="*/ 0 w 45719"/>
              <a:gd name="T3" fmla="*/ 847549 h 731520"/>
              <a:gd name="T4" fmla="*/ 0 60000 65536"/>
              <a:gd name="T5" fmla="*/ 0 60000 65536"/>
            </a:gdLst>
            <a:ahLst/>
            <a:cxnLst>
              <a:cxn ang="T4">
                <a:pos x="T0" y="T1"/>
              </a:cxn>
              <a:cxn ang="T5">
                <a:pos x="T2" y="T3"/>
              </a:cxn>
            </a:cxnLst>
            <a:rect l="0" t="0" r="r" b="b"/>
            <a:pathLst>
              <a:path w="45719" h="731520">
                <a:moveTo>
                  <a:pt x="0" y="0"/>
                </a:moveTo>
                <a:lnTo>
                  <a:pt x="0" y="731520"/>
                </a:lnTo>
              </a:path>
            </a:pathLst>
          </a:custGeom>
          <a:noFill/>
          <a:ln w="25641">
            <a:solidFill>
              <a:srgbClr val="ACBDCA"/>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74" name="object 115">
            <a:extLst>
              <a:ext uri="{FF2B5EF4-FFF2-40B4-BE49-F238E27FC236}">
                <a16:creationId xmlns:a16="http://schemas.microsoft.com/office/drawing/2014/main" id="{1545B20C-0CEC-4E04-8944-D4A2AB90FA9B}"/>
              </a:ext>
            </a:extLst>
          </p:cNvPr>
          <p:cNvSpPr>
            <a:spLocks/>
          </p:cNvSpPr>
          <p:nvPr/>
        </p:nvSpPr>
        <p:spPr bwMode="auto">
          <a:xfrm>
            <a:off x="8661918" y="3465802"/>
            <a:ext cx="146050" cy="277813"/>
          </a:xfrm>
          <a:custGeom>
            <a:avLst/>
            <a:gdLst>
              <a:gd name="T0" fmla="*/ 0 w 146291"/>
              <a:gd name="T1" fmla="*/ 278272 h 277355"/>
              <a:gd name="T2" fmla="*/ 145809 w 146291"/>
              <a:gd name="T3" fmla="*/ 278272 h 277355"/>
              <a:gd name="T4" fmla="*/ 145809 w 146291"/>
              <a:gd name="T5" fmla="*/ 0 h 277355"/>
              <a:gd name="T6" fmla="*/ 0 w 146291"/>
              <a:gd name="T7" fmla="*/ 0 h 277355"/>
              <a:gd name="T8" fmla="*/ 0 w 146291"/>
              <a:gd name="T9" fmla="*/ 278272 h 27735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6291" h="277355">
                <a:moveTo>
                  <a:pt x="0" y="277355"/>
                </a:moveTo>
                <a:lnTo>
                  <a:pt x="146291" y="277355"/>
                </a:lnTo>
                <a:lnTo>
                  <a:pt x="146291" y="0"/>
                </a:lnTo>
                <a:lnTo>
                  <a:pt x="0" y="0"/>
                </a:lnTo>
                <a:lnTo>
                  <a:pt x="0" y="277355"/>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75" name="object 116">
            <a:extLst>
              <a:ext uri="{FF2B5EF4-FFF2-40B4-BE49-F238E27FC236}">
                <a16:creationId xmlns:a16="http://schemas.microsoft.com/office/drawing/2014/main" id="{E3E1EFD8-71C2-4F4A-90E8-09266669D964}"/>
              </a:ext>
            </a:extLst>
          </p:cNvPr>
          <p:cNvSpPr>
            <a:spLocks/>
          </p:cNvSpPr>
          <p:nvPr/>
        </p:nvSpPr>
        <p:spPr bwMode="auto">
          <a:xfrm>
            <a:off x="8658743" y="3459452"/>
            <a:ext cx="152400" cy="288925"/>
          </a:xfrm>
          <a:custGeom>
            <a:avLst/>
            <a:gdLst>
              <a:gd name="T0" fmla="*/ 152400 w 152400"/>
              <a:gd name="T1" fmla="*/ 0 h 289560"/>
              <a:gd name="T2" fmla="*/ 0 w 152400"/>
              <a:gd name="T3" fmla="*/ 0 h 289560"/>
              <a:gd name="T4" fmla="*/ 0 w 152400"/>
              <a:gd name="T5" fmla="*/ 288290 h 289560"/>
              <a:gd name="T6" fmla="*/ 152400 w 152400"/>
              <a:gd name="T7" fmla="*/ 288290 h 289560"/>
              <a:gd name="T8" fmla="*/ 152400 w 152400"/>
              <a:gd name="T9" fmla="*/ 282209 h 289560"/>
              <a:gd name="T10" fmla="*/ 9131 w 152400"/>
              <a:gd name="T11" fmla="*/ 282209 h 289560"/>
              <a:gd name="T12" fmla="*/ 3048 w 152400"/>
              <a:gd name="T13" fmla="*/ 276152 h 289560"/>
              <a:gd name="T14" fmla="*/ 9131 w 152400"/>
              <a:gd name="T15" fmla="*/ 276152 h 289560"/>
              <a:gd name="T16" fmla="*/ 9131 w 152400"/>
              <a:gd name="T17" fmla="*/ 9103 h 289560"/>
              <a:gd name="T18" fmla="*/ 3048 w 152400"/>
              <a:gd name="T19" fmla="*/ 9103 h 289560"/>
              <a:gd name="T20" fmla="*/ 9131 w 152400"/>
              <a:gd name="T21" fmla="*/ 6069 h 289560"/>
              <a:gd name="T22" fmla="*/ 152400 w 152400"/>
              <a:gd name="T23" fmla="*/ 6069 h 289560"/>
              <a:gd name="T24" fmla="*/ 152400 w 152400"/>
              <a:gd name="T25" fmla="*/ 0 h 289560"/>
              <a:gd name="T26" fmla="*/ 9131 w 152400"/>
              <a:gd name="T27" fmla="*/ 276152 h 289560"/>
              <a:gd name="T28" fmla="*/ 3048 w 152400"/>
              <a:gd name="T29" fmla="*/ 276152 h 289560"/>
              <a:gd name="T30" fmla="*/ 9131 w 152400"/>
              <a:gd name="T31" fmla="*/ 282209 h 289560"/>
              <a:gd name="T32" fmla="*/ 9131 w 152400"/>
              <a:gd name="T33" fmla="*/ 276152 h 289560"/>
              <a:gd name="T34" fmla="*/ 143243 w 152400"/>
              <a:gd name="T35" fmla="*/ 276152 h 289560"/>
              <a:gd name="T36" fmla="*/ 9131 w 152400"/>
              <a:gd name="T37" fmla="*/ 276152 h 289560"/>
              <a:gd name="T38" fmla="*/ 9131 w 152400"/>
              <a:gd name="T39" fmla="*/ 282209 h 289560"/>
              <a:gd name="T40" fmla="*/ 143243 w 152400"/>
              <a:gd name="T41" fmla="*/ 282209 h 289560"/>
              <a:gd name="T42" fmla="*/ 143243 w 152400"/>
              <a:gd name="T43" fmla="*/ 276152 h 289560"/>
              <a:gd name="T44" fmla="*/ 143243 w 152400"/>
              <a:gd name="T45" fmla="*/ 6069 h 289560"/>
              <a:gd name="T46" fmla="*/ 143243 w 152400"/>
              <a:gd name="T47" fmla="*/ 282209 h 289560"/>
              <a:gd name="T48" fmla="*/ 149339 w 152400"/>
              <a:gd name="T49" fmla="*/ 276152 h 289560"/>
              <a:gd name="T50" fmla="*/ 152400 w 152400"/>
              <a:gd name="T51" fmla="*/ 276152 h 289560"/>
              <a:gd name="T52" fmla="*/ 152400 w 152400"/>
              <a:gd name="T53" fmla="*/ 9103 h 289560"/>
              <a:gd name="T54" fmla="*/ 149339 w 152400"/>
              <a:gd name="T55" fmla="*/ 9103 h 289560"/>
              <a:gd name="T56" fmla="*/ 143243 w 152400"/>
              <a:gd name="T57" fmla="*/ 6069 h 289560"/>
              <a:gd name="T58" fmla="*/ 152400 w 152400"/>
              <a:gd name="T59" fmla="*/ 276152 h 289560"/>
              <a:gd name="T60" fmla="*/ 149339 w 152400"/>
              <a:gd name="T61" fmla="*/ 276152 h 289560"/>
              <a:gd name="T62" fmla="*/ 143243 w 152400"/>
              <a:gd name="T63" fmla="*/ 282209 h 289560"/>
              <a:gd name="T64" fmla="*/ 152400 w 152400"/>
              <a:gd name="T65" fmla="*/ 282209 h 289560"/>
              <a:gd name="T66" fmla="*/ 152400 w 152400"/>
              <a:gd name="T67" fmla="*/ 276152 h 289560"/>
              <a:gd name="T68" fmla="*/ 9131 w 152400"/>
              <a:gd name="T69" fmla="*/ 6069 h 289560"/>
              <a:gd name="T70" fmla="*/ 3048 w 152400"/>
              <a:gd name="T71" fmla="*/ 9103 h 289560"/>
              <a:gd name="T72" fmla="*/ 9131 w 152400"/>
              <a:gd name="T73" fmla="*/ 9103 h 289560"/>
              <a:gd name="T74" fmla="*/ 9131 w 152400"/>
              <a:gd name="T75" fmla="*/ 6069 h 289560"/>
              <a:gd name="T76" fmla="*/ 143243 w 152400"/>
              <a:gd name="T77" fmla="*/ 6069 h 289560"/>
              <a:gd name="T78" fmla="*/ 9131 w 152400"/>
              <a:gd name="T79" fmla="*/ 6069 h 289560"/>
              <a:gd name="T80" fmla="*/ 9131 w 152400"/>
              <a:gd name="T81" fmla="*/ 9103 h 289560"/>
              <a:gd name="T82" fmla="*/ 143243 w 152400"/>
              <a:gd name="T83" fmla="*/ 9103 h 289560"/>
              <a:gd name="T84" fmla="*/ 143243 w 152400"/>
              <a:gd name="T85" fmla="*/ 6069 h 289560"/>
              <a:gd name="T86" fmla="*/ 152400 w 152400"/>
              <a:gd name="T87" fmla="*/ 6069 h 289560"/>
              <a:gd name="T88" fmla="*/ 143243 w 152400"/>
              <a:gd name="T89" fmla="*/ 6069 h 289560"/>
              <a:gd name="T90" fmla="*/ 149339 w 152400"/>
              <a:gd name="T91" fmla="*/ 9103 h 289560"/>
              <a:gd name="T92" fmla="*/ 152400 w 152400"/>
              <a:gd name="T93" fmla="*/ 9103 h 289560"/>
              <a:gd name="T94" fmla="*/ 152400 w 152400"/>
              <a:gd name="T95" fmla="*/ 6069 h 28956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52400" h="289560">
                <a:moveTo>
                  <a:pt x="152400" y="0"/>
                </a:moveTo>
                <a:lnTo>
                  <a:pt x="0" y="0"/>
                </a:lnTo>
                <a:lnTo>
                  <a:pt x="0" y="289559"/>
                </a:lnTo>
                <a:lnTo>
                  <a:pt x="152400" y="289559"/>
                </a:lnTo>
                <a:lnTo>
                  <a:pt x="152400" y="283451"/>
                </a:lnTo>
                <a:lnTo>
                  <a:pt x="9131" y="283451"/>
                </a:lnTo>
                <a:lnTo>
                  <a:pt x="3048" y="277367"/>
                </a:lnTo>
                <a:lnTo>
                  <a:pt x="9131" y="277367"/>
                </a:lnTo>
                <a:lnTo>
                  <a:pt x="9131" y="9143"/>
                </a:lnTo>
                <a:lnTo>
                  <a:pt x="3048" y="9143"/>
                </a:lnTo>
                <a:lnTo>
                  <a:pt x="9131" y="6095"/>
                </a:lnTo>
                <a:lnTo>
                  <a:pt x="152400" y="6095"/>
                </a:lnTo>
                <a:lnTo>
                  <a:pt x="152400" y="0"/>
                </a:lnTo>
                <a:close/>
              </a:path>
              <a:path w="152400" h="289560">
                <a:moveTo>
                  <a:pt x="9131" y="277367"/>
                </a:moveTo>
                <a:lnTo>
                  <a:pt x="3048" y="277367"/>
                </a:lnTo>
                <a:lnTo>
                  <a:pt x="9131" y="283451"/>
                </a:lnTo>
                <a:lnTo>
                  <a:pt x="9131" y="277367"/>
                </a:lnTo>
                <a:close/>
              </a:path>
              <a:path w="152400" h="289560">
                <a:moveTo>
                  <a:pt x="143243" y="277367"/>
                </a:moveTo>
                <a:lnTo>
                  <a:pt x="9131" y="277367"/>
                </a:lnTo>
                <a:lnTo>
                  <a:pt x="9131" y="283451"/>
                </a:lnTo>
                <a:lnTo>
                  <a:pt x="143243" y="283451"/>
                </a:lnTo>
                <a:lnTo>
                  <a:pt x="143243" y="277367"/>
                </a:lnTo>
                <a:close/>
              </a:path>
              <a:path w="152400" h="289560">
                <a:moveTo>
                  <a:pt x="143243" y="6095"/>
                </a:moveTo>
                <a:lnTo>
                  <a:pt x="143243" y="283451"/>
                </a:lnTo>
                <a:lnTo>
                  <a:pt x="149339" y="277367"/>
                </a:lnTo>
                <a:lnTo>
                  <a:pt x="152400" y="277367"/>
                </a:lnTo>
                <a:lnTo>
                  <a:pt x="152400" y="9143"/>
                </a:lnTo>
                <a:lnTo>
                  <a:pt x="149339" y="9143"/>
                </a:lnTo>
                <a:lnTo>
                  <a:pt x="143243" y="6095"/>
                </a:lnTo>
                <a:close/>
              </a:path>
              <a:path w="152400" h="289560">
                <a:moveTo>
                  <a:pt x="152400" y="277367"/>
                </a:moveTo>
                <a:lnTo>
                  <a:pt x="149339" y="277367"/>
                </a:lnTo>
                <a:lnTo>
                  <a:pt x="143243" y="283451"/>
                </a:lnTo>
                <a:lnTo>
                  <a:pt x="152400" y="283451"/>
                </a:lnTo>
                <a:lnTo>
                  <a:pt x="152400" y="277367"/>
                </a:lnTo>
                <a:close/>
              </a:path>
              <a:path w="152400" h="289560">
                <a:moveTo>
                  <a:pt x="9131" y="6095"/>
                </a:moveTo>
                <a:lnTo>
                  <a:pt x="3048" y="9143"/>
                </a:lnTo>
                <a:lnTo>
                  <a:pt x="9131" y="9143"/>
                </a:lnTo>
                <a:lnTo>
                  <a:pt x="9131" y="6095"/>
                </a:lnTo>
                <a:close/>
              </a:path>
              <a:path w="152400" h="289560">
                <a:moveTo>
                  <a:pt x="143243" y="6095"/>
                </a:moveTo>
                <a:lnTo>
                  <a:pt x="9131" y="6095"/>
                </a:lnTo>
                <a:lnTo>
                  <a:pt x="9131" y="9143"/>
                </a:lnTo>
                <a:lnTo>
                  <a:pt x="143243" y="9143"/>
                </a:lnTo>
                <a:lnTo>
                  <a:pt x="143243" y="6095"/>
                </a:lnTo>
                <a:close/>
              </a:path>
              <a:path w="152400" h="289560">
                <a:moveTo>
                  <a:pt x="152400" y="6095"/>
                </a:moveTo>
                <a:lnTo>
                  <a:pt x="143243" y="6095"/>
                </a:lnTo>
                <a:lnTo>
                  <a:pt x="149339" y="9143"/>
                </a:lnTo>
                <a:lnTo>
                  <a:pt x="152400" y="9143"/>
                </a:lnTo>
                <a:lnTo>
                  <a:pt x="152400"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76" name="object 117">
            <a:extLst>
              <a:ext uri="{FF2B5EF4-FFF2-40B4-BE49-F238E27FC236}">
                <a16:creationId xmlns:a16="http://schemas.microsoft.com/office/drawing/2014/main" id="{D3302B4C-EE94-4083-BC03-3BBCE36AD103}"/>
              </a:ext>
            </a:extLst>
          </p:cNvPr>
          <p:cNvSpPr>
            <a:spLocks/>
          </p:cNvSpPr>
          <p:nvPr/>
        </p:nvSpPr>
        <p:spPr bwMode="auto">
          <a:xfrm>
            <a:off x="8792093" y="3465802"/>
            <a:ext cx="0" cy="277813"/>
          </a:xfrm>
          <a:custGeom>
            <a:avLst/>
            <a:gdLst>
              <a:gd name="T0" fmla="*/ 0 h 277355"/>
              <a:gd name="T1" fmla="*/ 278272 h 277355"/>
              <a:gd name="T2" fmla="*/ 0 60000 65536"/>
              <a:gd name="T3" fmla="*/ 0 60000 65536"/>
            </a:gdLst>
            <a:ahLst/>
            <a:cxnLst>
              <a:cxn ang="T2">
                <a:pos x="0" y="T0"/>
              </a:cxn>
              <a:cxn ang="T3">
                <a:pos x="0" y="T1"/>
              </a:cxn>
            </a:cxnLst>
            <a:rect l="0" t="0" r="r" b="b"/>
            <a:pathLst>
              <a:path h="277355">
                <a:moveTo>
                  <a:pt x="0" y="0"/>
                </a:moveTo>
                <a:lnTo>
                  <a:pt x="0" y="277355"/>
                </a:lnTo>
              </a:path>
            </a:pathLst>
          </a:custGeom>
          <a:noFill/>
          <a:ln w="31737">
            <a:solidFill>
              <a:srgbClr val="6783A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77" name="object 118">
            <a:extLst>
              <a:ext uri="{FF2B5EF4-FFF2-40B4-BE49-F238E27FC236}">
                <a16:creationId xmlns:a16="http://schemas.microsoft.com/office/drawing/2014/main" id="{FECD6CE8-8DA5-4F7B-814D-390F1457C633}"/>
              </a:ext>
            </a:extLst>
          </p:cNvPr>
          <p:cNvSpPr>
            <a:spLocks/>
          </p:cNvSpPr>
          <p:nvPr/>
        </p:nvSpPr>
        <p:spPr bwMode="auto">
          <a:xfrm>
            <a:off x="8774631" y="3459452"/>
            <a:ext cx="36512" cy="288925"/>
          </a:xfrm>
          <a:custGeom>
            <a:avLst/>
            <a:gdLst>
              <a:gd name="T0" fmla="*/ 36461 w 36563"/>
              <a:gd name="T1" fmla="*/ 0 h 289560"/>
              <a:gd name="T2" fmla="*/ 0 w 36563"/>
              <a:gd name="T3" fmla="*/ 0 h 289560"/>
              <a:gd name="T4" fmla="*/ 0 w 36563"/>
              <a:gd name="T5" fmla="*/ 288290 h 289560"/>
              <a:gd name="T6" fmla="*/ 36461 w 36563"/>
              <a:gd name="T7" fmla="*/ 288290 h 289560"/>
              <a:gd name="T8" fmla="*/ 36461 w 36563"/>
              <a:gd name="T9" fmla="*/ 282209 h 289560"/>
              <a:gd name="T10" fmla="*/ 9105 w 36563"/>
              <a:gd name="T11" fmla="*/ 282209 h 289560"/>
              <a:gd name="T12" fmla="*/ 3040 w 36563"/>
              <a:gd name="T13" fmla="*/ 276152 h 289560"/>
              <a:gd name="T14" fmla="*/ 9105 w 36563"/>
              <a:gd name="T15" fmla="*/ 276152 h 289560"/>
              <a:gd name="T16" fmla="*/ 9105 w 36563"/>
              <a:gd name="T17" fmla="*/ 9103 h 289560"/>
              <a:gd name="T18" fmla="*/ 3040 w 36563"/>
              <a:gd name="T19" fmla="*/ 9103 h 289560"/>
              <a:gd name="T20" fmla="*/ 9105 w 36563"/>
              <a:gd name="T21" fmla="*/ 6069 h 289560"/>
              <a:gd name="T22" fmla="*/ 36461 w 36563"/>
              <a:gd name="T23" fmla="*/ 6069 h 289560"/>
              <a:gd name="T24" fmla="*/ 36461 w 36563"/>
              <a:gd name="T25" fmla="*/ 0 h 289560"/>
              <a:gd name="T26" fmla="*/ 9105 w 36563"/>
              <a:gd name="T27" fmla="*/ 276152 h 289560"/>
              <a:gd name="T28" fmla="*/ 3040 w 36563"/>
              <a:gd name="T29" fmla="*/ 276152 h 289560"/>
              <a:gd name="T30" fmla="*/ 9105 w 36563"/>
              <a:gd name="T31" fmla="*/ 282209 h 289560"/>
              <a:gd name="T32" fmla="*/ 9105 w 36563"/>
              <a:gd name="T33" fmla="*/ 276152 h 289560"/>
              <a:gd name="T34" fmla="*/ 27343 w 36563"/>
              <a:gd name="T35" fmla="*/ 276152 h 289560"/>
              <a:gd name="T36" fmla="*/ 9105 w 36563"/>
              <a:gd name="T37" fmla="*/ 276152 h 289560"/>
              <a:gd name="T38" fmla="*/ 9105 w 36563"/>
              <a:gd name="T39" fmla="*/ 282209 h 289560"/>
              <a:gd name="T40" fmla="*/ 27343 w 36563"/>
              <a:gd name="T41" fmla="*/ 282209 h 289560"/>
              <a:gd name="T42" fmla="*/ 27343 w 36563"/>
              <a:gd name="T43" fmla="*/ 276152 h 289560"/>
              <a:gd name="T44" fmla="*/ 27343 w 36563"/>
              <a:gd name="T45" fmla="*/ 6069 h 289560"/>
              <a:gd name="T46" fmla="*/ 27343 w 36563"/>
              <a:gd name="T47" fmla="*/ 282209 h 289560"/>
              <a:gd name="T48" fmla="*/ 33421 w 36563"/>
              <a:gd name="T49" fmla="*/ 276152 h 289560"/>
              <a:gd name="T50" fmla="*/ 36461 w 36563"/>
              <a:gd name="T51" fmla="*/ 276152 h 289560"/>
              <a:gd name="T52" fmla="*/ 36461 w 36563"/>
              <a:gd name="T53" fmla="*/ 9103 h 289560"/>
              <a:gd name="T54" fmla="*/ 33421 w 36563"/>
              <a:gd name="T55" fmla="*/ 9103 h 289560"/>
              <a:gd name="T56" fmla="*/ 27343 w 36563"/>
              <a:gd name="T57" fmla="*/ 6069 h 289560"/>
              <a:gd name="T58" fmla="*/ 36461 w 36563"/>
              <a:gd name="T59" fmla="*/ 276152 h 289560"/>
              <a:gd name="T60" fmla="*/ 33421 w 36563"/>
              <a:gd name="T61" fmla="*/ 276152 h 289560"/>
              <a:gd name="T62" fmla="*/ 27343 w 36563"/>
              <a:gd name="T63" fmla="*/ 282209 h 289560"/>
              <a:gd name="T64" fmla="*/ 36461 w 36563"/>
              <a:gd name="T65" fmla="*/ 282209 h 289560"/>
              <a:gd name="T66" fmla="*/ 36461 w 36563"/>
              <a:gd name="T67" fmla="*/ 276152 h 289560"/>
              <a:gd name="T68" fmla="*/ 9105 w 36563"/>
              <a:gd name="T69" fmla="*/ 6069 h 289560"/>
              <a:gd name="T70" fmla="*/ 3040 w 36563"/>
              <a:gd name="T71" fmla="*/ 9103 h 289560"/>
              <a:gd name="T72" fmla="*/ 9105 w 36563"/>
              <a:gd name="T73" fmla="*/ 9103 h 289560"/>
              <a:gd name="T74" fmla="*/ 9105 w 36563"/>
              <a:gd name="T75" fmla="*/ 6069 h 289560"/>
              <a:gd name="T76" fmla="*/ 27343 w 36563"/>
              <a:gd name="T77" fmla="*/ 6069 h 289560"/>
              <a:gd name="T78" fmla="*/ 9105 w 36563"/>
              <a:gd name="T79" fmla="*/ 6069 h 289560"/>
              <a:gd name="T80" fmla="*/ 9105 w 36563"/>
              <a:gd name="T81" fmla="*/ 9103 h 289560"/>
              <a:gd name="T82" fmla="*/ 27343 w 36563"/>
              <a:gd name="T83" fmla="*/ 9103 h 289560"/>
              <a:gd name="T84" fmla="*/ 27343 w 36563"/>
              <a:gd name="T85" fmla="*/ 6069 h 289560"/>
              <a:gd name="T86" fmla="*/ 36461 w 36563"/>
              <a:gd name="T87" fmla="*/ 6069 h 289560"/>
              <a:gd name="T88" fmla="*/ 27343 w 36563"/>
              <a:gd name="T89" fmla="*/ 6069 h 289560"/>
              <a:gd name="T90" fmla="*/ 33421 w 36563"/>
              <a:gd name="T91" fmla="*/ 9103 h 289560"/>
              <a:gd name="T92" fmla="*/ 36461 w 36563"/>
              <a:gd name="T93" fmla="*/ 9103 h 289560"/>
              <a:gd name="T94" fmla="*/ 36461 w 36563"/>
              <a:gd name="T95" fmla="*/ 6069 h 28956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6563" h="289560">
                <a:moveTo>
                  <a:pt x="36563" y="0"/>
                </a:moveTo>
                <a:lnTo>
                  <a:pt x="0" y="0"/>
                </a:lnTo>
                <a:lnTo>
                  <a:pt x="0" y="289559"/>
                </a:lnTo>
                <a:lnTo>
                  <a:pt x="36563" y="289559"/>
                </a:lnTo>
                <a:lnTo>
                  <a:pt x="36563" y="283451"/>
                </a:lnTo>
                <a:lnTo>
                  <a:pt x="9131" y="283451"/>
                </a:lnTo>
                <a:lnTo>
                  <a:pt x="3048" y="277367"/>
                </a:lnTo>
                <a:lnTo>
                  <a:pt x="9131" y="277367"/>
                </a:lnTo>
                <a:lnTo>
                  <a:pt x="9131" y="9143"/>
                </a:lnTo>
                <a:lnTo>
                  <a:pt x="3048" y="9143"/>
                </a:lnTo>
                <a:lnTo>
                  <a:pt x="9131" y="6095"/>
                </a:lnTo>
                <a:lnTo>
                  <a:pt x="36563" y="6095"/>
                </a:lnTo>
                <a:lnTo>
                  <a:pt x="36563" y="0"/>
                </a:lnTo>
                <a:close/>
              </a:path>
              <a:path w="36563" h="289560">
                <a:moveTo>
                  <a:pt x="9131" y="277367"/>
                </a:moveTo>
                <a:lnTo>
                  <a:pt x="3048" y="277367"/>
                </a:lnTo>
                <a:lnTo>
                  <a:pt x="9131" y="283451"/>
                </a:lnTo>
                <a:lnTo>
                  <a:pt x="9131" y="277367"/>
                </a:lnTo>
                <a:close/>
              </a:path>
              <a:path w="36563" h="289560">
                <a:moveTo>
                  <a:pt x="27419" y="277367"/>
                </a:moveTo>
                <a:lnTo>
                  <a:pt x="9131" y="277367"/>
                </a:lnTo>
                <a:lnTo>
                  <a:pt x="9131" y="283451"/>
                </a:lnTo>
                <a:lnTo>
                  <a:pt x="27419" y="283451"/>
                </a:lnTo>
                <a:lnTo>
                  <a:pt x="27419" y="277367"/>
                </a:lnTo>
                <a:close/>
              </a:path>
              <a:path w="36563" h="289560">
                <a:moveTo>
                  <a:pt x="27419" y="6095"/>
                </a:moveTo>
                <a:lnTo>
                  <a:pt x="27419" y="283451"/>
                </a:lnTo>
                <a:lnTo>
                  <a:pt x="33515" y="277367"/>
                </a:lnTo>
                <a:lnTo>
                  <a:pt x="36563" y="277367"/>
                </a:lnTo>
                <a:lnTo>
                  <a:pt x="36563" y="9143"/>
                </a:lnTo>
                <a:lnTo>
                  <a:pt x="33515" y="9143"/>
                </a:lnTo>
                <a:lnTo>
                  <a:pt x="27419" y="6095"/>
                </a:lnTo>
                <a:close/>
              </a:path>
              <a:path w="36563" h="289560">
                <a:moveTo>
                  <a:pt x="36563" y="277367"/>
                </a:moveTo>
                <a:lnTo>
                  <a:pt x="33515" y="277367"/>
                </a:lnTo>
                <a:lnTo>
                  <a:pt x="27419" y="283451"/>
                </a:lnTo>
                <a:lnTo>
                  <a:pt x="36563" y="283451"/>
                </a:lnTo>
                <a:lnTo>
                  <a:pt x="36563" y="277367"/>
                </a:lnTo>
                <a:close/>
              </a:path>
              <a:path w="36563" h="289560">
                <a:moveTo>
                  <a:pt x="9131" y="6095"/>
                </a:moveTo>
                <a:lnTo>
                  <a:pt x="3048" y="9143"/>
                </a:lnTo>
                <a:lnTo>
                  <a:pt x="9131" y="9143"/>
                </a:lnTo>
                <a:lnTo>
                  <a:pt x="9131" y="6095"/>
                </a:lnTo>
                <a:close/>
              </a:path>
              <a:path w="36563" h="289560">
                <a:moveTo>
                  <a:pt x="27419" y="6095"/>
                </a:moveTo>
                <a:lnTo>
                  <a:pt x="9131" y="6095"/>
                </a:lnTo>
                <a:lnTo>
                  <a:pt x="9131" y="9143"/>
                </a:lnTo>
                <a:lnTo>
                  <a:pt x="27419" y="9143"/>
                </a:lnTo>
                <a:lnTo>
                  <a:pt x="27419" y="6095"/>
                </a:lnTo>
                <a:close/>
              </a:path>
              <a:path w="36563" h="289560">
                <a:moveTo>
                  <a:pt x="36563" y="6095"/>
                </a:moveTo>
                <a:lnTo>
                  <a:pt x="27419" y="6095"/>
                </a:lnTo>
                <a:lnTo>
                  <a:pt x="33515" y="9143"/>
                </a:lnTo>
                <a:lnTo>
                  <a:pt x="36563" y="9143"/>
                </a:lnTo>
                <a:lnTo>
                  <a:pt x="36563"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78" name="object 119">
            <a:extLst>
              <a:ext uri="{FF2B5EF4-FFF2-40B4-BE49-F238E27FC236}">
                <a16:creationId xmlns:a16="http://schemas.microsoft.com/office/drawing/2014/main" id="{3797E253-77ED-4A3C-9D8E-9007D853145B}"/>
              </a:ext>
            </a:extLst>
          </p:cNvPr>
          <p:cNvSpPr>
            <a:spLocks/>
          </p:cNvSpPr>
          <p:nvPr/>
        </p:nvSpPr>
        <p:spPr bwMode="auto">
          <a:xfrm>
            <a:off x="8668268" y="3472152"/>
            <a:ext cx="46038" cy="7938"/>
          </a:xfrm>
          <a:custGeom>
            <a:avLst/>
            <a:gdLst>
              <a:gd name="T0" fmla="*/ 0 w 45720"/>
              <a:gd name="T1" fmla="*/ 3450 h 9131"/>
              <a:gd name="T2" fmla="*/ 46358 w 45720"/>
              <a:gd name="T3" fmla="*/ 3450 h 9131"/>
              <a:gd name="T4" fmla="*/ 0 60000 65536"/>
              <a:gd name="T5" fmla="*/ 0 60000 65536"/>
            </a:gdLst>
            <a:ahLst/>
            <a:cxnLst>
              <a:cxn ang="T4">
                <a:pos x="T0" y="T1"/>
              </a:cxn>
              <a:cxn ang="T5">
                <a:pos x="T2" y="T3"/>
              </a:cxn>
            </a:cxnLst>
            <a:rect l="0" t="0" r="r" b="b"/>
            <a:pathLst>
              <a:path w="45720" h="9131">
                <a:moveTo>
                  <a:pt x="0" y="4565"/>
                </a:moveTo>
                <a:lnTo>
                  <a:pt x="45720" y="4565"/>
                </a:lnTo>
              </a:path>
            </a:pathLst>
          </a:custGeom>
          <a:noFill/>
          <a:ln w="10401">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79" name="object 120">
            <a:extLst>
              <a:ext uri="{FF2B5EF4-FFF2-40B4-BE49-F238E27FC236}">
                <a16:creationId xmlns:a16="http://schemas.microsoft.com/office/drawing/2014/main" id="{711C166D-6B08-4A68-8647-9FD08112B4FE}"/>
              </a:ext>
            </a:extLst>
          </p:cNvPr>
          <p:cNvSpPr>
            <a:spLocks/>
          </p:cNvSpPr>
          <p:nvPr/>
        </p:nvSpPr>
        <p:spPr bwMode="auto">
          <a:xfrm>
            <a:off x="8692081" y="3675352"/>
            <a:ext cx="22225" cy="46038"/>
          </a:xfrm>
          <a:custGeom>
            <a:avLst/>
            <a:gdLst>
              <a:gd name="T0" fmla="*/ 0 w 21323"/>
              <a:gd name="T1" fmla="*/ 23185 h 45707"/>
              <a:gd name="T2" fmla="*/ 23165 w 21323"/>
              <a:gd name="T3" fmla="*/ 23185 h 45707"/>
              <a:gd name="T4" fmla="*/ 0 60000 65536"/>
              <a:gd name="T5" fmla="*/ 0 60000 65536"/>
            </a:gdLst>
            <a:ahLst/>
            <a:cxnLst>
              <a:cxn ang="T4">
                <a:pos x="T0" y="T1"/>
              </a:cxn>
              <a:cxn ang="T5">
                <a:pos x="T2" y="T3"/>
              </a:cxn>
            </a:cxnLst>
            <a:rect l="0" t="0" r="r" b="b"/>
            <a:pathLst>
              <a:path w="21323" h="45707">
                <a:moveTo>
                  <a:pt x="0" y="22853"/>
                </a:moveTo>
                <a:lnTo>
                  <a:pt x="21323" y="22853"/>
                </a:lnTo>
              </a:path>
            </a:pathLst>
          </a:custGeom>
          <a:noFill/>
          <a:ln w="46977">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80" name="object 121">
            <a:extLst>
              <a:ext uri="{FF2B5EF4-FFF2-40B4-BE49-F238E27FC236}">
                <a16:creationId xmlns:a16="http://schemas.microsoft.com/office/drawing/2014/main" id="{04170DA6-75AD-4613-A70D-E208782EBDBF}"/>
              </a:ext>
            </a:extLst>
          </p:cNvPr>
          <p:cNvSpPr>
            <a:spLocks/>
          </p:cNvSpPr>
          <p:nvPr/>
        </p:nvSpPr>
        <p:spPr bwMode="auto">
          <a:xfrm>
            <a:off x="8685731" y="3681702"/>
            <a:ext cx="9525" cy="9525"/>
          </a:xfrm>
          <a:custGeom>
            <a:avLst/>
            <a:gdLst>
              <a:gd name="T0" fmla="*/ 0 w 9144"/>
              <a:gd name="T1" fmla="*/ 4967 h 9131"/>
              <a:gd name="T2" fmla="*/ 9922 w 9144"/>
              <a:gd name="T3" fmla="*/ 4967 h 9131"/>
              <a:gd name="T4" fmla="*/ 0 60000 65536"/>
              <a:gd name="T5" fmla="*/ 0 60000 65536"/>
            </a:gdLst>
            <a:ahLst/>
            <a:cxnLst>
              <a:cxn ang="T4">
                <a:pos x="T0" y="T1"/>
              </a:cxn>
              <a:cxn ang="T5">
                <a:pos x="T2" y="T3"/>
              </a:cxn>
            </a:cxnLst>
            <a:rect l="0" t="0" r="r" b="b"/>
            <a:pathLst>
              <a:path w="9144" h="9131">
                <a:moveTo>
                  <a:pt x="0" y="4565"/>
                </a:moveTo>
                <a:lnTo>
                  <a:pt x="9144" y="4565"/>
                </a:lnTo>
              </a:path>
            </a:pathLst>
          </a:custGeom>
          <a:noFill/>
          <a:ln w="10401">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81" name="object 122">
            <a:extLst>
              <a:ext uri="{FF2B5EF4-FFF2-40B4-BE49-F238E27FC236}">
                <a16:creationId xmlns:a16="http://schemas.microsoft.com/office/drawing/2014/main" id="{2705FDEE-CFF7-4331-8EF9-09DE49C65E61}"/>
              </a:ext>
            </a:extLst>
          </p:cNvPr>
          <p:cNvSpPr>
            <a:spLocks/>
          </p:cNvSpPr>
          <p:nvPr/>
        </p:nvSpPr>
        <p:spPr bwMode="auto">
          <a:xfrm>
            <a:off x="8685731" y="3703927"/>
            <a:ext cx="9525" cy="7938"/>
          </a:xfrm>
          <a:custGeom>
            <a:avLst/>
            <a:gdLst>
              <a:gd name="T0" fmla="*/ 0 w 9144"/>
              <a:gd name="T1" fmla="*/ 3446 h 9144"/>
              <a:gd name="T2" fmla="*/ 9922 w 9144"/>
              <a:gd name="T3" fmla="*/ 3446 h 9144"/>
              <a:gd name="T4" fmla="*/ 0 60000 65536"/>
              <a:gd name="T5" fmla="*/ 0 60000 65536"/>
            </a:gdLst>
            <a:ahLst/>
            <a:cxnLst>
              <a:cxn ang="T4">
                <a:pos x="T0" y="T1"/>
              </a:cxn>
              <a:cxn ang="T5">
                <a:pos x="T2" y="T3"/>
              </a:cxn>
            </a:cxnLst>
            <a:rect l="0" t="0" r="r" b="b"/>
            <a:pathLst>
              <a:path w="9144" h="9144">
                <a:moveTo>
                  <a:pt x="0" y="4572"/>
                </a:moveTo>
                <a:lnTo>
                  <a:pt x="9144" y="4572"/>
                </a:lnTo>
              </a:path>
            </a:pathLst>
          </a:custGeom>
          <a:noFill/>
          <a:ln w="10413">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82" name="object 123">
            <a:extLst>
              <a:ext uri="{FF2B5EF4-FFF2-40B4-BE49-F238E27FC236}">
                <a16:creationId xmlns:a16="http://schemas.microsoft.com/office/drawing/2014/main" id="{434A911A-B343-4FD9-B4C3-1C408423B995}"/>
              </a:ext>
            </a:extLst>
          </p:cNvPr>
          <p:cNvSpPr>
            <a:spLocks/>
          </p:cNvSpPr>
          <p:nvPr/>
        </p:nvSpPr>
        <p:spPr bwMode="auto">
          <a:xfrm>
            <a:off x="8747643" y="3697577"/>
            <a:ext cx="20638" cy="23813"/>
          </a:xfrm>
          <a:custGeom>
            <a:avLst/>
            <a:gdLst>
              <a:gd name="T0" fmla="*/ 0 w 21335"/>
              <a:gd name="T1" fmla="*/ 11633 h 24371"/>
              <a:gd name="T2" fmla="*/ 19964 w 21335"/>
              <a:gd name="T3" fmla="*/ 11633 h 24371"/>
              <a:gd name="T4" fmla="*/ 0 60000 65536"/>
              <a:gd name="T5" fmla="*/ 0 60000 65536"/>
            </a:gdLst>
            <a:ahLst/>
            <a:cxnLst>
              <a:cxn ang="T4">
                <a:pos x="T0" y="T1"/>
              </a:cxn>
              <a:cxn ang="T5">
                <a:pos x="T2" y="T3"/>
              </a:cxn>
            </a:cxnLst>
            <a:rect l="0" t="0" r="r" b="b"/>
            <a:pathLst>
              <a:path w="21335" h="24371">
                <a:moveTo>
                  <a:pt x="0" y="12185"/>
                </a:moveTo>
                <a:lnTo>
                  <a:pt x="21335" y="12185"/>
                </a:lnTo>
              </a:path>
            </a:pathLst>
          </a:custGeom>
          <a:noFill/>
          <a:ln w="25641">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83" name="object 124">
            <a:extLst>
              <a:ext uri="{FF2B5EF4-FFF2-40B4-BE49-F238E27FC236}">
                <a16:creationId xmlns:a16="http://schemas.microsoft.com/office/drawing/2014/main" id="{A0401424-9136-4C2B-B91E-6DB9E5E4470E}"/>
              </a:ext>
            </a:extLst>
          </p:cNvPr>
          <p:cNvSpPr>
            <a:spLocks/>
          </p:cNvSpPr>
          <p:nvPr/>
        </p:nvSpPr>
        <p:spPr bwMode="auto">
          <a:xfrm>
            <a:off x="8741293" y="3703927"/>
            <a:ext cx="9525" cy="7938"/>
          </a:xfrm>
          <a:custGeom>
            <a:avLst/>
            <a:gdLst>
              <a:gd name="T0" fmla="*/ 0 w 9131"/>
              <a:gd name="T1" fmla="*/ 3446 h 9144"/>
              <a:gd name="T2" fmla="*/ 9936 w 9131"/>
              <a:gd name="T3" fmla="*/ 3446 h 9144"/>
              <a:gd name="T4" fmla="*/ 0 60000 65536"/>
              <a:gd name="T5" fmla="*/ 0 60000 65536"/>
            </a:gdLst>
            <a:ahLst/>
            <a:cxnLst>
              <a:cxn ang="T4">
                <a:pos x="T0" y="T1"/>
              </a:cxn>
              <a:cxn ang="T5">
                <a:pos x="T2" y="T3"/>
              </a:cxn>
            </a:cxnLst>
            <a:rect l="0" t="0" r="r" b="b"/>
            <a:pathLst>
              <a:path w="9131" h="9144">
                <a:moveTo>
                  <a:pt x="0" y="4572"/>
                </a:moveTo>
                <a:lnTo>
                  <a:pt x="9131" y="4572"/>
                </a:lnTo>
              </a:path>
            </a:pathLst>
          </a:custGeom>
          <a:noFill/>
          <a:ln w="10413">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84" name="object 125">
            <a:extLst>
              <a:ext uri="{FF2B5EF4-FFF2-40B4-BE49-F238E27FC236}">
                <a16:creationId xmlns:a16="http://schemas.microsoft.com/office/drawing/2014/main" id="{E45B408E-A6FC-493B-8E2F-7CDE8B418B93}"/>
              </a:ext>
            </a:extLst>
          </p:cNvPr>
          <p:cNvSpPr>
            <a:spLocks/>
          </p:cNvSpPr>
          <p:nvPr/>
        </p:nvSpPr>
        <p:spPr bwMode="auto">
          <a:xfrm>
            <a:off x="8671443" y="3489615"/>
            <a:ext cx="44450" cy="39687"/>
          </a:xfrm>
          <a:custGeom>
            <a:avLst/>
            <a:gdLst>
              <a:gd name="T0" fmla="*/ 37453 w 45720"/>
              <a:gd name="T1" fmla="*/ 0 h 39611"/>
              <a:gd name="T2" fmla="*/ 2881 w 45720"/>
              <a:gd name="T3" fmla="*/ 0 h 39611"/>
              <a:gd name="T4" fmla="*/ 0 w 45720"/>
              <a:gd name="T5" fmla="*/ 3060 h 39611"/>
              <a:gd name="T6" fmla="*/ 0 w 45720"/>
              <a:gd name="T7" fmla="*/ 36703 h 39611"/>
              <a:gd name="T8" fmla="*/ 2881 w 45720"/>
              <a:gd name="T9" fmla="*/ 39763 h 39611"/>
              <a:gd name="T10" fmla="*/ 37453 w 45720"/>
              <a:gd name="T11" fmla="*/ 39763 h 39611"/>
              <a:gd name="T12" fmla="*/ 43215 w 45720"/>
              <a:gd name="T13" fmla="*/ 36703 h 39611"/>
              <a:gd name="T14" fmla="*/ 43215 w 45720"/>
              <a:gd name="T15" fmla="*/ 3060 h 39611"/>
              <a:gd name="T16" fmla="*/ 37453 w 45720"/>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20" h="39611">
                <a:moveTo>
                  <a:pt x="39624" y="0"/>
                </a:moveTo>
                <a:lnTo>
                  <a:pt x="3048" y="0"/>
                </a:lnTo>
                <a:lnTo>
                  <a:pt x="0" y="3048"/>
                </a:lnTo>
                <a:lnTo>
                  <a:pt x="0" y="36563"/>
                </a:lnTo>
                <a:lnTo>
                  <a:pt x="3048" y="39611"/>
                </a:lnTo>
                <a:lnTo>
                  <a:pt x="39624" y="39611"/>
                </a:lnTo>
                <a:lnTo>
                  <a:pt x="45720" y="36563"/>
                </a:lnTo>
                <a:lnTo>
                  <a:pt x="45720" y="3048"/>
                </a:lnTo>
                <a:lnTo>
                  <a:pt x="39624"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85" name="object 126">
            <a:extLst>
              <a:ext uri="{FF2B5EF4-FFF2-40B4-BE49-F238E27FC236}">
                <a16:creationId xmlns:a16="http://schemas.microsoft.com/office/drawing/2014/main" id="{BD1BFBEF-C5C8-40CC-B710-9885C48C1337}"/>
              </a:ext>
            </a:extLst>
          </p:cNvPr>
          <p:cNvSpPr>
            <a:spLocks/>
          </p:cNvSpPr>
          <p:nvPr/>
        </p:nvSpPr>
        <p:spPr bwMode="auto">
          <a:xfrm>
            <a:off x="8677793" y="3495965"/>
            <a:ext cx="33338" cy="30162"/>
          </a:xfrm>
          <a:custGeom>
            <a:avLst/>
            <a:gdLst>
              <a:gd name="T0" fmla="*/ 30146 w 33515"/>
              <a:gd name="T1" fmla="*/ 0 h 30479"/>
              <a:gd name="T2" fmla="*/ 3016 w 33515"/>
              <a:gd name="T3" fmla="*/ 0 h 30479"/>
              <a:gd name="T4" fmla="*/ 0 w 33515"/>
              <a:gd name="T5" fmla="*/ 2984 h 30479"/>
              <a:gd name="T6" fmla="*/ 0 w 33515"/>
              <a:gd name="T7" fmla="*/ 26864 h 30479"/>
              <a:gd name="T8" fmla="*/ 3016 w 33515"/>
              <a:gd name="T9" fmla="*/ 29848 h 30479"/>
              <a:gd name="T10" fmla="*/ 30146 w 33515"/>
              <a:gd name="T11" fmla="*/ 29848 h 30479"/>
              <a:gd name="T12" fmla="*/ 33162 w 33515"/>
              <a:gd name="T13" fmla="*/ 26864 h 30479"/>
              <a:gd name="T14" fmla="*/ 33162 w 33515"/>
              <a:gd name="T15" fmla="*/ 2984 h 30479"/>
              <a:gd name="T16" fmla="*/ 30146 w 33515"/>
              <a:gd name="T17" fmla="*/ 0 h 304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30479">
                <a:moveTo>
                  <a:pt x="30467" y="0"/>
                </a:moveTo>
                <a:lnTo>
                  <a:pt x="3048" y="0"/>
                </a:lnTo>
                <a:lnTo>
                  <a:pt x="0" y="3047"/>
                </a:lnTo>
                <a:lnTo>
                  <a:pt x="0" y="27431"/>
                </a:lnTo>
                <a:lnTo>
                  <a:pt x="3048" y="30479"/>
                </a:lnTo>
                <a:lnTo>
                  <a:pt x="30467" y="30479"/>
                </a:lnTo>
                <a:lnTo>
                  <a:pt x="33515" y="27431"/>
                </a:lnTo>
                <a:lnTo>
                  <a:pt x="33515" y="3047"/>
                </a:lnTo>
                <a:lnTo>
                  <a:pt x="30467"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86" name="object 127">
            <a:extLst>
              <a:ext uri="{FF2B5EF4-FFF2-40B4-BE49-F238E27FC236}">
                <a16:creationId xmlns:a16="http://schemas.microsoft.com/office/drawing/2014/main" id="{811AE29E-1516-4BFE-B1BB-5F045F8B0A29}"/>
              </a:ext>
            </a:extLst>
          </p:cNvPr>
          <p:cNvSpPr>
            <a:spLocks/>
          </p:cNvSpPr>
          <p:nvPr/>
        </p:nvSpPr>
        <p:spPr bwMode="auto">
          <a:xfrm>
            <a:off x="8674618" y="3492790"/>
            <a:ext cx="39688" cy="36512"/>
          </a:xfrm>
          <a:custGeom>
            <a:avLst/>
            <a:gdLst>
              <a:gd name="T0" fmla="*/ 36681 w 39624"/>
              <a:gd name="T1" fmla="*/ 0 h 36563"/>
              <a:gd name="T2" fmla="*/ 3058 w 39624"/>
              <a:gd name="T3" fmla="*/ 0 h 36563"/>
              <a:gd name="T4" fmla="*/ 3058 w 39624"/>
              <a:gd name="T5" fmla="*/ 3027 h 36563"/>
              <a:gd name="T6" fmla="*/ 0 w 39624"/>
              <a:gd name="T7" fmla="*/ 6067 h 36563"/>
              <a:gd name="T8" fmla="*/ 0 w 39624"/>
              <a:gd name="T9" fmla="*/ 27330 h 36563"/>
              <a:gd name="T10" fmla="*/ 3058 w 39624"/>
              <a:gd name="T11" fmla="*/ 33421 h 36563"/>
              <a:gd name="T12" fmla="*/ 9174 w 39624"/>
              <a:gd name="T13" fmla="*/ 36461 h 36563"/>
              <a:gd name="T14" fmla="*/ 30578 w 39624"/>
              <a:gd name="T15" fmla="*/ 36461 h 36563"/>
              <a:gd name="T16" fmla="*/ 36681 w 39624"/>
              <a:gd name="T17" fmla="*/ 33421 h 36563"/>
              <a:gd name="T18" fmla="*/ 38214 w 39624"/>
              <a:gd name="T19" fmla="*/ 30383 h 36563"/>
              <a:gd name="T20" fmla="*/ 6116 w 39624"/>
              <a:gd name="T21" fmla="*/ 30383 h 36563"/>
              <a:gd name="T22" fmla="*/ 6116 w 39624"/>
              <a:gd name="T23" fmla="*/ 6067 h 36563"/>
              <a:gd name="T24" fmla="*/ 39752 w 39624"/>
              <a:gd name="T25" fmla="*/ 6067 h 36563"/>
              <a:gd name="T26" fmla="*/ 36681 w 39624"/>
              <a:gd name="T27" fmla="*/ 3027 h 36563"/>
              <a:gd name="T28" fmla="*/ 36681 w 39624"/>
              <a:gd name="T29" fmla="*/ 0 h 36563"/>
              <a:gd name="T30" fmla="*/ 6116 w 39624"/>
              <a:gd name="T31" fmla="*/ 27330 h 36563"/>
              <a:gd name="T32" fmla="*/ 6116 w 39624"/>
              <a:gd name="T33" fmla="*/ 30383 h 36563"/>
              <a:gd name="T34" fmla="*/ 9174 w 39624"/>
              <a:gd name="T35" fmla="*/ 30383 h 36563"/>
              <a:gd name="T36" fmla="*/ 6116 w 39624"/>
              <a:gd name="T37" fmla="*/ 27330 h 36563"/>
              <a:gd name="T38" fmla="*/ 31597 w 39624"/>
              <a:gd name="T39" fmla="*/ 28342 h 36563"/>
              <a:gd name="T40" fmla="*/ 27520 w 39624"/>
              <a:gd name="T41" fmla="*/ 30383 h 36563"/>
              <a:gd name="T42" fmla="*/ 30578 w 39624"/>
              <a:gd name="T43" fmla="*/ 30383 h 36563"/>
              <a:gd name="T44" fmla="*/ 31597 w 39624"/>
              <a:gd name="T45" fmla="*/ 28342 h 36563"/>
              <a:gd name="T46" fmla="*/ 33623 w 39624"/>
              <a:gd name="T47" fmla="*/ 27330 h 36563"/>
              <a:gd name="T48" fmla="*/ 31597 w 39624"/>
              <a:gd name="T49" fmla="*/ 28342 h 36563"/>
              <a:gd name="T50" fmla="*/ 30578 w 39624"/>
              <a:gd name="T51" fmla="*/ 30383 h 36563"/>
              <a:gd name="T52" fmla="*/ 33623 w 39624"/>
              <a:gd name="T53" fmla="*/ 27330 h 36563"/>
              <a:gd name="T54" fmla="*/ 39752 w 39624"/>
              <a:gd name="T55" fmla="*/ 6067 h 36563"/>
              <a:gd name="T56" fmla="*/ 30578 w 39624"/>
              <a:gd name="T57" fmla="*/ 6067 h 36563"/>
              <a:gd name="T58" fmla="*/ 33623 w 39624"/>
              <a:gd name="T59" fmla="*/ 9105 h 36563"/>
              <a:gd name="T60" fmla="*/ 33623 w 39624"/>
              <a:gd name="T61" fmla="*/ 27330 h 36563"/>
              <a:gd name="T62" fmla="*/ 30578 w 39624"/>
              <a:gd name="T63" fmla="*/ 30383 h 36563"/>
              <a:gd name="T64" fmla="*/ 38214 w 39624"/>
              <a:gd name="T65" fmla="*/ 30383 h 36563"/>
              <a:gd name="T66" fmla="*/ 39752 w 39624"/>
              <a:gd name="T67" fmla="*/ 27330 h 36563"/>
              <a:gd name="T68" fmla="*/ 39752 w 39624"/>
              <a:gd name="T69" fmla="*/ 6067 h 36563"/>
              <a:gd name="T70" fmla="*/ 33623 w 39624"/>
              <a:gd name="T71" fmla="*/ 24290 h 36563"/>
              <a:gd name="T72" fmla="*/ 31597 w 39624"/>
              <a:gd name="T73" fmla="*/ 28342 h 36563"/>
              <a:gd name="T74" fmla="*/ 33623 w 39624"/>
              <a:gd name="T75" fmla="*/ 27330 h 36563"/>
              <a:gd name="T76" fmla="*/ 33623 w 39624"/>
              <a:gd name="T77" fmla="*/ 24290 h 3656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9624" h="36563">
                <a:moveTo>
                  <a:pt x="36563" y="0"/>
                </a:moveTo>
                <a:lnTo>
                  <a:pt x="3048" y="0"/>
                </a:lnTo>
                <a:lnTo>
                  <a:pt x="3048" y="3035"/>
                </a:lnTo>
                <a:lnTo>
                  <a:pt x="0" y="6083"/>
                </a:lnTo>
                <a:lnTo>
                  <a:pt x="0" y="27406"/>
                </a:lnTo>
                <a:lnTo>
                  <a:pt x="3048" y="33515"/>
                </a:lnTo>
                <a:lnTo>
                  <a:pt x="9144" y="36563"/>
                </a:lnTo>
                <a:lnTo>
                  <a:pt x="30480" y="36563"/>
                </a:lnTo>
                <a:lnTo>
                  <a:pt x="36563" y="33515"/>
                </a:lnTo>
                <a:lnTo>
                  <a:pt x="38090" y="30467"/>
                </a:lnTo>
                <a:lnTo>
                  <a:pt x="6096" y="30467"/>
                </a:lnTo>
                <a:lnTo>
                  <a:pt x="6096" y="6083"/>
                </a:lnTo>
                <a:lnTo>
                  <a:pt x="39624" y="6083"/>
                </a:lnTo>
                <a:lnTo>
                  <a:pt x="36563" y="3035"/>
                </a:lnTo>
                <a:lnTo>
                  <a:pt x="36563" y="0"/>
                </a:lnTo>
                <a:close/>
              </a:path>
              <a:path w="39624" h="36563">
                <a:moveTo>
                  <a:pt x="6096" y="27406"/>
                </a:moveTo>
                <a:lnTo>
                  <a:pt x="6096" y="30467"/>
                </a:lnTo>
                <a:lnTo>
                  <a:pt x="9144" y="30467"/>
                </a:lnTo>
                <a:lnTo>
                  <a:pt x="6096" y="27406"/>
                </a:lnTo>
                <a:close/>
              </a:path>
              <a:path w="39624" h="36563">
                <a:moveTo>
                  <a:pt x="31495" y="28422"/>
                </a:moveTo>
                <a:lnTo>
                  <a:pt x="27432" y="30467"/>
                </a:lnTo>
                <a:lnTo>
                  <a:pt x="30480" y="30467"/>
                </a:lnTo>
                <a:lnTo>
                  <a:pt x="31495" y="28422"/>
                </a:lnTo>
                <a:close/>
              </a:path>
              <a:path w="39624" h="36563">
                <a:moveTo>
                  <a:pt x="33515" y="27406"/>
                </a:moveTo>
                <a:lnTo>
                  <a:pt x="31495" y="28422"/>
                </a:lnTo>
                <a:lnTo>
                  <a:pt x="30480" y="30467"/>
                </a:lnTo>
                <a:lnTo>
                  <a:pt x="33515" y="27406"/>
                </a:lnTo>
                <a:close/>
              </a:path>
              <a:path w="39624" h="36563">
                <a:moveTo>
                  <a:pt x="39624" y="6083"/>
                </a:moveTo>
                <a:lnTo>
                  <a:pt x="30480" y="6083"/>
                </a:lnTo>
                <a:lnTo>
                  <a:pt x="33515" y="9131"/>
                </a:lnTo>
                <a:lnTo>
                  <a:pt x="33515" y="27406"/>
                </a:lnTo>
                <a:lnTo>
                  <a:pt x="30480" y="30467"/>
                </a:lnTo>
                <a:lnTo>
                  <a:pt x="38090" y="30467"/>
                </a:lnTo>
                <a:lnTo>
                  <a:pt x="39624" y="27406"/>
                </a:lnTo>
                <a:lnTo>
                  <a:pt x="39624" y="6083"/>
                </a:lnTo>
                <a:close/>
              </a:path>
              <a:path w="39624" h="36563">
                <a:moveTo>
                  <a:pt x="33515" y="24358"/>
                </a:moveTo>
                <a:lnTo>
                  <a:pt x="31495" y="28422"/>
                </a:lnTo>
                <a:lnTo>
                  <a:pt x="33515" y="27406"/>
                </a:lnTo>
                <a:lnTo>
                  <a:pt x="33515" y="24358"/>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87" name="object 128">
            <a:extLst>
              <a:ext uri="{FF2B5EF4-FFF2-40B4-BE49-F238E27FC236}">
                <a16:creationId xmlns:a16="http://schemas.microsoft.com/office/drawing/2014/main" id="{80C91465-34B3-4F71-9A53-260B146C522E}"/>
              </a:ext>
            </a:extLst>
          </p:cNvPr>
          <p:cNvSpPr>
            <a:spLocks/>
          </p:cNvSpPr>
          <p:nvPr/>
        </p:nvSpPr>
        <p:spPr bwMode="auto">
          <a:xfrm>
            <a:off x="8671443" y="3535652"/>
            <a:ext cx="44450" cy="39688"/>
          </a:xfrm>
          <a:custGeom>
            <a:avLst/>
            <a:gdLst>
              <a:gd name="T0" fmla="*/ 37453 w 45720"/>
              <a:gd name="T1" fmla="*/ 0 h 39611"/>
              <a:gd name="T2" fmla="*/ 2881 w 45720"/>
              <a:gd name="T3" fmla="*/ 0 h 39611"/>
              <a:gd name="T4" fmla="*/ 0 w 45720"/>
              <a:gd name="T5" fmla="*/ 3059 h 39611"/>
              <a:gd name="T6" fmla="*/ 0 w 45720"/>
              <a:gd name="T7" fmla="*/ 36705 h 39611"/>
              <a:gd name="T8" fmla="*/ 2881 w 45720"/>
              <a:gd name="T9" fmla="*/ 39765 h 39611"/>
              <a:gd name="T10" fmla="*/ 37453 w 45720"/>
              <a:gd name="T11" fmla="*/ 39765 h 39611"/>
              <a:gd name="T12" fmla="*/ 43215 w 45720"/>
              <a:gd name="T13" fmla="*/ 36705 h 39611"/>
              <a:gd name="T14" fmla="*/ 43215 w 45720"/>
              <a:gd name="T15" fmla="*/ 3059 h 39611"/>
              <a:gd name="T16" fmla="*/ 37453 w 45720"/>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20" h="39611">
                <a:moveTo>
                  <a:pt x="39624" y="0"/>
                </a:moveTo>
                <a:lnTo>
                  <a:pt x="3048" y="0"/>
                </a:lnTo>
                <a:lnTo>
                  <a:pt x="0" y="3047"/>
                </a:lnTo>
                <a:lnTo>
                  <a:pt x="0" y="36563"/>
                </a:lnTo>
                <a:lnTo>
                  <a:pt x="3048" y="39611"/>
                </a:lnTo>
                <a:lnTo>
                  <a:pt x="39624" y="39611"/>
                </a:lnTo>
                <a:lnTo>
                  <a:pt x="45720" y="36563"/>
                </a:lnTo>
                <a:lnTo>
                  <a:pt x="45720" y="3047"/>
                </a:lnTo>
                <a:lnTo>
                  <a:pt x="39624"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88" name="object 129">
            <a:extLst>
              <a:ext uri="{FF2B5EF4-FFF2-40B4-BE49-F238E27FC236}">
                <a16:creationId xmlns:a16="http://schemas.microsoft.com/office/drawing/2014/main" id="{EEEED211-38D0-4A5B-ACE5-C8CF2F7C34B8}"/>
              </a:ext>
            </a:extLst>
          </p:cNvPr>
          <p:cNvSpPr>
            <a:spLocks/>
          </p:cNvSpPr>
          <p:nvPr/>
        </p:nvSpPr>
        <p:spPr bwMode="auto">
          <a:xfrm>
            <a:off x="8677793" y="3542002"/>
            <a:ext cx="33338" cy="30163"/>
          </a:xfrm>
          <a:custGeom>
            <a:avLst/>
            <a:gdLst>
              <a:gd name="T0" fmla="*/ 30146 w 33515"/>
              <a:gd name="T1" fmla="*/ 0 h 30467"/>
              <a:gd name="T2" fmla="*/ 3016 w 33515"/>
              <a:gd name="T3" fmla="*/ 0 h 30467"/>
              <a:gd name="T4" fmla="*/ 0 w 33515"/>
              <a:gd name="T5" fmla="*/ 2987 h 30467"/>
              <a:gd name="T6" fmla="*/ 0 w 33515"/>
              <a:gd name="T7" fmla="*/ 26886 h 30467"/>
              <a:gd name="T8" fmla="*/ 3016 w 33515"/>
              <a:gd name="T9" fmla="*/ 29862 h 30467"/>
              <a:gd name="T10" fmla="*/ 30146 w 33515"/>
              <a:gd name="T11" fmla="*/ 29862 h 30467"/>
              <a:gd name="T12" fmla="*/ 33162 w 33515"/>
              <a:gd name="T13" fmla="*/ 26886 h 30467"/>
              <a:gd name="T14" fmla="*/ 33162 w 33515"/>
              <a:gd name="T15" fmla="*/ 2987 h 30467"/>
              <a:gd name="T16" fmla="*/ 30146 w 33515"/>
              <a:gd name="T17" fmla="*/ 0 h 304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30467">
                <a:moveTo>
                  <a:pt x="30467" y="0"/>
                </a:moveTo>
                <a:lnTo>
                  <a:pt x="3048" y="0"/>
                </a:lnTo>
                <a:lnTo>
                  <a:pt x="0" y="3047"/>
                </a:lnTo>
                <a:lnTo>
                  <a:pt x="0" y="27431"/>
                </a:lnTo>
                <a:lnTo>
                  <a:pt x="3048" y="30467"/>
                </a:lnTo>
                <a:lnTo>
                  <a:pt x="30467" y="30467"/>
                </a:lnTo>
                <a:lnTo>
                  <a:pt x="33515" y="27431"/>
                </a:lnTo>
                <a:lnTo>
                  <a:pt x="33515" y="3047"/>
                </a:lnTo>
                <a:lnTo>
                  <a:pt x="30467"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89" name="object 130">
            <a:extLst>
              <a:ext uri="{FF2B5EF4-FFF2-40B4-BE49-F238E27FC236}">
                <a16:creationId xmlns:a16="http://schemas.microsoft.com/office/drawing/2014/main" id="{82634363-150D-4F73-BE14-3211C44F0803}"/>
              </a:ext>
            </a:extLst>
          </p:cNvPr>
          <p:cNvSpPr>
            <a:spLocks/>
          </p:cNvSpPr>
          <p:nvPr/>
        </p:nvSpPr>
        <p:spPr bwMode="auto">
          <a:xfrm>
            <a:off x="8674618" y="3538827"/>
            <a:ext cx="39688" cy="36513"/>
          </a:xfrm>
          <a:custGeom>
            <a:avLst/>
            <a:gdLst>
              <a:gd name="T0" fmla="*/ 30578 w 39624"/>
              <a:gd name="T1" fmla="*/ 0 h 36563"/>
              <a:gd name="T2" fmla="*/ 9174 w 39624"/>
              <a:gd name="T3" fmla="*/ 0 h 36563"/>
              <a:gd name="T4" fmla="*/ 3058 w 39624"/>
              <a:gd name="T5" fmla="*/ 3039 h 36563"/>
              <a:gd name="T6" fmla="*/ 0 w 39624"/>
              <a:gd name="T7" fmla="*/ 9118 h 36563"/>
              <a:gd name="T8" fmla="*/ 0 w 39624"/>
              <a:gd name="T9" fmla="*/ 27345 h 36563"/>
              <a:gd name="T10" fmla="*/ 3058 w 39624"/>
              <a:gd name="T11" fmla="*/ 33423 h 36563"/>
              <a:gd name="T12" fmla="*/ 9174 w 39624"/>
              <a:gd name="T13" fmla="*/ 36463 h 36563"/>
              <a:gd name="T14" fmla="*/ 30578 w 39624"/>
              <a:gd name="T15" fmla="*/ 36463 h 36563"/>
              <a:gd name="T16" fmla="*/ 36681 w 39624"/>
              <a:gd name="T17" fmla="*/ 33423 h 36563"/>
              <a:gd name="T18" fmla="*/ 38211 w 39624"/>
              <a:gd name="T19" fmla="*/ 30395 h 36563"/>
              <a:gd name="T20" fmla="*/ 6116 w 39624"/>
              <a:gd name="T21" fmla="*/ 30395 h 36563"/>
              <a:gd name="T22" fmla="*/ 6116 w 39624"/>
              <a:gd name="T23" fmla="*/ 6079 h 36563"/>
              <a:gd name="T24" fmla="*/ 38217 w 39624"/>
              <a:gd name="T25" fmla="*/ 6079 h 36563"/>
              <a:gd name="T26" fmla="*/ 36681 w 39624"/>
              <a:gd name="T27" fmla="*/ 3039 h 36563"/>
              <a:gd name="T28" fmla="*/ 30578 w 39624"/>
              <a:gd name="T29" fmla="*/ 0 h 36563"/>
              <a:gd name="T30" fmla="*/ 6116 w 39624"/>
              <a:gd name="T31" fmla="*/ 27345 h 36563"/>
              <a:gd name="T32" fmla="*/ 6116 w 39624"/>
              <a:gd name="T33" fmla="*/ 30395 h 36563"/>
              <a:gd name="T34" fmla="*/ 9174 w 39624"/>
              <a:gd name="T35" fmla="*/ 30395 h 36563"/>
              <a:gd name="T36" fmla="*/ 6116 w 39624"/>
              <a:gd name="T37" fmla="*/ 27345 h 36563"/>
              <a:gd name="T38" fmla="*/ 33623 w 39624"/>
              <a:gd name="T39" fmla="*/ 27345 h 36563"/>
              <a:gd name="T40" fmla="*/ 27520 w 39624"/>
              <a:gd name="T41" fmla="*/ 30395 h 36563"/>
              <a:gd name="T42" fmla="*/ 30578 w 39624"/>
              <a:gd name="T43" fmla="*/ 30395 h 36563"/>
              <a:gd name="T44" fmla="*/ 33623 w 39624"/>
              <a:gd name="T45" fmla="*/ 27345 h 36563"/>
              <a:gd name="T46" fmla="*/ 38217 w 39624"/>
              <a:gd name="T47" fmla="*/ 6079 h 36563"/>
              <a:gd name="T48" fmla="*/ 30578 w 39624"/>
              <a:gd name="T49" fmla="*/ 6079 h 36563"/>
              <a:gd name="T50" fmla="*/ 33623 w 39624"/>
              <a:gd name="T51" fmla="*/ 9118 h 36563"/>
              <a:gd name="T52" fmla="*/ 33623 w 39624"/>
              <a:gd name="T53" fmla="*/ 27345 h 36563"/>
              <a:gd name="T54" fmla="*/ 30578 w 39624"/>
              <a:gd name="T55" fmla="*/ 30395 h 36563"/>
              <a:gd name="T56" fmla="*/ 38211 w 39624"/>
              <a:gd name="T57" fmla="*/ 30395 h 36563"/>
              <a:gd name="T58" fmla="*/ 39752 w 39624"/>
              <a:gd name="T59" fmla="*/ 27345 h 36563"/>
              <a:gd name="T60" fmla="*/ 39752 w 39624"/>
              <a:gd name="T61" fmla="*/ 9118 h 36563"/>
              <a:gd name="T62" fmla="*/ 38217 w 39624"/>
              <a:gd name="T63" fmla="*/ 6079 h 36563"/>
              <a:gd name="T64" fmla="*/ 9174 w 39624"/>
              <a:gd name="T65" fmla="*/ 6079 h 36563"/>
              <a:gd name="T66" fmla="*/ 6116 w 39624"/>
              <a:gd name="T67" fmla="*/ 6079 h 36563"/>
              <a:gd name="T68" fmla="*/ 6116 w 39624"/>
              <a:gd name="T69" fmla="*/ 9118 h 36563"/>
              <a:gd name="T70" fmla="*/ 9174 w 39624"/>
              <a:gd name="T71" fmla="*/ 6079 h 3656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9624" h="36563">
                <a:moveTo>
                  <a:pt x="30480" y="0"/>
                </a:moveTo>
                <a:lnTo>
                  <a:pt x="9144" y="0"/>
                </a:lnTo>
                <a:lnTo>
                  <a:pt x="3048" y="3047"/>
                </a:lnTo>
                <a:lnTo>
                  <a:pt x="0" y="9143"/>
                </a:lnTo>
                <a:lnTo>
                  <a:pt x="0" y="27419"/>
                </a:lnTo>
                <a:lnTo>
                  <a:pt x="3048" y="33515"/>
                </a:lnTo>
                <a:lnTo>
                  <a:pt x="9144" y="36563"/>
                </a:lnTo>
                <a:lnTo>
                  <a:pt x="30480" y="36563"/>
                </a:lnTo>
                <a:lnTo>
                  <a:pt x="36563" y="33515"/>
                </a:lnTo>
                <a:lnTo>
                  <a:pt x="38087" y="30479"/>
                </a:lnTo>
                <a:lnTo>
                  <a:pt x="6096" y="30479"/>
                </a:lnTo>
                <a:lnTo>
                  <a:pt x="6096" y="6095"/>
                </a:lnTo>
                <a:lnTo>
                  <a:pt x="38093" y="6095"/>
                </a:lnTo>
                <a:lnTo>
                  <a:pt x="36563" y="3047"/>
                </a:lnTo>
                <a:lnTo>
                  <a:pt x="30480" y="0"/>
                </a:lnTo>
                <a:close/>
              </a:path>
              <a:path w="39624" h="36563">
                <a:moveTo>
                  <a:pt x="6096" y="27419"/>
                </a:moveTo>
                <a:lnTo>
                  <a:pt x="6096" y="30479"/>
                </a:lnTo>
                <a:lnTo>
                  <a:pt x="9144" y="30479"/>
                </a:lnTo>
                <a:lnTo>
                  <a:pt x="6096" y="27419"/>
                </a:lnTo>
                <a:close/>
              </a:path>
              <a:path w="39624" h="36563">
                <a:moveTo>
                  <a:pt x="33515" y="27419"/>
                </a:moveTo>
                <a:lnTo>
                  <a:pt x="27432" y="30479"/>
                </a:lnTo>
                <a:lnTo>
                  <a:pt x="30480" y="30479"/>
                </a:lnTo>
                <a:lnTo>
                  <a:pt x="33515" y="27419"/>
                </a:lnTo>
                <a:close/>
              </a:path>
              <a:path w="39624" h="36563">
                <a:moveTo>
                  <a:pt x="38093" y="6095"/>
                </a:moveTo>
                <a:lnTo>
                  <a:pt x="30480" y="6095"/>
                </a:lnTo>
                <a:lnTo>
                  <a:pt x="33515" y="9143"/>
                </a:lnTo>
                <a:lnTo>
                  <a:pt x="33515" y="27419"/>
                </a:lnTo>
                <a:lnTo>
                  <a:pt x="30480" y="30479"/>
                </a:lnTo>
                <a:lnTo>
                  <a:pt x="38087" y="30479"/>
                </a:lnTo>
                <a:lnTo>
                  <a:pt x="39624" y="27419"/>
                </a:lnTo>
                <a:lnTo>
                  <a:pt x="39624" y="9143"/>
                </a:lnTo>
                <a:lnTo>
                  <a:pt x="38093" y="6095"/>
                </a:lnTo>
                <a:close/>
              </a:path>
              <a:path w="39624" h="36563">
                <a:moveTo>
                  <a:pt x="9144" y="6095"/>
                </a:moveTo>
                <a:lnTo>
                  <a:pt x="6096" y="6095"/>
                </a:lnTo>
                <a:lnTo>
                  <a:pt x="6096" y="9143"/>
                </a:lnTo>
                <a:lnTo>
                  <a:pt x="9144"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90" name="object 131">
            <a:extLst>
              <a:ext uri="{FF2B5EF4-FFF2-40B4-BE49-F238E27FC236}">
                <a16:creationId xmlns:a16="http://schemas.microsoft.com/office/drawing/2014/main" id="{E88360D6-A153-449C-A710-4559831D6095}"/>
              </a:ext>
            </a:extLst>
          </p:cNvPr>
          <p:cNvSpPr>
            <a:spLocks/>
          </p:cNvSpPr>
          <p:nvPr/>
        </p:nvSpPr>
        <p:spPr bwMode="auto">
          <a:xfrm>
            <a:off x="8671443" y="3581690"/>
            <a:ext cx="44450" cy="39687"/>
          </a:xfrm>
          <a:custGeom>
            <a:avLst/>
            <a:gdLst>
              <a:gd name="T0" fmla="*/ 37453 w 45720"/>
              <a:gd name="T1" fmla="*/ 0 h 39611"/>
              <a:gd name="T2" fmla="*/ 2881 w 45720"/>
              <a:gd name="T3" fmla="*/ 0 h 39611"/>
              <a:gd name="T4" fmla="*/ 0 w 45720"/>
              <a:gd name="T5" fmla="*/ 3059 h 39611"/>
              <a:gd name="T6" fmla="*/ 0 w 45720"/>
              <a:gd name="T7" fmla="*/ 36703 h 39611"/>
              <a:gd name="T8" fmla="*/ 2881 w 45720"/>
              <a:gd name="T9" fmla="*/ 39763 h 39611"/>
              <a:gd name="T10" fmla="*/ 37453 w 45720"/>
              <a:gd name="T11" fmla="*/ 39763 h 39611"/>
              <a:gd name="T12" fmla="*/ 43215 w 45720"/>
              <a:gd name="T13" fmla="*/ 36703 h 39611"/>
              <a:gd name="T14" fmla="*/ 43215 w 45720"/>
              <a:gd name="T15" fmla="*/ 3059 h 39611"/>
              <a:gd name="T16" fmla="*/ 37453 w 45720"/>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20" h="39611">
                <a:moveTo>
                  <a:pt x="39624" y="0"/>
                </a:moveTo>
                <a:lnTo>
                  <a:pt x="3048" y="0"/>
                </a:lnTo>
                <a:lnTo>
                  <a:pt x="0" y="3047"/>
                </a:lnTo>
                <a:lnTo>
                  <a:pt x="0" y="36563"/>
                </a:lnTo>
                <a:lnTo>
                  <a:pt x="3048" y="39611"/>
                </a:lnTo>
                <a:lnTo>
                  <a:pt x="39624" y="39611"/>
                </a:lnTo>
                <a:lnTo>
                  <a:pt x="45720" y="36563"/>
                </a:lnTo>
                <a:lnTo>
                  <a:pt x="45720" y="3047"/>
                </a:lnTo>
                <a:lnTo>
                  <a:pt x="39624"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91" name="object 132">
            <a:extLst>
              <a:ext uri="{FF2B5EF4-FFF2-40B4-BE49-F238E27FC236}">
                <a16:creationId xmlns:a16="http://schemas.microsoft.com/office/drawing/2014/main" id="{DD688670-9EE4-49AF-A312-A34855158A99}"/>
              </a:ext>
            </a:extLst>
          </p:cNvPr>
          <p:cNvSpPr>
            <a:spLocks/>
          </p:cNvSpPr>
          <p:nvPr/>
        </p:nvSpPr>
        <p:spPr bwMode="auto">
          <a:xfrm>
            <a:off x="8677793" y="3588040"/>
            <a:ext cx="33338" cy="26987"/>
          </a:xfrm>
          <a:custGeom>
            <a:avLst/>
            <a:gdLst>
              <a:gd name="T0" fmla="*/ 0 w 33515"/>
              <a:gd name="T1" fmla="*/ 13280 h 27419"/>
              <a:gd name="T2" fmla="*/ 33162 w 33515"/>
              <a:gd name="T3" fmla="*/ 13280 h 27419"/>
              <a:gd name="T4" fmla="*/ 0 60000 65536"/>
              <a:gd name="T5" fmla="*/ 0 60000 65536"/>
            </a:gdLst>
            <a:ahLst/>
            <a:cxnLst>
              <a:cxn ang="T4">
                <a:pos x="T0" y="T1"/>
              </a:cxn>
              <a:cxn ang="T5">
                <a:pos x="T2" y="T3"/>
              </a:cxn>
            </a:cxnLst>
            <a:rect l="0" t="0" r="r" b="b"/>
            <a:pathLst>
              <a:path w="33515" h="27419">
                <a:moveTo>
                  <a:pt x="0" y="13709"/>
                </a:moveTo>
                <a:lnTo>
                  <a:pt x="33515" y="13709"/>
                </a:lnTo>
              </a:path>
            </a:pathLst>
          </a:custGeom>
          <a:noFill/>
          <a:ln w="28689">
            <a:solidFill>
              <a:srgbClr val="A9B9D6"/>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292" name="object 133">
            <a:extLst>
              <a:ext uri="{FF2B5EF4-FFF2-40B4-BE49-F238E27FC236}">
                <a16:creationId xmlns:a16="http://schemas.microsoft.com/office/drawing/2014/main" id="{550CC963-5FF3-48CE-A1C7-96F7A8F558D5}"/>
              </a:ext>
            </a:extLst>
          </p:cNvPr>
          <p:cNvSpPr>
            <a:spLocks/>
          </p:cNvSpPr>
          <p:nvPr/>
        </p:nvSpPr>
        <p:spPr bwMode="auto">
          <a:xfrm>
            <a:off x="8674618" y="3584865"/>
            <a:ext cx="39688" cy="36512"/>
          </a:xfrm>
          <a:custGeom>
            <a:avLst/>
            <a:gdLst>
              <a:gd name="T0" fmla="*/ 36681 w 39624"/>
              <a:gd name="T1" fmla="*/ 0 h 36563"/>
              <a:gd name="T2" fmla="*/ 3058 w 39624"/>
              <a:gd name="T3" fmla="*/ 0 h 36563"/>
              <a:gd name="T4" fmla="*/ 3058 w 39624"/>
              <a:gd name="T5" fmla="*/ 3039 h 36563"/>
              <a:gd name="T6" fmla="*/ 0 w 39624"/>
              <a:gd name="T7" fmla="*/ 6067 h 36563"/>
              <a:gd name="T8" fmla="*/ 0 w 39624"/>
              <a:gd name="T9" fmla="*/ 27330 h 36563"/>
              <a:gd name="T10" fmla="*/ 3058 w 39624"/>
              <a:gd name="T11" fmla="*/ 30383 h 36563"/>
              <a:gd name="T12" fmla="*/ 3058 w 39624"/>
              <a:gd name="T13" fmla="*/ 33421 h 36563"/>
              <a:gd name="T14" fmla="*/ 9174 w 39624"/>
              <a:gd name="T15" fmla="*/ 36461 h 36563"/>
              <a:gd name="T16" fmla="*/ 30578 w 39624"/>
              <a:gd name="T17" fmla="*/ 36461 h 36563"/>
              <a:gd name="T18" fmla="*/ 30578 w 39624"/>
              <a:gd name="T19" fmla="*/ 33421 h 36563"/>
              <a:gd name="T20" fmla="*/ 36681 w 39624"/>
              <a:gd name="T21" fmla="*/ 33421 h 36563"/>
              <a:gd name="T22" fmla="*/ 36681 w 39624"/>
              <a:gd name="T23" fmla="*/ 30383 h 36563"/>
              <a:gd name="T24" fmla="*/ 9174 w 39624"/>
              <a:gd name="T25" fmla="*/ 30383 h 36563"/>
              <a:gd name="T26" fmla="*/ 6116 w 39624"/>
              <a:gd name="T27" fmla="*/ 27330 h 36563"/>
              <a:gd name="T28" fmla="*/ 6116 w 39624"/>
              <a:gd name="T29" fmla="*/ 6067 h 36563"/>
              <a:gd name="T30" fmla="*/ 39752 w 39624"/>
              <a:gd name="T31" fmla="*/ 6067 h 36563"/>
              <a:gd name="T32" fmla="*/ 36681 w 39624"/>
              <a:gd name="T33" fmla="*/ 3039 h 36563"/>
              <a:gd name="T34" fmla="*/ 36681 w 39624"/>
              <a:gd name="T35" fmla="*/ 0 h 36563"/>
              <a:gd name="T36" fmla="*/ 6116 w 39624"/>
              <a:gd name="T37" fmla="*/ 24290 h 36563"/>
              <a:gd name="T38" fmla="*/ 6116 w 39624"/>
              <a:gd name="T39" fmla="*/ 27330 h 36563"/>
              <a:gd name="T40" fmla="*/ 9174 w 39624"/>
              <a:gd name="T41" fmla="*/ 30383 h 36563"/>
              <a:gd name="T42" fmla="*/ 6116 w 39624"/>
              <a:gd name="T43" fmla="*/ 24290 h 36563"/>
              <a:gd name="T44" fmla="*/ 30578 w 39624"/>
              <a:gd name="T45" fmla="*/ 27330 h 36563"/>
              <a:gd name="T46" fmla="*/ 9174 w 39624"/>
              <a:gd name="T47" fmla="*/ 27330 h 36563"/>
              <a:gd name="T48" fmla="*/ 9174 w 39624"/>
              <a:gd name="T49" fmla="*/ 30383 h 36563"/>
              <a:gd name="T50" fmla="*/ 27520 w 39624"/>
              <a:gd name="T51" fmla="*/ 30383 h 36563"/>
              <a:gd name="T52" fmla="*/ 30578 w 39624"/>
              <a:gd name="T53" fmla="*/ 27330 h 36563"/>
              <a:gd name="T54" fmla="*/ 31597 w 39624"/>
              <a:gd name="T55" fmla="*/ 28342 h 36563"/>
              <a:gd name="T56" fmla="*/ 27520 w 39624"/>
              <a:gd name="T57" fmla="*/ 30383 h 36563"/>
              <a:gd name="T58" fmla="*/ 30578 w 39624"/>
              <a:gd name="T59" fmla="*/ 30383 h 36563"/>
              <a:gd name="T60" fmla="*/ 31597 w 39624"/>
              <a:gd name="T61" fmla="*/ 28342 h 36563"/>
              <a:gd name="T62" fmla="*/ 33623 w 39624"/>
              <a:gd name="T63" fmla="*/ 27330 h 36563"/>
              <a:gd name="T64" fmla="*/ 31597 w 39624"/>
              <a:gd name="T65" fmla="*/ 28342 h 36563"/>
              <a:gd name="T66" fmla="*/ 30578 w 39624"/>
              <a:gd name="T67" fmla="*/ 30383 h 36563"/>
              <a:gd name="T68" fmla="*/ 33623 w 39624"/>
              <a:gd name="T69" fmla="*/ 27330 h 36563"/>
              <a:gd name="T70" fmla="*/ 39752 w 39624"/>
              <a:gd name="T71" fmla="*/ 6067 h 36563"/>
              <a:gd name="T72" fmla="*/ 30578 w 39624"/>
              <a:gd name="T73" fmla="*/ 6067 h 36563"/>
              <a:gd name="T74" fmla="*/ 33623 w 39624"/>
              <a:gd name="T75" fmla="*/ 9105 h 36563"/>
              <a:gd name="T76" fmla="*/ 33623 w 39624"/>
              <a:gd name="T77" fmla="*/ 27330 h 36563"/>
              <a:gd name="T78" fmla="*/ 30578 w 39624"/>
              <a:gd name="T79" fmla="*/ 30383 h 36563"/>
              <a:gd name="T80" fmla="*/ 36681 w 39624"/>
              <a:gd name="T81" fmla="*/ 30383 h 36563"/>
              <a:gd name="T82" fmla="*/ 39752 w 39624"/>
              <a:gd name="T83" fmla="*/ 27330 h 36563"/>
              <a:gd name="T84" fmla="*/ 39752 w 39624"/>
              <a:gd name="T85" fmla="*/ 6067 h 36563"/>
              <a:gd name="T86" fmla="*/ 33623 w 39624"/>
              <a:gd name="T87" fmla="*/ 24290 h 36563"/>
              <a:gd name="T88" fmla="*/ 31597 w 39624"/>
              <a:gd name="T89" fmla="*/ 28342 h 36563"/>
              <a:gd name="T90" fmla="*/ 33623 w 39624"/>
              <a:gd name="T91" fmla="*/ 27330 h 36563"/>
              <a:gd name="T92" fmla="*/ 33623 w 39624"/>
              <a:gd name="T93" fmla="*/ 24290 h 3656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9624" h="36563">
                <a:moveTo>
                  <a:pt x="36563" y="0"/>
                </a:moveTo>
                <a:lnTo>
                  <a:pt x="3048" y="0"/>
                </a:lnTo>
                <a:lnTo>
                  <a:pt x="3048" y="3047"/>
                </a:lnTo>
                <a:lnTo>
                  <a:pt x="0" y="6083"/>
                </a:lnTo>
                <a:lnTo>
                  <a:pt x="0" y="27406"/>
                </a:lnTo>
                <a:lnTo>
                  <a:pt x="3048" y="30467"/>
                </a:lnTo>
                <a:lnTo>
                  <a:pt x="3048" y="33515"/>
                </a:lnTo>
                <a:lnTo>
                  <a:pt x="9144" y="36563"/>
                </a:lnTo>
                <a:lnTo>
                  <a:pt x="30480" y="36563"/>
                </a:lnTo>
                <a:lnTo>
                  <a:pt x="30480" y="33515"/>
                </a:lnTo>
                <a:lnTo>
                  <a:pt x="36563" y="33515"/>
                </a:lnTo>
                <a:lnTo>
                  <a:pt x="36563" y="30467"/>
                </a:lnTo>
                <a:lnTo>
                  <a:pt x="9144" y="30467"/>
                </a:lnTo>
                <a:lnTo>
                  <a:pt x="6096" y="27406"/>
                </a:lnTo>
                <a:lnTo>
                  <a:pt x="6096" y="6083"/>
                </a:lnTo>
                <a:lnTo>
                  <a:pt x="39624" y="6083"/>
                </a:lnTo>
                <a:lnTo>
                  <a:pt x="36563" y="3047"/>
                </a:lnTo>
                <a:lnTo>
                  <a:pt x="36563" y="0"/>
                </a:lnTo>
                <a:close/>
              </a:path>
              <a:path w="39624" h="36563">
                <a:moveTo>
                  <a:pt x="6096" y="24358"/>
                </a:moveTo>
                <a:lnTo>
                  <a:pt x="6096" y="27406"/>
                </a:lnTo>
                <a:lnTo>
                  <a:pt x="9144" y="30467"/>
                </a:lnTo>
                <a:lnTo>
                  <a:pt x="6096" y="24358"/>
                </a:lnTo>
                <a:close/>
              </a:path>
              <a:path w="39624" h="36563">
                <a:moveTo>
                  <a:pt x="30480" y="27406"/>
                </a:moveTo>
                <a:lnTo>
                  <a:pt x="9144" y="27406"/>
                </a:lnTo>
                <a:lnTo>
                  <a:pt x="9144" y="30467"/>
                </a:lnTo>
                <a:lnTo>
                  <a:pt x="27432" y="30467"/>
                </a:lnTo>
                <a:lnTo>
                  <a:pt x="30480" y="27406"/>
                </a:lnTo>
                <a:close/>
              </a:path>
              <a:path w="39624" h="36563">
                <a:moveTo>
                  <a:pt x="31495" y="28422"/>
                </a:moveTo>
                <a:lnTo>
                  <a:pt x="27432" y="30467"/>
                </a:lnTo>
                <a:lnTo>
                  <a:pt x="30480" y="30467"/>
                </a:lnTo>
                <a:lnTo>
                  <a:pt x="31495" y="28422"/>
                </a:lnTo>
                <a:close/>
              </a:path>
              <a:path w="39624" h="36563">
                <a:moveTo>
                  <a:pt x="33515" y="27406"/>
                </a:moveTo>
                <a:lnTo>
                  <a:pt x="31495" y="28422"/>
                </a:lnTo>
                <a:lnTo>
                  <a:pt x="30480" y="30467"/>
                </a:lnTo>
                <a:lnTo>
                  <a:pt x="33515" y="27406"/>
                </a:lnTo>
                <a:close/>
              </a:path>
              <a:path w="39624" h="36563">
                <a:moveTo>
                  <a:pt x="39624" y="6083"/>
                </a:moveTo>
                <a:lnTo>
                  <a:pt x="30480" y="6083"/>
                </a:lnTo>
                <a:lnTo>
                  <a:pt x="33515" y="9131"/>
                </a:lnTo>
                <a:lnTo>
                  <a:pt x="33515" y="27406"/>
                </a:lnTo>
                <a:lnTo>
                  <a:pt x="30480" y="30467"/>
                </a:lnTo>
                <a:lnTo>
                  <a:pt x="36563" y="30467"/>
                </a:lnTo>
                <a:lnTo>
                  <a:pt x="39624" y="27406"/>
                </a:lnTo>
                <a:lnTo>
                  <a:pt x="39624" y="6083"/>
                </a:lnTo>
                <a:close/>
              </a:path>
              <a:path w="39624" h="36563">
                <a:moveTo>
                  <a:pt x="33515" y="24358"/>
                </a:moveTo>
                <a:lnTo>
                  <a:pt x="31495" y="28422"/>
                </a:lnTo>
                <a:lnTo>
                  <a:pt x="33515" y="27406"/>
                </a:lnTo>
                <a:lnTo>
                  <a:pt x="33515" y="24358"/>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93" name="object 134">
            <a:extLst>
              <a:ext uri="{FF2B5EF4-FFF2-40B4-BE49-F238E27FC236}">
                <a16:creationId xmlns:a16="http://schemas.microsoft.com/office/drawing/2014/main" id="{E5AEB964-2DC1-4381-A69A-BA2434A46883}"/>
              </a:ext>
            </a:extLst>
          </p:cNvPr>
          <p:cNvSpPr>
            <a:spLocks/>
          </p:cNvSpPr>
          <p:nvPr/>
        </p:nvSpPr>
        <p:spPr bwMode="auto">
          <a:xfrm>
            <a:off x="8671443" y="3627727"/>
            <a:ext cx="44450" cy="39688"/>
          </a:xfrm>
          <a:custGeom>
            <a:avLst/>
            <a:gdLst>
              <a:gd name="T0" fmla="*/ 37453 w 45720"/>
              <a:gd name="T1" fmla="*/ 0 h 39611"/>
              <a:gd name="T2" fmla="*/ 2881 w 45720"/>
              <a:gd name="T3" fmla="*/ 0 h 39611"/>
              <a:gd name="T4" fmla="*/ 0 w 45720"/>
              <a:gd name="T5" fmla="*/ 3059 h 39611"/>
              <a:gd name="T6" fmla="*/ 0 w 45720"/>
              <a:gd name="T7" fmla="*/ 36717 h 39611"/>
              <a:gd name="T8" fmla="*/ 2881 w 45720"/>
              <a:gd name="T9" fmla="*/ 39765 h 39611"/>
              <a:gd name="T10" fmla="*/ 37453 w 45720"/>
              <a:gd name="T11" fmla="*/ 39765 h 39611"/>
              <a:gd name="T12" fmla="*/ 43215 w 45720"/>
              <a:gd name="T13" fmla="*/ 36717 h 39611"/>
              <a:gd name="T14" fmla="*/ 43215 w 45720"/>
              <a:gd name="T15" fmla="*/ 3059 h 39611"/>
              <a:gd name="T16" fmla="*/ 37453 w 45720"/>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20" h="39611">
                <a:moveTo>
                  <a:pt x="39624" y="0"/>
                </a:moveTo>
                <a:lnTo>
                  <a:pt x="3048" y="0"/>
                </a:lnTo>
                <a:lnTo>
                  <a:pt x="0" y="3047"/>
                </a:lnTo>
                <a:lnTo>
                  <a:pt x="0" y="36575"/>
                </a:lnTo>
                <a:lnTo>
                  <a:pt x="3048" y="39611"/>
                </a:lnTo>
                <a:lnTo>
                  <a:pt x="39624" y="39611"/>
                </a:lnTo>
                <a:lnTo>
                  <a:pt x="45720" y="36575"/>
                </a:lnTo>
                <a:lnTo>
                  <a:pt x="45720" y="3047"/>
                </a:lnTo>
                <a:lnTo>
                  <a:pt x="39624"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94" name="object 135">
            <a:extLst>
              <a:ext uri="{FF2B5EF4-FFF2-40B4-BE49-F238E27FC236}">
                <a16:creationId xmlns:a16="http://schemas.microsoft.com/office/drawing/2014/main" id="{2870492D-FEFD-402E-A72A-93C841708F54}"/>
              </a:ext>
            </a:extLst>
          </p:cNvPr>
          <p:cNvSpPr>
            <a:spLocks/>
          </p:cNvSpPr>
          <p:nvPr/>
        </p:nvSpPr>
        <p:spPr bwMode="auto">
          <a:xfrm>
            <a:off x="8677793" y="3632490"/>
            <a:ext cx="33338" cy="31750"/>
          </a:xfrm>
          <a:custGeom>
            <a:avLst/>
            <a:gdLst>
              <a:gd name="T0" fmla="*/ 30146 w 33515"/>
              <a:gd name="T1" fmla="*/ 0 h 30479"/>
              <a:gd name="T2" fmla="*/ 3016 w 33515"/>
              <a:gd name="T3" fmla="*/ 0 h 30479"/>
              <a:gd name="T4" fmla="*/ 0 w 33515"/>
              <a:gd name="T5" fmla="*/ 3307 h 30479"/>
              <a:gd name="T6" fmla="*/ 0 w 33515"/>
              <a:gd name="T7" fmla="*/ 29768 h 30479"/>
              <a:gd name="T8" fmla="*/ 3016 w 33515"/>
              <a:gd name="T9" fmla="*/ 33075 h 30479"/>
              <a:gd name="T10" fmla="*/ 30146 w 33515"/>
              <a:gd name="T11" fmla="*/ 33075 h 30479"/>
              <a:gd name="T12" fmla="*/ 33162 w 33515"/>
              <a:gd name="T13" fmla="*/ 29768 h 30479"/>
              <a:gd name="T14" fmla="*/ 33162 w 33515"/>
              <a:gd name="T15" fmla="*/ 3307 h 30479"/>
              <a:gd name="T16" fmla="*/ 30146 w 33515"/>
              <a:gd name="T17" fmla="*/ 0 h 304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30479">
                <a:moveTo>
                  <a:pt x="30467" y="0"/>
                </a:moveTo>
                <a:lnTo>
                  <a:pt x="3048" y="0"/>
                </a:lnTo>
                <a:lnTo>
                  <a:pt x="0" y="3048"/>
                </a:lnTo>
                <a:lnTo>
                  <a:pt x="0" y="27432"/>
                </a:lnTo>
                <a:lnTo>
                  <a:pt x="3048" y="30480"/>
                </a:lnTo>
                <a:lnTo>
                  <a:pt x="30467" y="30480"/>
                </a:lnTo>
                <a:lnTo>
                  <a:pt x="33515" y="27432"/>
                </a:lnTo>
                <a:lnTo>
                  <a:pt x="33515" y="3048"/>
                </a:lnTo>
                <a:lnTo>
                  <a:pt x="30467"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95" name="object 136">
            <a:extLst>
              <a:ext uri="{FF2B5EF4-FFF2-40B4-BE49-F238E27FC236}">
                <a16:creationId xmlns:a16="http://schemas.microsoft.com/office/drawing/2014/main" id="{93A3476C-2BD5-4617-9D9C-BF06FD21C8A0}"/>
              </a:ext>
            </a:extLst>
          </p:cNvPr>
          <p:cNvSpPr>
            <a:spLocks/>
          </p:cNvSpPr>
          <p:nvPr/>
        </p:nvSpPr>
        <p:spPr bwMode="auto">
          <a:xfrm>
            <a:off x="8674618" y="3630902"/>
            <a:ext cx="39688" cy="36513"/>
          </a:xfrm>
          <a:custGeom>
            <a:avLst/>
            <a:gdLst>
              <a:gd name="T0" fmla="*/ 36681 w 39624"/>
              <a:gd name="T1" fmla="*/ 0 h 36563"/>
              <a:gd name="T2" fmla="*/ 3058 w 39624"/>
              <a:gd name="T3" fmla="*/ 0 h 36563"/>
              <a:gd name="T4" fmla="*/ 3058 w 39624"/>
              <a:gd name="T5" fmla="*/ 3040 h 36563"/>
              <a:gd name="T6" fmla="*/ 0 w 39624"/>
              <a:gd name="T7" fmla="*/ 6080 h 36563"/>
              <a:gd name="T8" fmla="*/ 0 w 39624"/>
              <a:gd name="T9" fmla="*/ 27345 h 36563"/>
              <a:gd name="T10" fmla="*/ 3058 w 39624"/>
              <a:gd name="T11" fmla="*/ 30396 h 36563"/>
              <a:gd name="T12" fmla="*/ 3058 w 39624"/>
              <a:gd name="T13" fmla="*/ 33436 h 36563"/>
              <a:gd name="T14" fmla="*/ 9174 w 39624"/>
              <a:gd name="T15" fmla="*/ 36463 h 36563"/>
              <a:gd name="T16" fmla="*/ 30578 w 39624"/>
              <a:gd name="T17" fmla="*/ 36463 h 36563"/>
              <a:gd name="T18" fmla="*/ 36681 w 39624"/>
              <a:gd name="T19" fmla="*/ 33436 h 36563"/>
              <a:gd name="T20" fmla="*/ 36681 w 39624"/>
              <a:gd name="T21" fmla="*/ 30396 h 36563"/>
              <a:gd name="T22" fmla="*/ 6116 w 39624"/>
              <a:gd name="T23" fmla="*/ 30396 h 36563"/>
              <a:gd name="T24" fmla="*/ 6116 w 39624"/>
              <a:gd name="T25" fmla="*/ 6080 h 36563"/>
              <a:gd name="T26" fmla="*/ 39752 w 39624"/>
              <a:gd name="T27" fmla="*/ 6080 h 36563"/>
              <a:gd name="T28" fmla="*/ 36681 w 39624"/>
              <a:gd name="T29" fmla="*/ 3040 h 36563"/>
              <a:gd name="T30" fmla="*/ 36681 w 39624"/>
              <a:gd name="T31" fmla="*/ 0 h 36563"/>
              <a:gd name="T32" fmla="*/ 6116 w 39624"/>
              <a:gd name="T33" fmla="*/ 27345 h 36563"/>
              <a:gd name="T34" fmla="*/ 6116 w 39624"/>
              <a:gd name="T35" fmla="*/ 30396 h 36563"/>
              <a:gd name="T36" fmla="*/ 9174 w 39624"/>
              <a:gd name="T37" fmla="*/ 30396 h 36563"/>
              <a:gd name="T38" fmla="*/ 6116 w 39624"/>
              <a:gd name="T39" fmla="*/ 27345 h 36563"/>
              <a:gd name="T40" fmla="*/ 31597 w 39624"/>
              <a:gd name="T41" fmla="*/ 28357 h 36563"/>
              <a:gd name="T42" fmla="*/ 27520 w 39624"/>
              <a:gd name="T43" fmla="*/ 30396 h 36563"/>
              <a:gd name="T44" fmla="*/ 30578 w 39624"/>
              <a:gd name="T45" fmla="*/ 30396 h 36563"/>
              <a:gd name="T46" fmla="*/ 31597 w 39624"/>
              <a:gd name="T47" fmla="*/ 28357 h 36563"/>
              <a:gd name="T48" fmla="*/ 33623 w 39624"/>
              <a:gd name="T49" fmla="*/ 27345 h 36563"/>
              <a:gd name="T50" fmla="*/ 31597 w 39624"/>
              <a:gd name="T51" fmla="*/ 28357 h 36563"/>
              <a:gd name="T52" fmla="*/ 30578 w 39624"/>
              <a:gd name="T53" fmla="*/ 30396 h 36563"/>
              <a:gd name="T54" fmla="*/ 33623 w 39624"/>
              <a:gd name="T55" fmla="*/ 27345 h 36563"/>
              <a:gd name="T56" fmla="*/ 39752 w 39624"/>
              <a:gd name="T57" fmla="*/ 6080 h 36563"/>
              <a:gd name="T58" fmla="*/ 30578 w 39624"/>
              <a:gd name="T59" fmla="*/ 6080 h 36563"/>
              <a:gd name="T60" fmla="*/ 33623 w 39624"/>
              <a:gd name="T61" fmla="*/ 9119 h 36563"/>
              <a:gd name="T62" fmla="*/ 33623 w 39624"/>
              <a:gd name="T63" fmla="*/ 27345 h 36563"/>
              <a:gd name="T64" fmla="*/ 30578 w 39624"/>
              <a:gd name="T65" fmla="*/ 30396 h 36563"/>
              <a:gd name="T66" fmla="*/ 36681 w 39624"/>
              <a:gd name="T67" fmla="*/ 30396 h 36563"/>
              <a:gd name="T68" fmla="*/ 39752 w 39624"/>
              <a:gd name="T69" fmla="*/ 27345 h 36563"/>
              <a:gd name="T70" fmla="*/ 39752 w 39624"/>
              <a:gd name="T71" fmla="*/ 6080 h 36563"/>
              <a:gd name="T72" fmla="*/ 33623 w 39624"/>
              <a:gd name="T73" fmla="*/ 24305 h 36563"/>
              <a:gd name="T74" fmla="*/ 31597 w 39624"/>
              <a:gd name="T75" fmla="*/ 28357 h 36563"/>
              <a:gd name="T76" fmla="*/ 33623 w 39624"/>
              <a:gd name="T77" fmla="*/ 27345 h 36563"/>
              <a:gd name="T78" fmla="*/ 33623 w 39624"/>
              <a:gd name="T79" fmla="*/ 24305 h 365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9624" h="36563">
                <a:moveTo>
                  <a:pt x="36563" y="0"/>
                </a:moveTo>
                <a:lnTo>
                  <a:pt x="3048" y="0"/>
                </a:lnTo>
                <a:lnTo>
                  <a:pt x="3048" y="3048"/>
                </a:lnTo>
                <a:lnTo>
                  <a:pt x="0" y="6096"/>
                </a:lnTo>
                <a:lnTo>
                  <a:pt x="0" y="27419"/>
                </a:lnTo>
                <a:lnTo>
                  <a:pt x="3048" y="30480"/>
                </a:lnTo>
                <a:lnTo>
                  <a:pt x="3048" y="33528"/>
                </a:lnTo>
                <a:lnTo>
                  <a:pt x="9144" y="36563"/>
                </a:lnTo>
                <a:lnTo>
                  <a:pt x="30480" y="36563"/>
                </a:lnTo>
                <a:lnTo>
                  <a:pt x="36563" y="33528"/>
                </a:lnTo>
                <a:lnTo>
                  <a:pt x="36563" y="30480"/>
                </a:lnTo>
                <a:lnTo>
                  <a:pt x="6096" y="30480"/>
                </a:lnTo>
                <a:lnTo>
                  <a:pt x="6096" y="6096"/>
                </a:lnTo>
                <a:lnTo>
                  <a:pt x="39624" y="6096"/>
                </a:lnTo>
                <a:lnTo>
                  <a:pt x="36563" y="3048"/>
                </a:lnTo>
                <a:lnTo>
                  <a:pt x="36563" y="0"/>
                </a:lnTo>
                <a:close/>
              </a:path>
              <a:path w="39624" h="36563">
                <a:moveTo>
                  <a:pt x="6096" y="27419"/>
                </a:moveTo>
                <a:lnTo>
                  <a:pt x="6096" y="30480"/>
                </a:lnTo>
                <a:lnTo>
                  <a:pt x="9144" y="30480"/>
                </a:lnTo>
                <a:lnTo>
                  <a:pt x="6096" y="27419"/>
                </a:lnTo>
                <a:close/>
              </a:path>
              <a:path w="39624" h="36563">
                <a:moveTo>
                  <a:pt x="31495" y="28435"/>
                </a:moveTo>
                <a:lnTo>
                  <a:pt x="27432" y="30480"/>
                </a:lnTo>
                <a:lnTo>
                  <a:pt x="30480" y="30480"/>
                </a:lnTo>
                <a:lnTo>
                  <a:pt x="31495" y="28435"/>
                </a:lnTo>
                <a:close/>
              </a:path>
              <a:path w="39624" h="36563">
                <a:moveTo>
                  <a:pt x="33515" y="27419"/>
                </a:moveTo>
                <a:lnTo>
                  <a:pt x="31495" y="28435"/>
                </a:lnTo>
                <a:lnTo>
                  <a:pt x="30480" y="30480"/>
                </a:lnTo>
                <a:lnTo>
                  <a:pt x="33515" y="27419"/>
                </a:lnTo>
                <a:close/>
              </a:path>
              <a:path w="39624" h="36563">
                <a:moveTo>
                  <a:pt x="39624" y="6096"/>
                </a:moveTo>
                <a:lnTo>
                  <a:pt x="30480" y="6096"/>
                </a:lnTo>
                <a:lnTo>
                  <a:pt x="33515" y="9144"/>
                </a:lnTo>
                <a:lnTo>
                  <a:pt x="33515" y="27419"/>
                </a:lnTo>
                <a:lnTo>
                  <a:pt x="30480" y="30480"/>
                </a:lnTo>
                <a:lnTo>
                  <a:pt x="36563" y="30480"/>
                </a:lnTo>
                <a:lnTo>
                  <a:pt x="39624" y="27419"/>
                </a:lnTo>
                <a:lnTo>
                  <a:pt x="39624" y="6096"/>
                </a:lnTo>
                <a:close/>
              </a:path>
              <a:path w="39624" h="36563">
                <a:moveTo>
                  <a:pt x="33515" y="24371"/>
                </a:moveTo>
                <a:lnTo>
                  <a:pt x="31495" y="28435"/>
                </a:lnTo>
                <a:lnTo>
                  <a:pt x="33515" y="27419"/>
                </a:lnTo>
                <a:lnTo>
                  <a:pt x="33515" y="24371"/>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296" name="object 326">
            <a:extLst>
              <a:ext uri="{FF2B5EF4-FFF2-40B4-BE49-F238E27FC236}">
                <a16:creationId xmlns:a16="http://schemas.microsoft.com/office/drawing/2014/main" id="{6619F61E-61EB-47DE-827C-84957B13C31B}"/>
              </a:ext>
            </a:extLst>
          </p:cNvPr>
          <p:cNvSpPr txBox="1">
            <a:spLocks noChangeArrowheads="1"/>
          </p:cNvSpPr>
          <p:nvPr/>
        </p:nvSpPr>
        <p:spPr bwMode="auto">
          <a:xfrm>
            <a:off x="8661918" y="3459452"/>
            <a:ext cx="130175"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297" name="object 334">
            <a:extLst>
              <a:ext uri="{FF2B5EF4-FFF2-40B4-BE49-F238E27FC236}">
                <a16:creationId xmlns:a16="http://schemas.microsoft.com/office/drawing/2014/main" id="{3AC0372A-A062-4DF1-A81C-4ED2DD7AF065}"/>
              </a:ext>
            </a:extLst>
          </p:cNvPr>
          <p:cNvSpPr txBox="1">
            <a:spLocks noChangeArrowheads="1"/>
          </p:cNvSpPr>
          <p:nvPr/>
        </p:nvSpPr>
        <p:spPr bwMode="auto">
          <a:xfrm>
            <a:off x="8661918" y="3699165"/>
            <a:ext cx="130175" cy="4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298" name="object 253">
            <a:extLst>
              <a:ext uri="{FF2B5EF4-FFF2-40B4-BE49-F238E27FC236}">
                <a16:creationId xmlns:a16="http://schemas.microsoft.com/office/drawing/2014/main" id="{3D6DB5BB-D53E-4B26-A877-9E4085071CE3}"/>
              </a:ext>
            </a:extLst>
          </p:cNvPr>
          <p:cNvSpPr txBox="1"/>
          <p:nvPr/>
        </p:nvSpPr>
        <p:spPr>
          <a:xfrm>
            <a:off x="8380931" y="5102515"/>
            <a:ext cx="930275" cy="212725"/>
          </a:xfrm>
          <a:prstGeom prst="rect">
            <a:avLst/>
          </a:prstGeom>
        </p:spPr>
        <p:txBody>
          <a:bodyPr lIns="0" tIns="0" rIns="0" bIns="0"/>
          <a:lstStyle/>
          <a:p>
            <a:pPr marL="12700">
              <a:lnSpc>
                <a:spcPts val="1270"/>
              </a:lnSpc>
              <a:spcBef>
                <a:spcPts val="1"/>
              </a:spcBef>
              <a:defRPr/>
            </a:pPr>
            <a:r>
              <a:rPr lang="en-US" altLang="zh-CN" sz="1050" dirty="0">
                <a:latin typeface="宋体"/>
                <a:cs typeface="宋体"/>
              </a:rPr>
              <a:t>WMS</a:t>
            </a:r>
            <a:r>
              <a:rPr lang="zh-CN" altLang="en-US" sz="1050" dirty="0">
                <a:latin typeface="宋体"/>
                <a:cs typeface="宋体"/>
              </a:rPr>
              <a:t>立体仓库</a:t>
            </a:r>
            <a:endParaRPr sz="1050" dirty="0">
              <a:latin typeface="宋体"/>
              <a:cs typeface="宋体"/>
            </a:endParaRPr>
          </a:p>
        </p:txBody>
      </p:sp>
      <p:sp>
        <p:nvSpPr>
          <p:cNvPr id="299" name="object 291">
            <a:extLst>
              <a:ext uri="{FF2B5EF4-FFF2-40B4-BE49-F238E27FC236}">
                <a16:creationId xmlns:a16="http://schemas.microsoft.com/office/drawing/2014/main" id="{9EF98893-F5B7-4A84-8615-9FB5473989CF}"/>
              </a:ext>
            </a:extLst>
          </p:cNvPr>
          <p:cNvSpPr txBox="1">
            <a:spLocks noChangeArrowheads="1"/>
          </p:cNvSpPr>
          <p:nvPr/>
        </p:nvSpPr>
        <p:spPr bwMode="auto">
          <a:xfrm>
            <a:off x="2381768" y="3030827"/>
            <a:ext cx="7643813"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r>
              <a:rPr lang="zh-CN" altLang="en-US" sz="900"/>
              <a:t>功能需求：联动线设备内</a:t>
            </a:r>
            <a:r>
              <a:rPr lang="en-US" altLang="zh-CN" sz="900"/>
              <a:t>PLC</a:t>
            </a:r>
            <a:r>
              <a:rPr lang="zh-CN" altLang="en-US" sz="900"/>
              <a:t>内客户需求数据采集；尘埃粒子和风速等环境数据采集；提供定制化报表、灾难恢复、控制、时间同步等功能；人员管理、电子签名、审计追踪、数据备份等功能；数据库功能；更改参数可远端写入；配置打印机，打印所需的记录；批数据自动备份；可连续显示曲线；可多批显示数据与曲线。</a:t>
            </a:r>
          </a:p>
        </p:txBody>
      </p:sp>
      <p:sp>
        <p:nvSpPr>
          <p:cNvPr id="300" name="object 253">
            <a:extLst>
              <a:ext uri="{FF2B5EF4-FFF2-40B4-BE49-F238E27FC236}">
                <a16:creationId xmlns:a16="http://schemas.microsoft.com/office/drawing/2014/main" id="{70593173-B841-4903-89C5-71019DA86597}"/>
              </a:ext>
            </a:extLst>
          </p:cNvPr>
          <p:cNvSpPr txBox="1"/>
          <p:nvPr/>
        </p:nvSpPr>
        <p:spPr>
          <a:xfrm>
            <a:off x="6810893" y="1316327"/>
            <a:ext cx="930275" cy="212725"/>
          </a:xfrm>
          <a:prstGeom prst="rect">
            <a:avLst/>
          </a:prstGeom>
        </p:spPr>
        <p:txBody>
          <a:bodyPr lIns="0" tIns="0" rIns="0" bIns="0"/>
          <a:lstStyle/>
          <a:p>
            <a:pPr marL="12700">
              <a:lnSpc>
                <a:spcPts val="1270"/>
              </a:lnSpc>
              <a:spcBef>
                <a:spcPts val="1"/>
              </a:spcBef>
              <a:defRPr/>
            </a:pPr>
            <a:r>
              <a:rPr lang="en-US" altLang="zh-CN" sz="1050" dirty="0">
                <a:latin typeface="宋体"/>
                <a:cs typeface="宋体"/>
              </a:rPr>
              <a:t>MES</a:t>
            </a:r>
            <a:r>
              <a:rPr lang="zh-CN" altLang="en-US" sz="1050" dirty="0">
                <a:latin typeface="宋体"/>
                <a:cs typeface="宋体"/>
              </a:rPr>
              <a:t>数据库接口</a:t>
            </a:r>
            <a:endParaRPr sz="1050" dirty="0">
              <a:latin typeface="宋体"/>
              <a:cs typeface="宋体"/>
            </a:endParaRPr>
          </a:p>
        </p:txBody>
      </p:sp>
      <p:sp>
        <p:nvSpPr>
          <p:cNvPr id="301" name="object 253">
            <a:extLst>
              <a:ext uri="{FF2B5EF4-FFF2-40B4-BE49-F238E27FC236}">
                <a16:creationId xmlns:a16="http://schemas.microsoft.com/office/drawing/2014/main" id="{E5FABC47-79B2-48CD-BB92-C92C909FEC6F}"/>
              </a:ext>
            </a:extLst>
          </p:cNvPr>
          <p:cNvSpPr txBox="1"/>
          <p:nvPr/>
        </p:nvSpPr>
        <p:spPr>
          <a:xfrm>
            <a:off x="7882456" y="1960852"/>
            <a:ext cx="642937" cy="212725"/>
          </a:xfrm>
          <a:prstGeom prst="rect">
            <a:avLst/>
          </a:prstGeom>
        </p:spPr>
        <p:txBody>
          <a:bodyPr lIns="0" tIns="0" rIns="0" bIns="0"/>
          <a:lstStyle/>
          <a:p>
            <a:pPr marL="12700">
              <a:lnSpc>
                <a:spcPts val="1270"/>
              </a:lnSpc>
              <a:spcBef>
                <a:spcPts val="1"/>
              </a:spcBef>
              <a:defRPr/>
            </a:pPr>
            <a:r>
              <a:rPr lang="zh-CN" altLang="en-US" sz="1050" dirty="0">
                <a:latin typeface="宋体"/>
                <a:cs typeface="宋体"/>
              </a:rPr>
              <a:t>打印机</a:t>
            </a:r>
            <a:endParaRPr sz="1050" dirty="0">
              <a:latin typeface="宋体"/>
              <a:cs typeface="宋体"/>
            </a:endParaRPr>
          </a:p>
        </p:txBody>
      </p:sp>
      <p:sp>
        <p:nvSpPr>
          <p:cNvPr id="302" name="object 253">
            <a:extLst>
              <a:ext uri="{FF2B5EF4-FFF2-40B4-BE49-F238E27FC236}">
                <a16:creationId xmlns:a16="http://schemas.microsoft.com/office/drawing/2014/main" id="{10916BC0-02C1-4061-B932-54E6E5883E9D}"/>
              </a:ext>
            </a:extLst>
          </p:cNvPr>
          <p:cNvSpPr txBox="1"/>
          <p:nvPr/>
        </p:nvSpPr>
        <p:spPr>
          <a:xfrm>
            <a:off x="4882081" y="1387765"/>
            <a:ext cx="930275" cy="212725"/>
          </a:xfrm>
          <a:prstGeom prst="rect">
            <a:avLst/>
          </a:prstGeom>
        </p:spPr>
        <p:txBody>
          <a:bodyPr lIns="0" tIns="0" rIns="0" bIns="0"/>
          <a:lstStyle/>
          <a:p>
            <a:pPr marL="12700">
              <a:lnSpc>
                <a:spcPts val="1270"/>
              </a:lnSpc>
              <a:spcBef>
                <a:spcPts val="1"/>
              </a:spcBef>
              <a:defRPr/>
            </a:pPr>
            <a:r>
              <a:rPr lang="en-US" sz="1050" dirty="0">
                <a:latin typeface="宋体"/>
                <a:cs typeface="宋体"/>
              </a:rPr>
              <a:t>SCADA</a:t>
            </a:r>
            <a:r>
              <a:rPr lang="zh-CN" altLang="en-US" sz="1050" dirty="0">
                <a:latin typeface="宋体"/>
                <a:cs typeface="宋体"/>
              </a:rPr>
              <a:t>服务器</a:t>
            </a:r>
            <a:endParaRPr sz="1050" dirty="0">
              <a:latin typeface="宋体"/>
              <a:cs typeface="宋体"/>
            </a:endParaRPr>
          </a:p>
        </p:txBody>
      </p:sp>
      <p:sp>
        <p:nvSpPr>
          <p:cNvPr id="303" name="object 138">
            <a:extLst>
              <a:ext uri="{FF2B5EF4-FFF2-40B4-BE49-F238E27FC236}">
                <a16:creationId xmlns:a16="http://schemas.microsoft.com/office/drawing/2014/main" id="{57BDC1D7-80EB-4509-92FB-7094FD2255FA}"/>
              </a:ext>
            </a:extLst>
          </p:cNvPr>
          <p:cNvSpPr>
            <a:spLocks/>
          </p:cNvSpPr>
          <p:nvPr/>
        </p:nvSpPr>
        <p:spPr bwMode="auto">
          <a:xfrm>
            <a:off x="6096518" y="3983327"/>
            <a:ext cx="1008063" cy="1752600"/>
          </a:xfrm>
          <a:custGeom>
            <a:avLst/>
            <a:gdLst>
              <a:gd name="T0" fmla="*/ 0 w 1871459"/>
              <a:gd name="T1" fmla="*/ 2838752 h 1082027"/>
              <a:gd name="T2" fmla="*/ 542994 w 1871459"/>
              <a:gd name="T3" fmla="*/ 2838752 h 1082027"/>
              <a:gd name="T4" fmla="*/ 542994 w 1871459"/>
              <a:gd name="T5" fmla="*/ 0 h 1082027"/>
              <a:gd name="T6" fmla="*/ 0 w 1871459"/>
              <a:gd name="T7" fmla="*/ 0 h 1082027"/>
              <a:gd name="T8" fmla="*/ 0 w 1871459"/>
              <a:gd name="T9" fmla="*/ 2838752 h 10820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71459" h="1082027">
                <a:moveTo>
                  <a:pt x="0" y="1082027"/>
                </a:moveTo>
                <a:lnTo>
                  <a:pt x="1871459" y="1082027"/>
                </a:lnTo>
                <a:lnTo>
                  <a:pt x="1871459" y="0"/>
                </a:lnTo>
                <a:lnTo>
                  <a:pt x="0" y="0"/>
                </a:lnTo>
                <a:lnTo>
                  <a:pt x="0" y="1082027"/>
                </a:lnTo>
                <a:close/>
              </a:path>
            </a:pathLst>
          </a:custGeom>
          <a:solidFill>
            <a:srgbClr val="EEF1F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04" name="object 144">
            <a:extLst>
              <a:ext uri="{FF2B5EF4-FFF2-40B4-BE49-F238E27FC236}">
                <a16:creationId xmlns:a16="http://schemas.microsoft.com/office/drawing/2014/main" id="{A9EA70C9-FE6F-466C-9C35-B7FBCC41C6A9}"/>
              </a:ext>
            </a:extLst>
          </p:cNvPr>
          <p:cNvSpPr>
            <a:spLocks/>
          </p:cNvSpPr>
          <p:nvPr/>
        </p:nvSpPr>
        <p:spPr bwMode="auto">
          <a:xfrm flipH="1">
            <a:off x="6461643" y="3830927"/>
            <a:ext cx="46038" cy="976313"/>
          </a:xfrm>
          <a:custGeom>
            <a:avLst/>
            <a:gdLst>
              <a:gd name="T0" fmla="*/ 62607 w 30467"/>
              <a:gd name="T1" fmla="*/ 0 h 969251"/>
              <a:gd name="T2" fmla="*/ 0 w 30467"/>
              <a:gd name="T3" fmla="*/ 0 h 969251"/>
              <a:gd name="T4" fmla="*/ 6957 w 30467"/>
              <a:gd name="T5" fmla="*/ 983426 h 969251"/>
              <a:gd name="T6" fmla="*/ 69567 w 30467"/>
              <a:gd name="T7" fmla="*/ 983426 h 969251"/>
              <a:gd name="T8" fmla="*/ 62607 w 30467"/>
              <a:gd name="T9" fmla="*/ 0 h 96925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467" h="969251">
                <a:moveTo>
                  <a:pt x="27419" y="0"/>
                </a:moveTo>
                <a:lnTo>
                  <a:pt x="0" y="0"/>
                </a:lnTo>
                <a:lnTo>
                  <a:pt x="3047" y="969251"/>
                </a:lnTo>
                <a:lnTo>
                  <a:pt x="30467" y="969251"/>
                </a:lnTo>
                <a:lnTo>
                  <a:pt x="27419" y="0"/>
                </a:lnTo>
                <a:close/>
              </a:path>
            </a:pathLst>
          </a:custGeom>
          <a:solidFill>
            <a:srgbClr val="5F973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05" name="object 146">
            <a:extLst>
              <a:ext uri="{FF2B5EF4-FFF2-40B4-BE49-F238E27FC236}">
                <a16:creationId xmlns:a16="http://schemas.microsoft.com/office/drawing/2014/main" id="{841424FF-DC8E-477A-B1E8-8EE169BEF96A}"/>
              </a:ext>
            </a:extLst>
          </p:cNvPr>
          <p:cNvSpPr>
            <a:spLocks noChangeArrowheads="1"/>
          </p:cNvSpPr>
          <p:nvPr/>
        </p:nvSpPr>
        <p:spPr bwMode="auto">
          <a:xfrm>
            <a:off x="6247331" y="4807240"/>
            <a:ext cx="428625" cy="249237"/>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306" name="object 147">
            <a:extLst>
              <a:ext uri="{FF2B5EF4-FFF2-40B4-BE49-F238E27FC236}">
                <a16:creationId xmlns:a16="http://schemas.microsoft.com/office/drawing/2014/main" id="{6CE884FE-79F6-411F-8E20-AF41BE5A8FEC}"/>
              </a:ext>
            </a:extLst>
          </p:cNvPr>
          <p:cNvSpPr>
            <a:spLocks/>
          </p:cNvSpPr>
          <p:nvPr/>
        </p:nvSpPr>
        <p:spPr bwMode="auto">
          <a:xfrm>
            <a:off x="6396556" y="3465802"/>
            <a:ext cx="142875" cy="368300"/>
          </a:xfrm>
          <a:custGeom>
            <a:avLst/>
            <a:gdLst>
              <a:gd name="T0" fmla="*/ 0 w 143256"/>
              <a:gd name="T1" fmla="*/ 367794 h 368807"/>
              <a:gd name="T2" fmla="*/ 142495 w 143256"/>
              <a:gd name="T3" fmla="*/ 367794 h 368807"/>
              <a:gd name="T4" fmla="*/ 142495 w 143256"/>
              <a:gd name="T5" fmla="*/ 0 h 368807"/>
              <a:gd name="T6" fmla="*/ 0 w 143256"/>
              <a:gd name="T7" fmla="*/ 0 h 368807"/>
              <a:gd name="T8" fmla="*/ 0 w 143256"/>
              <a:gd name="T9" fmla="*/ 367794 h 3688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3256" h="368807">
                <a:moveTo>
                  <a:pt x="0" y="368807"/>
                </a:moveTo>
                <a:lnTo>
                  <a:pt x="143256" y="368807"/>
                </a:lnTo>
                <a:lnTo>
                  <a:pt x="143256" y="0"/>
                </a:lnTo>
                <a:lnTo>
                  <a:pt x="0" y="0"/>
                </a:lnTo>
                <a:lnTo>
                  <a:pt x="0" y="368807"/>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07" name="object 148">
            <a:extLst>
              <a:ext uri="{FF2B5EF4-FFF2-40B4-BE49-F238E27FC236}">
                <a16:creationId xmlns:a16="http://schemas.microsoft.com/office/drawing/2014/main" id="{6C89909E-CC7C-43B0-A12C-E03815BE7C57}"/>
              </a:ext>
            </a:extLst>
          </p:cNvPr>
          <p:cNvSpPr>
            <a:spLocks/>
          </p:cNvSpPr>
          <p:nvPr/>
        </p:nvSpPr>
        <p:spPr bwMode="auto">
          <a:xfrm>
            <a:off x="6390206" y="3459452"/>
            <a:ext cx="152400" cy="381000"/>
          </a:xfrm>
          <a:custGeom>
            <a:avLst/>
            <a:gdLst>
              <a:gd name="T0" fmla="*/ 152400 w 152400"/>
              <a:gd name="T1" fmla="*/ 0 h 381000"/>
              <a:gd name="T2" fmla="*/ 0 w 152400"/>
              <a:gd name="T3" fmla="*/ 0 h 381000"/>
              <a:gd name="T4" fmla="*/ 0 w 152400"/>
              <a:gd name="T5" fmla="*/ 380999 h 381000"/>
              <a:gd name="T6" fmla="*/ 152400 w 152400"/>
              <a:gd name="T7" fmla="*/ 380999 h 381000"/>
              <a:gd name="T8" fmla="*/ 152400 w 152400"/>
              <a:gd name="T9" fmla="*/ 374903 h 381000"/>
              <a:gd name="T10" fmla="*/ 9131 w 152400"/>
              <a:gd name="T11" fmla="*/ 374903 h 381000"/>
              <a:gd name="T12" fmla="*/ 6083 w 152400"/>
              <a:gd name="T13" fmla="*/ 371855 h 381000"/>
              <a:gd name="T14" fmla="*/ 9131 w 152400"/>
              <a:gd name="T15" fmla="*/ 371855 h 381000"/>
              <a:gd name="T16" fmla="*/ 9131 w 152400"/>
              <a:gd name="T17" fmla="*/ 9143 h 381000"/>
              <a:gd name="T18" fmla="*/ 6083 w 152400"/>
              <a:gd name="T19" fmla="*/ 9143 h 381000"/>
              <a:gd name="T20" fmla="*/ 9131 w 152400"/>
              <a:gd name="T21" fmla="*/ 6095 h 381000"/>
              <a:gd name="T22" fmla="*/ 152400 w 152400"/>
              <a:gd name="T23" fmla="*/ 6095 h 381000"/>
              <a:gd name="T24" fmla="*/ 152400 w 152400"/>
              <a:gd name="T25" fmla="*/ 0 h 381000"/>
              <a:gd name="T26" fmla="*/ 9131 w 152400"/>
              <a:gd name="T27" fmla="*/ 371855 h 381000"/>
              <a:gd name="T28" fmla="*/ 6083 w 152400"/>
              <a:gd name="T29" fmla="*/ 371855 h 381000"/>
              <a:gd name="T30" fmla="*/ 9131 w 152400"/>
              <a:gd name="T31" fmla="*/ 374903 h 381000"/>
              <a:gd name="T32" fmla="*/ 9131 w 152400"/>
              <a:gd name="T33" fmla="*/ 371855 h 381000"/>
              <a:gd name="T34" fmla="*/ 143256 w 152400"/>
              <a:gd name="T35" fmla="*/ 371855 h 381000"/>
              <a:gd name="T36" fmla="*/ 9131 w 152400"/>
              <a:gd name="T37" fmla="*/ 371855 h 381000"/>
              <a:gd name="T38" fmla="*/ 9131 w 152400"/>
              <a:gd name="T39" fmla="*/ 374903 h 381000"/>
              <a:gd name="T40" fmla="*/ 143256 w 152400"/>
              <a:gd name="T41" fmla="*/ 374903 h 381000"/>
              <a:gd name="T42" fmla="*/ 143256 w 152400"/>
              <a:gd name="T43" fmla="*/ 371855 h 381000"/>
              <a:gd name="T44" fmla="*/ 143256 w 152400"/>
              <a:gd name="T45" fmla="*/ 6095 h 381000"/>
              <a:gd name="T46" fmla="*/ 143256 w 152400"/>
              <a:gd name="T47" fmla="*/ 374903 h 381000"/>
              <a:gd name="T48" fmla="*/ 149339 w 152400"/>
              <a:gd name="T49" fmla="*/ 371855 h 381000"/>
              <a:gd name="T50" fmla="*/ 152400 w 152400"/>
              <a:gd name="T51" fmla="*/ 371855 h 381000"/>
              <a:gd name="T52" fmla="*/ 152400 w 152400"/>
              <a:gd name="T53" fmla="*/ 9143 h 381000"/>
              <a:gd name="T54" fmla="*/ 149339 w 152400"/>
              <a:gd name="T55" fmla="*/ 9143 h 381000"/>
              <a:gd name="T56" fmla="*/ 143256 w 152400"/>
              <a:gd name="T57" fmla="*/ 6095 h 381000"/>
              <a:gd name="T58" fmla="*/ 152400 w 152400"/>
              <a:gd name="T59" fmla="*/ 371855 h 381000"/>
              <a:gd name="T60" fmla="*/ 149339 w 152400"/>
              <a:gd name="T61" fmla="*/ 371855 h 381000"/>
              <a:gd name="T62" fmla="*/ 143256 w 152400"/>
              <a:gd name="T63" fmla="*/ 374903 h 381000"/>
              <a:gd name="T64" fmla="*/ 152400 w 152400"/>
              <a:gd name="T65" fmla="*/ 374903 h 381000"/>
              <a:gd name="T66" fmla="*/ 152400 w 152400"/>
              <a:gd name="T67" fmla="*/ 371855 h 381000"/>
              <a:gd name="T68" fmla="*/ 9131 w 152400"/>
              <a:gd name="T69" fmla="*/ 6095 h 381000"/>
              <a:gd name="T70" fmla="*/ 6083 w 152400"/>
              <a:gd name="T71" fmla="*/ 9143 h 381000"/>
              <a:gd name="T72" fmla="*/ 9131 w 152400"/>
              <a:gd name="T73" fmla="*/ 9143 h 381000"/>
              <a:gd name="T74" fmla="*/ 9131 w 152400"/>
              <a:gd name="T75" fmla="*/ 6095 h 381000"/>
              <a:gd name="T76" fmla="*/ 143256 w 152400"/>
              <a:gd name="T77" fmla="*/ 6095 h 381000"/>
              <a:gd name="T78" fmla="*/ 9131 w 152400"/>
              <a:gd name="T79" fmla="*/ 6095 h 381000"/>
              <a:gd name="T80" fmla="*/ 9131 w 152400"/>
              <a:gd name="T81" fmla="*/ 9143 h 381000"/>
              <a:gd name="T82" fmla="*/ 143256 w 152400"/>
              <a:gd name="T83" fmla="*/ 9143 h 381000"/>
              <a:gd name="T84" fmla="*/ 143256 w 152400"/>
              <a:gd name="T85" fmla="*/ 6095 h 381000"/>
              <a:gd name="T86" fmla="*/ 152400 w 152400"/>
              <a:gd name="T87" fmla="*/ 6095 h 381000"/>
              <a:gd name="T88" fmla="*/ 143256 w 152400"/>
              <a:gd name="T89" fmla="*/ 6095 h 381000"/>
              <a:gd name="T90" fmla="*/ 149339 w 152400"/>
              <a:gd name="T91" fmla="*/ 9143 h 381000"/>
              <a:gd name="T92" fmla="*/ 152400 w 152400"/>
              <a:gd name="T93" fmla="*/ 9143 h 381000"/>
              <a:gd name="T94" fmla="*/ 152400 w 152400"/>
              <a:gd name="T95" fmla="*/ 6095 h 3810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52400" h="381000">
                <a:moveTo>
                  <a:pt x="152400" y="0"/>
                </a:moveTo>
                <a:lnTo>
                  <a:pt x="0" y="0"/>
                </a:lnTo>
                <a:lnTo>
                  <a:pt x="0" y="380999"/>
                </a:lnTo>
                <a:lnTo>
                  <a:pt x="152400" y="380999"/>
                </a:lnTo>
                <a:lnTo>
                  <a:pt x="152400" y="374903"/>
                </a:lnTo>
                <a:lnTo>
                  <a:pt x="9131" y="374903"/>
                </a:lnTo>
                <a:lnTo>
                  <a:pt x="6083" y="371855"/>
                </a:lnTo>
                <a:lnTo>
                  <a:pt x="9131" y="371855"/>
                </a:lnTo>
                <a:lnTo>
                  <a:pt x="9131" y="9143"/>
                </a:lnTo>
                <a:lnTo>
                  <a:pt x="6083" y="9143"/>
                </a:lnTo>
                <a:lnTo>
                  <a:pt x="9131" y="6095"/>
                </a:lnTo>
                <a:lnTo>
                  <a:pt x="152400" y="6095"/>
                </a:lnTo>
                <a:lnTo>
                  <a:pt x="152400" y="0"/>
                </a:lnTo>
                <a:close/>
              </a:path>
              <a:path w="152400" h="381000">
                <a:moveTo>
                  <a:pt x="9131" y="371855"/>
                </a:moveTo>
                <a:lnTo>
                  <a:pt x="6083" y="371855"/>
                </a:lnTo>
                <a:lnTo>
                  <a:pt x="9131" y="374903"/>
                </a:lnTo>
                <a:lnTo>
                  <a:pt x="9131" y="371855"/>
                </a:lnTo>
                <a:close/>
              </a:path>
              <a:path w="152400" h="381000">
                <a:moveTo>
                  <a:pt x="143256" y="371855"/>
                </a:moveTo>
                <a:lnTo>
                  <a:pt x="9131" y="371855"/>
                </a:lnTo>
                <a:lnTo>
                  <a:pt x="9131" y="374903"/>
                </a:lnTo>
                <a:lnTo>
                  <a:pt x="143256" y="374903"/>
                </a:lnTo>
                <a:lnTo>
                  <a:pt x="143256" y="371855"/>
                </a:lnTo>
                <a:close/>
              </a:path>
              <a:path w="152400" h="381000">
                <a:moveTo>
                  <a:pt x="143256" y="6095"/>
                </a:moveTo>
                <a:lnTo>
                  <a:pt x="143256" y="374903"/>
                </a:lnTo>
                <a:lnTo>
                  <a:pt x="149339" y="371855"/>
                </a:lnTo>
                <a:lnTo>
                  <a:pt x="152400" y="371855"/>
                </a:lnTo>
                <a:lnTo>
                  <a:pt x="152400" y="9143"/>
                </a:lnTo>
                <a:lnTo>
                  <a:pt x="149339" y="9143"/>
                </a:lnTo>
                <a:lnTo>
                  <a:pt x="143256" y="6095"/>
                </a:lnTo>
                <a:close/>
              </a:path>
              <a:path w="152400" h="381000">
                <a:moveTo>
                  <a:pt x="152400" y="371855"/>
                </a:moveTo>
                <a:lnTo>
                  <a:pt x="149339" y="371855"/>
                </a:lnTo>
                <a:lnTo>
                  <a:pt x="143256" y="374903"/>
                </a:lnTo>
                <a:lnTo>
                  <a:pt x="152400" y="374903"/>
                </a:lnTo>
                <a:lnTo>
                  <a:pt x="152400" y="371855"/>
                </a:lnTo>
                <a:close/>
              </a:path>
              <a:path w="152400" h="381000">
                <a:moveTo>
                  <a:pt x="9131" y="6095"/>
                </a:moveTo>
                <a:lnTo>
                  <a:pt x="6083" y="9143"/>
                </a:lnTo>
                <a:lnTo>
                  <a:pt x="9131" y="9143"/>
                </a:lnTo>
                <a:lnTo>
                  <a:pt x="9131" y="6095"/>
                </a:lnTo>
                <a:close/>
              </a:path>
              <a:path w="152400" h="381000">
                <a:moveTo>
                  <a:pt x="143256" y="6095"/>
                </a:moveTo>
                <a:lnTo>
                  <a:pt x="9131" y="6095"/>
                </a:lnTo>
                <a:lnTo>
                  <a:pt x="9131" y="9143"/>
                </a:lnTo>
                <a:lnTo>
                  <a:pt x="143256" y="9143"/>
                </a:lnTo>
                <a:lnTo>
                  <a:pt x="143256" y="6095"/>
                </a:lnTo>
                <a:close/>
              </a:path>
              <a:path w="152400" h="381000">
                <a:moveTo>
                  <a:pt x="152400" y="6095"/>
                </a:moveTo>
                <a:lnTo>
                  <a:pt x="143256" y="6095"/>
                </a:lnTo>
                <a:lnTo>
                  <a:pt x="149339" y="9143"/>
                </a:lnTo>
                <a:lnTo>
                  <a:pt x="152400" y="9143"/>
                </a:lnTo>
                <a:lnTo>
                  <a:pt x="152400"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08" name="object 149">
            <a:extLst>
              <a:ext uri="{FF2B5EF4-FFF2-40B4-BE49-F238E27FC236}">
                <a16:creationId xmlns:a16="http://schemas.microsoft.com/office/drawing/2014/main" id="{1E6A4F0D-A7B5-462D-AE81-509A2511BEDD}"/>
              </a:ext>
            </a:extLst>
          </p:cNvPr>
          <p:cNvSpPr>
            <a:spLocks/>
          </p:cNvSpPr>
          <p:nvPr/>
        </p:nvSpPr>
        <p:spPr bwMode="auto">
          <a:xfrm>
            <a:off x="6523556" y="3465802"/>
            <a:ext cx="0" cy="368300"/>
          </a:xfrm>
          <a:custGeom>
            <a:avLst/>
            <a:gdLst>
              <a:gd name="T0" fmla="*/ 0 h 368807"/>
              <a:gd name="T1" fmla="*/ 367794 h 368807"/>
              <a:gd name="T2" fmla="*/ 0 60000 65536"/>
              <a:gd name="T3" fmla="*/ 0 60000 65536"/>
            </a:gdLst>
            <a:ahLst/>
            <a:cxnLst>
              <a:cxn ang="T2">
                <a:pos x="0" y="T0"/>
              </a:cxn>
              <a:cxn ang="T3">
                <a:pos x="0" y="T1"/>
              </a:cxn>
            </a:cxnLst>
            <a:rect l="0" t="0" r="r" b="b"/>
            <a:pathLst>
              <a:path h="368807">
                <a:moveTo>
                  <a:pt x="0" y="0"/>
                </a:moveTo>
                <a:lnTo>
                  <a:pt x="0" y="368807"/>
                </a:lnTo>
              </a:path>
            </a:pathLst>
          </a:custGeom>
          <a:noFill/>
          <a:ln w="31750">
            <a:solidFill>
              <a:srgbClr val="6783A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309" name="object 150">
            <a:extLst>
              <a:ext uri="{FF2B5EF4-FFF2-40B4-BE49-F238E27FC236}">
                <a16:creationId xmlns:a16="http://schemas.microsoft.com/office/drawing/2014/main" id="{262282AA-C8D0-4C0F-8CB8-5F19736A57B6}"/>
              </a:ext>
            </a:extLst>
          </p:cNvPr>
          <p:cNvSpPr>
            <a:spLocks/>
          </p:cNvSpPr>
          <p:nvPr/>
        </p:nvSpPr>
        <p:spPr bwMode="auto">
          <a:xfrm>
            <a:off x="6506093" y="3459452"/>
            <a:ext cx="36513" cy="381000"/>
          </a:xfrm>
          <a:custGeom>
            <a:avLst/>
            <a:gdLst>
              <a:gd name="T0" fmla="*/ 36463 w 36563"/>
              <a:gd name="T1" fmla="*/ 0 h 381000"/>
              <a:gd name="T2" fmla="*/ 0 w 36563"/>
              <a:gd name="T3" fmla="*/ 0 h 381000"/>
              <a:gd name="T4" fmla="*/ 0 w 36563"/>
              <a:gd name="T5" fmla="*/ 380999 h 381000"/>
              <a:gd name="T6" fmla="*/ 36463 w 36563"/>
              <a:gd name="T7" fmla="*/ 380999 h 381000"/>
              <a:gd name="T8" fmla="*/ 36463 w 36563"/>
              <a:gd name="T9" fmla="*/ 374903 h 381000"/>
              <a:gd name="T10" fmla="*/ 9107 w 36563"/>
              <a:gd name="T11" fmla="*/ 374903 h 381000"/>
              <a:gd name="T12" fmla="*/ 3027 w 36563"/>
              <a:gd name="T13" fmla="*/ 371855 h 381000"/>
              <a:gd name="T14" fmla="*/ 9107 w 36563"/>
              <a:gd name="T15" fmla="*/ 371855 h 381000"/>
              <a:gd name="T16" fmla="*/ 9107 w 36563"/>
              <a:gd name="T17" fmla="*/ 9143 h 381000"/>
              <a:gd name="T18" fmla="*/ 3027 w 36563"/>
              <a:gd name="T19" fmla="*/ 9143 h 381000"/>
              <a:gd name="T20" fmla="*/ 9107 w 36563"/>
              <a:gd name="T21" fmla="*/ 6095 h 381000"/>
              <a:gd name="T22" fmla="*/ 36463 w 36563"/>
              <a:gd name="T23" fmla="*/ 6095 h 381000"/>
              <a:gd name="T24" fmla="*/ 36463 w 36563"/>
              <a:gd name="T25" fmla="*/ 0 h 381000"/>
              <a:gd name="T26" fmla="*/ 9107 w 36563"/>
              <a:gd name="T27" fmla="*/ 371855 h 381000"/>
              <a:gd name="T28" fmla="*/ 3027 w 36563"/>
              <a:gd name="T29" fmla="*/ 371855 h 381000"/>
              <a:gd name="T30" fmla="*/ 9107 w 36563"/>
              <a:gd name="T31" fmla="*/ 374903 h 381000"/>
              <a:gd name="T32" fmla="*/ 9107 w 36563"/>
              <a:gd name="T33" fmla="*/ 371855 h 381000"/>
              <a:gd name="T34" fmla="*/ 27345 w 36563"/>
              <a:gd name="T35" fmla="*/ 371855 h 381000"/>
              <a:gd name="T36" fmla="*/ 9107 w 36563"/>
              <a:gd name="T37" fmla="*/ 371855 h 381000"/>
              <a:gd name="T38" fmla="*/ 9107 w 36563"/>
              <a:gd name="T39" fmla="*/ 374903 h 381000"/>
              <a:gd name="T40" fmla="*/ 27345 w 36563"/>
              <a:gd name="T41" fmla="*/ 374903 h 381000"/>
              <a:gd name="T42" fmla="*/ 27345 w 36563"/>
              <a:gd name="T43" fmla="*/ 371855 h 381000"/>
              <a:gd name="T44" fmla="*/ 27345 w 36563"/>
              <a:gd name="T45" fmla="*/ 6095 h 381000"/>
              <a:gd name="T46" fmla="*/ 27345 w 36563"/>
              <a:gd name="T47" fmla="*/ 374903 h 381000"/>
              <a:gd name="T48" fmla="*/ 33423 w 36563"/>
              <a:gd name="T49" fmla="*/ 371855 h 381000"/>
              <a:gd name="T50" fmla="*/ 36463 w 36563"/>
              <a:gd name="T51" fmla="*/ 371855 h 381000"/>
              <a:gd name="T52" fmla="*/ 36463 w 36563"/>
              <a:gd name="T53" fmla="*/ 9143 h 381000"/>
              <a:gd name="T54" fmla="*/ 33423 w 36563"/>
              <a:gd name="T55" fmla="*/ 9143 h 381000"/>
              <a:gd name="T56" fmla="*/ 27345 w 36563"/>
              <a:gd name="T57" fmla="*/ 6095 h 381000"/>
              <a:gd name="T58" fmla="*/ 36463 w 36563"/>
              <a:gd name="T59" fmla="*/ 371855 h 381000"/>
              <a:gd name="T60" fmla="*/ 33423 w 36563"/>
              <a:gd name="T61" fmla="*/ 371855 h 381000"/>
              <a:gd name="T62" fmla="*/ 27345 w 36563"/>
              <a:gd name="T63" fmla="*/ 374903 h 381000"/>
              <a:gd name="T64" fmla="*/ 36463 w 36563"/>
              <a:gd name="T65" fmla="*/ 374903 h 381000"/>
              <a:gd name="T66" fmla="*/ 36463 w 36563"/>
              <a:gd name="T67" fmla="*/ 371855 h 381000"/>
              <a:gd name="T68" fmla="*/ 9107 w 36563"/>
              <a:gd name="T69" fmla="*/ 6095 h 381000"/>
              <a:gd name="T70" fmla="*/ 3027 w 36563"/>
              <a:gd name="T71" fmla="*/ 9143 h 381000"/>
              <a:gd name="T72" fmla="*/ 9107 w 36563"/>
              <a:gd name="T73" fmla="*/ 9143 h 381000"/>
              <a:gd name="T74" fmla="*/ 9107 w 36563"/>
              <a:gd name="T75" fmla="*/ 6095 h 381000"/>
              <a:gd name="T76" fmla="*/ 27345 w 36563"/>
              <a:gd name="T77" fmla="*/ 6095 h 381000"/>
              <a:gd name="T78" fmla="*/ 9107 w 36563"/>
              <a:gd name="T79" fmla="*/ 6095 h 381000"/>
              <a:gd name="T80" fmla="*/ 9107 w 36563"/>
              <a:gd name="T81" fmla="*/ 9143 h 381000"/>
              <a:gd name="T82" fmla="*/ 27345 w 36563"/>
              <a:gd name="T83" fmla="*/ 9143 h 381000"/>
              <a:gd name="T84" fmla="*/ 27345 w 36563"/>
              <a:gd name="T85" fmla="*/ 6095 h 381000"/>
              <a:gd name="T86" fmla="*/ 36463 w 36563"/>
              <a:gd name="T87" fmla="*/ 6095 h 381000"/>
              <a:gd name="T88" fmla="*/ 27345 w 36563"/>
              <a:gd name="T89" fmla="*/ 6095 h 381000"/>
              <a:gd name="T90" fmla="*/ 33423 w 36563"/>
              <a:gd name="T91" fmla="*/ 9143 h 381000"/>
              <a:gd name="T92" fmla="*/ 36463 w 36563"/>
              <a:gd name="T93" fmla="*/ 9143 h 381000"/>
              <a:gd name="T94" fmla="*/ 36463 w 36563"/>
              <a:gd name="T95" fmla="*/ 6095 h 3810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6563" h="381000">
                <a:moveTo>
                  <a:pt x="36563" y="0"/>
                </a:moveTo>
                <a:lnTo>
                  <a:pt x="0" y="0"/>
                </a:lnTo>
                <a:lnTo>
                  <a:pt x="0" y="380999"/>
                </a:lnTo>
                <a:lnTo>
                  <a:pt x="36563" y="380999"/>
                </a:lnTo>
                <a:lnTo>
                  <a:pt x="36563" y="374903"/>
                </a:lnTo>
                <a:lnTo>
                  <a:pt x="9131" y="374903"/>
                </a:lnTo>
                <a:lnTo>
                  <a:pt x="3035" y="371855"/>
                </a:lnTo>
                <a:lnTo>
                  <a:pt x="9131" y="371855"/>
                </a:lnTo>
                <a:lnTo>
                  <a:pt x="9131" y="9143"/>
                </a:lnTo>
                <a:lnTo>
                  <a:pt x="3035" y="9143"/>
                </a:lnTo>
                <a:lnTo>
                  <a:pt x="9131" y="6095"/>
                </a:lnTo>
                <a:lnTo>
                  <a:pt x="36563" y="6095"/>
                </a:lnTo>
                <a:lnTo>
                  <a:pt x="36563" y="0"/>
                </a:lnTo>
                <a:close/>
              </a:path>
              <a:path w="36563" h="381000">
                <a:moveTo>
                  <a:pt x="9131" y="371855"/>
                </a:moveTo>
                <a:lnTo>
                  <a:pt x="3035" y="371855"/>
                </a:lnTo>
                <a:lnTo>
                  <a:pt x="9131" y="374903"/>
                </a:lnTo>
                <a:lnTo>
                  <a:pt x="9131" y="371855"/>
                </a:lnTo>
                <a:close/>
              </a:path>
              <a:path w="36563" h="381000">
                <a:moveTo>
                  <a:pt x="27419" y="371855"/>
                </a:moveTo>
                <a:lnTo>
                  <a:pt x="9131" y="371855"/>
                </a:lnTo>
                <a:lnTo>
                  <a:pt x="9131" y="374903"/>
                </a:lnTo>
                <a:lnTo>
                  <a:pt x="27419" y="374903"/>
                </a:lnTo>
                <a:lnTo>
                  <a:pt x="27419" y="371855"/>
                </a:lnTo>
                <a:close/>
              </a:path>
              <a:path w="36563" h="381000">
                <a:moveTo>
                  <a:pt x="27419" y="6095"/>
                </a:moveTo>
                <a:lnTo>
                  <a:pt x="27419" y="374903"/>
                </a:lnTo>
                <a:lnTo>
                  <a:pt x="33515" y="371855"/>
                </a:lnTo>
                <a:lnTo>
                  <a:pt x="36563" y="371855"/>
                </a:lnTo>
                <a:lnTo>
                  <a:pt x="36563" y="9143"/>
                </a:lnTo>
                <a:lnTo>
                  <a:pt x="33515" y="9143"/>
                </a:lnTo>
                <a:lnTo>
                  <a:pt x="27419" y="6095"/>
                </a:lnTo>
                <a:close/>
              </a:path>
              <a:path w="36563" h="381000">
                <a:moveTo>
                  <a:pt x="36563" y="371855"/>
                </a:moveTo>
                <a:lnTo>
                  <a:pt x="33515" y="371855"/>
                </a:lnTo>
                <a:lnTo>
                  <a:pt x="27419" y="374903"/>
                </a:lnTo>
                <a:lnTo>
                  <a:pt x="36563" y="374903"/>
                </a:lnTo>
                <a:lnTo>
                  <a:pt x="36563" y="371855"/>
                </a:lnTo>
                <a:close/>
              </a:path>
              <a:path w="36563" h="381000">
                <a:moveTo>
                  <a:pt x="9131" y="6095"/>
                </a:moveTo>
                <a:lnTo>
                  <a:pt x="3035" y="9143"/>
                </a:lnTo>
                <a:lnTo>
                  <a:pt x="9131" y="9143"/>
                </a:lnTo>
                <a:lnTo>
                  <a:pt x="9131" y="6095"/>
                </a:lnTo>
                <a:close/>
              </a:path>
              <a:path w="36563" h="381000">
                <a:moveTo>
                  <a:pt x="27419" y="6095"/>
                </a:moveTo>
                <a:lnTo>
                  <a:pt x="9131" y="6095"/>
                </a:lnTo>
                <a:lnTo>
                  <a:pt x="9131" y="9143"/>
                </a:lnTo>
                <a:lnTo>
                  <a:pt x="27419" y="9143"/>
                </a:lnTo>
                <a:lnTo>
                  <a:pt x="27419" y="6095"/>
                </a:lnTo>
                <a:close/>
              </a:path>
              <a:path w="36563" h="381000">
                <a:moveTo>
                  <a:pt x="36563" y="6095"/>
                </a:moveTo>
                <a:lnTo>
                  <a:pt x="27419" y="6095"/>
                </a:lnTo>
                <a:lnTo>
                  <a:pt x="33515" y="9143"/>
                </a:lnTo>
                <a:lnTo>
                  <a:pt x="36563" y="9143"/>
                </a:lnTo>
                <a:lnTo>
                  <a:pt x="36563"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10" name="object 151">
            <a:extLst>
              <a:ext uri="{FF2B5EF4-FFF2-40B4-BE49-F238E27FC236}">
                <a16:creationId xmlns:a16="http://schemas.microsoft.com/office/drawing/2014/main" id="{4BEAD27C-32DA-422D-AE3B-AD5011140708}"/>
              </a:ext>
            </a:extLst>
          </p:cNvPr>
          <p:cNvSpPr>
            <a:spLocks/>
          </p:cNvSpPr>
          <p:nvPr/>
        </p:nvSpPr>
        <p:spPr bwMode="auto">
          <a:xfrm>
            <a:off x="6399731" y="3475327"/>
            <a:ext cx="44450" cy="11113"/>
          </a:xfrm>
          <a:custGeom>
            <a:avLst/>
            <a:gdLst>
              <a:gd name="T0" fmla="*/ 0 w 45707"/>
              <a:gd name="T1" fmla="*/ 5065 h 12192"/>
              <a:gd name="T2" fmla="*/ 43228 w 45707"/>
              <a:gd name="T3" fmla="*/ 5065 h 12192"/>
              <a:gd name="T4" fmla="*/ 0 60000 65536"/>
              <a:gd name="T5" fmla="*/ 0 60000 65536"/>
            </a:gdLst>
            <a:ahLst/>
            <a:cxnLst>
              <a:cxn ang="T4">
                <a:pos x="T0" y="T1"/>
              </a:cxn>
              <a:cxn ang="T5">
                <a:pos x="T2" y="T3"/>
              </a:cxn>
            </a:cxnLst>
            <a:rect l="0" t="0" r="r" b="b"/>
            <a:pathLst>
              <a:path w="45707" h="12192">
                <a:moveTo>
                  <a:pt x="0" y="6096"/>
                </a:moveTo>
                <a:lnTo>
                  <a:pt x="45707" y="6096"/>
                </a:lnTo>
              </a:path>
            </a:pathLst>
          </a:custGeom>
          <a:noFill/>
          <a:ln w="13462">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311" name="object 152">
            <a:extLst>
              <a:ext uri="{FF2B5EF4-FFF2-40B4-BE49-F238E27FC236}">
                <a16:creationId xmlns:a16="http://schemas.microsoft.com/office/drawing/2014/main" id="{055CBE60-CA25-4FAC-8AC8-2F48B70B9747}"/>
              </a:ext>
            </a:extLst>
          </p:cNvPr>
          <p:cNvSpPr>
            <a:spLocks/>
          </p:cNvSpPr>
          <p:nvPr/>
        </p:nvSpPr>
        <p:spPr bwMode="auto">
          <a:xfrm>
            <a:off x="6434656" y="3745202"/>
            <a:ext cx="0" cy="61913"/>
          </a:xfrm>
          <a:custGeom>
            <a:avLst/>
            <a:gdLst>
              <a:gd name="T0" fmla="*/ 0 h 60960"/>
              <a:gd name="T1" fmla="*/ 62881 h 60960"/>
              <a:gd name="T2" fmla="*/ 0 60000 65536"/>
              <a:gd name="T3" fmla="*/ 0 60000 65536"/>
            </a:gdLst>
            <a:ahLst/>
            <a:cxnLst>
              <a:cxn ang="T2">
                <a:pos x="0" y="T0"/>
              </a:cxn>
              <a:cxn ang="T3">
                <a:pos x="0" y="T1"/>
              </a:cxn>
            </a:cxnLst>
            <a:rect l="0" t="0" r="r" b="b"/>
            <a:pathLst>
              <a:path h="60960">
                <a:moveTo>
                  <a:pt x="0" y="0"/>
                </a:moveTo>
                <a:lnTo>
                  <a:pt x="0" y="60960"/>
                </a:lnTo>
              </a:path>
            </a:pathLst>
          </a:custGeom>
          <a:noFill/>
          <a:ln w="22606">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312" name="object 153">
            <a:extLst>
              <a:ext uri="{FF2B5EF4-FFF2-40B4-BE49-F238E27FC236}">
                <a16:creationId xmlns:a16="http://schemas.microsoft.com/office/drawing/2014/main" id="{60F63093-9676-4F9A-8B4B-1BA938179D98}"/>
              </a:ext>
            </a:extLst>
          </p:cNvPr>
          <p:cNvSpPr>
            <a:spLocks/>
          </p:cNvSpPr>
          <p:nvPr/>
        </p:nvSpPr>
        <p:spPr bwMode="auto">
          <a:xfrm>
            <a:off x="6417193" y="3754727"/>
            <a:ext cx="9525" cy="12700"/>
          </a:xfrm>
          <a:custGeom>
            <a:avLst/>
            <a:gdLst>
              <a:gd name="T0" fmla="*/ 0 w 9131"/>
              <a:gd name="T1" fmla="*/ 6621 h 12179"/>
              <a:gd name="T2" fmla="*/ 9936 w 9131"/>
              <a:gd name="T3" fmla="*/ 6621 h 12179"/>
              <a:gd name="T4" fmla="*/ 0 60000 65536"/>
              <a:gd name="T5" fmla="*/ 0 60000 65536"/>
            </a:gdLst>
            <a:ahLst/>
            <a:cxnLst>
              <a:cxn ang="T4">
                <a:pos x="T0" y="T1"/>
              </a:cxn>
              <a:cxn ang="T5">
                <a:pos x="T2" y="T3"/>
              </a:cxn>
            </a:cxnLst>
            <a:rect l="0" t="0" r="r" b="b"/>
            <a:pathLst>
              <a:path w="9131" h="12179">
                <a:moveTo>
                  <a:pt x="0" y="6089"/>
                </a:moveTo>
                <a:lnTo>
                  <a:pt x="9131" y="6089"/>
                </a:lnTo>
              </a:path>
            </a:pathLst>
          </a:custGeom>
          <a:noFill/>
          <a:ln w="13449">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313" name="object 154">
            <a:extLst>
              <a:ext uri="{FF2B5EF4-FFF2-40B4-BE49-F238E27FC236}">
                <a16:creationId xmlns:a16="http://schemas.microsoft.com/office/drawing/2014/main" id="{4CD363FA-3F4F-44E6-A791-2032F25920D7}"/>
              </a:ext>
            </a:extLst>
          </p:cNvPr>
          <p:cNvSpPr>
            <a:spLocks/>
          </p:cNvSpPr>
          <p:nvPr/>
        </p:nvSpPr>
        <p:spPr bwMode="auto">
          <a:xfrm>
            <a:off x="6417193" y="3784890"/>
            <a:ext cx="9525" cy="12700"/>
          </a:xfrm>
          <a:custGeom>
            <a:avLst/>
            <a:gdLst>
              <a:gd name="T0" fmla="*/ 0 w 9131"/>
              <a:gd name="T1" fmla="*/ 6621 h 12179"/>
              <a:gd name="T2" fmla="*/ 9936 w 9131"/>
              <a:gd name="T3" fmla="*/ 6621 h 12179"/>
              <a:gd name="T4" fmla="*/ 0 60000 65536"/>
              <a:gd name="T5" fmla="*/ 0 60000 65536"/>
            </a:gdLst>
            <a:ahLst/>
            <a:cxnLst>
              <a:cxn ang="T4">
                <a:pos x="T0" y="T1"/>
              </a:cxn>
              <a:cxn ang="T5">
                <a:pos x="T2" y="T3"/>
              </a:cxn>
            </a:cxnLst>
            <a:rect l="0" t="0" r="r" b="b"/>
            <a:pathLst>
              <a:path w="9131" h="12179">
                <a:moveTo>
                  <a:pt x="0" y="6089"/>
                </a:moveTo>
                <a:lnTo>
                  <a:pt x="9131" y="6089"/>
                </a:lnTo>
              </a:path>
            </a:pathLst>
          </a:custGeom>
          <a:noFill/>
          <a:ln w="13449">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314" name="object 155">
            <a:extLst>
              <a:ext uri="{FF2B5EF4-FFF2-40B4-BE49-F238E27FC236}">
                <a16:creationId xmlns:a16="http://schemas.microsoft.com/office/drawing/2014/main" id="{058AE64A-E175-4EF5-8724-94D5E0A1BA26}"/>
              </a:ext>
            </a:extLst>
          </p:cNvPr>
          <p:cNvSpPr>
            <a:spLocks/>
          </p:cNvSpPr>
          <p:nvPr/>
        </p:nvSpPr>
        <p:spPr bwMode="auto">
          <a:xfrm>
            <a:off x="6477518" y="3773777"/>
            <a:ext cx="22225" cy="33338"/>
          </a:xfrm>
          <a:custGeom>
            <a:avLst/>
            <a:gdLst>
              <a:gd name="T0" fmla="*/ 0 w 21336"/>
              <a:gd name="T1" fmla="*/ 16581 h 33515"/>
              <a:gd name="T2" fmla="*/ 23151 w 21336"/>
              <a:gd name="T3" fmla="*/ 16581 h 33515"/>
              <a:gd name="T4" fmla="*/ 0 60000 65536"/>
              <a:gd name="T5" fmla="*/ 0 60000 65536"/>
            </a:gdLst>
            <a:ahLst/>
            <a:cxnLst>
              <a:cxn ang="T4">
                <a:pos x="T0" y="T1"/>
              </a:cxn>
              <a:cxn ang="T5">
                <a:pos x="T2" y="T3"/>
              </a:cxn>
            </a:cxnLst>
            <a:rect l="0" t="0" r="r" b="b"/>
            <a:pathLst>
              <a:path w="21336" h="33515">
                <a:moveTo>
                  <a:pt x="0" y="16757"/>
                </a:moveTo>
                <a:lnTo>
                  <a:pt x="21336" y="16757"/>
                </a:lnTo>
              </a:path>
            </a:pathLst>
          </a:custGeom>
          <a:noFill/>
          <a:ln w="34785">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315" name="object 156">
            <a:extLst>
              <a:ext uri="{FF2B5EF4-FFF2-40B4-BE49-F238E27FC236}">
                <a16:creationId xmlns:a16="http://schemas.microsoft.com/office/drawing/2014/main" id="{034E5FC6-EA3B-46B3-AA77-F65475B9B306}"/>
              </a:ext>
            </a:extLst>
          </p:cNvPr>
          <p:cNvSpPr>
            <a:spLocks/>
          </p:cNvSpPr>
          <p:nvPr/>
        </p:nvSpPr>
        <p:spPr bwMode="auto">
          <a:xfrm>
            <a:off x="6472756" y="3784890"/>
            <a:ext cx="7937" cy="12700"/>
          </a:xfrm>
          <a:custGeom>
            <a:avLst/>
            <a:gdLst>
              <a:gd name="T0" fmla="*/ 0 w 9131"/>
              <a:gd name="T1" fmla="*/ 6621 h 12179"/>
              <a:gd name="T2" fmla="*/ 6899 w 9131"/>
              <a:gd name="T3" fmla="*/ 6621 h 12179"/>
              <a:gd name="T4" fmla="*/ 0 60000 65536"/>
              <a:gd name="T5" fmla="*/ 0 60000 65536"/>
            </a:gdLst>
            <a:ahLst/>
            <a:cxnLst>
              <a:cxn ang="T4">
                <a:pos x="T0" y="T1"/>
              </a:cxn>
              <a:cxn ang="T5">
                <a:pos x="T2" y="T3"/>
              </a:cxn>
            </a:cxnLst>
            <a:rect l="0" t="0" r="r" b="b"/>
            <a:pathLst>
              <a:path w="9131" h="12179">
                <a:moveTo>
                  <a:pt x="0" y="6089"/>
                </a:moveTo>
                <a:lnTo>
                  <a:pt x="9131" y="6089"/>
                </a:lnTo>
              </a:path>
            </a:pathLst>
          </a:custGeom>
          <a:noFill/>
          <a:ln w="13449">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316" name="object 157">
            <a:extLst>
              <a:ext uri="{FF2B5EF4-FFF2-40B4-BE49-F238E27FC236}">
                <a16:creationId xmlns:a16="http://schemas.microsoft.com/office/drawing/2014/main" id="{CC865D5C-B919-4B29-8CC6-2F742AA6C00D}"/>
              </a:ext>
            </a:extLst>
          </p:cNvPr>
          <p:cNvSpPr>
            <a:spLocks/>
          </p:cNvSpPr>
          <p:nvPr/>
        </p:nvSpPr>
        <p:spPr bwMode="auto">
          <a:xfrm>
            <a:off x="6401318" y="3499140"/>
            <a:ext cx="46038" cy="52387"/>
          </a:xfrm>
          <a:custGeom>
            <a:avLst/>
            <a:gdLst>
              <a:gd name="T0" fmla="*/ 43270 w 45719"/>
              <a:gd name="T1" fmla="*/ 0 h 51803"/>
              <a:gd name="T2" fmla="*/ 6182 w 45719"/>
              <a:gd name="T3" fmla="*/ 0 h 51803"/>
              <a:gd name="T4" fmla="*/ 0 w 45719"/>
              <a:gd name="T5" fmla="*/ 3116 h 51803"/>
              <a:gd name="T6" fmla="*/ 0 w 45719"/>
              <a:gd name="T7" fmla="*/ 49873 h 51803"/>
              <a:gd name="T8" fmla="*/ 6182 w 45719"/>
              <a:gd name="T9" fmla="*/ 52978 h 51803"/>
              <a:gd name="T10" fmla="*/ 43270 w 45719"/>
              <a:gd name="T11" fmla="*/ 52978 h 51803"/>
              <a:gd name="T12" fmla="*/ 46360 w 45719"/>
              <a:gd name="T13" fmla="*/ 49873 h 51803"/>
              <a:gd name="T14" fmla="*/ 46360 w 45719"/>
              <a:gd name="T15" fmla="*/ 3116 h 51803"/>
              <a:gd name="T16" fmla="*/ 43270 w 45719"/>
              <a:gd name="T17" fmla="*/ 0 h 518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19" h="51803">
                <a:moveTo>
                  <a:pt x="42672" y="0"/>
                </a:moveTo>
                <a:lnTo>
                  <a:pt x="6096" y="0"/>
                </a:lnTo>
                <a:lnTo>
                  <a:pt x="0" y="3047"/>
                </a:lnTo>
                <a:lnTo>
                  <a:pt x="0" y="48767"/>
                </a:lnTo>
                <a:lnTo>
                  <a:pt x="6096" y="51803"/>
                </a:lnTo>
                <a:lnTo>
                  <a:pt x="42672" y="51803"/>
                </a:lnTo>
                <a:lnTo>
                  <a:pt x="45720" y="48767"/>
                </a:lnTo>
                <a:lnTo>
                  <a:pt x="45720" y="3047"/>
                </a:lnTo>
                <a:lnTo>
                  <a:pt x="42672"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17" name="object 158">
            <a:extLst>
              <a:ext uri="{FF2B5EF4-FFF2-40B4-BE49-F238E27FC236}">
                <a16:creationId xmlns:a16="http://schemas.microsoft.com/office/drawing/2014/main" id="{AF8A96FB-FCC2-4DEB-9C09-9EBDF27C33B8}"/>
              </a:ext>
            </a:extLst>
          </p:cNvPr>
          <p:cNvSpPr>
            <a:spLocks/>
          </p:cNvSpPr>
          <p:nvPr/>
        </p:nvSpPr>
        <p:spPr bwMode="auto">
          <a:xfrm>
            <a:off x="6407668" y="3505490"/>
            <a:ext cx="33338" cy="39687"/>
          </a:xfrm>
          <a:custGeom>
            <a:avLst/>
            <a:gdLst>
              <a:gd name="T0" fmla="*/ 30159 w 33515"/>
              <a:gd name="T1" fmla="*/ 0 h 39611"/>
              <a:gd name="T2" fmla="*/ 3003 w 33515"/>
              <a:gd name="T3" fmla="*/ 0 h 39611"/>
              <a:gd name="T4" fmla="*/ 0 w 33515"/>
              <a:gd name="T5" fmla="*/ 3059 h 39611"/>
              <a:gd name="T6" fmla="*/ 0 w 33515"/>
              <a:gd name="T7" fmla="*/ 36703 h 39611"/>
              <a:gd name="T8" fmla="*/ 3003 w 33515"/>
              <a:gd name="T9" fmla="*/ 39763 h 39611"/>
              <a:gd name="T10" fmla="*/ 30159 w 33515"/>
              <a:gd name="T11" fmla="*/ 39763 h 39611"/>
              <a:gd name="T12" fmla="*/ 33162 w 33515"/>
              <a:gd name="T13" fmla="*/ 36703 h 39611"/>
              <a:gd name="T14" fmla="*/ 33162 w 33515"/>
              <a:gd name="T15" fmla="*/ 3059 h 39611"/>
              <a:gd name="T16" fmla="*/ 30159 w 33515"/>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39611">
                <a:moveTo>
                  <a:pt x="30480" y="0"/>
                </a:moveTo>
                <a:lnTo>
                  <a:pt x="3035" y="0"/>
                </a:lnTo>
                <a:lnTo>
                  <a:pt x="0" y="3047"/>
                </a:lnTo>
                <a:lnTo>
                  <a:pt x="0" y="36563"/>
                </a:lnTo>
                <a:lnTo>
                  <a:pt x="3035" y="39611"/>
                </a:lnTo>
                <a:lnTo>
                  <a:pt x="30480" y="39611"/>
                </a:lnTo>
                <a:lnTo>
                  <a:pt x="33515" y="36563"/>
                </a:lnTo>
                <a:lnTo>
                  <a:pt x="33515" y="3047"/>
                </a:lnTo>
                <a:lnTo>
                  <a:pt x="30480"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18" name="object 159">
            <a:extLst>
              <a:ext uri="{FF2B5EF4-FFF2-40B4-BE49-F238E27FC236}">
                <a16:creationId xmlns:a16="http://schemas.microsoft.com/office/drawing/2014/main" id="{E690F0FC-42B4-422C-8BC7-0F5F7F4DBB1D}"/>
              </a:ext>
            </a:extLst>
          </p:cNvPr>
          <p:cNvSpPr>
            <a:spLocks/>
          </p:cNvSpPr>
          <p:nvPr/>
        </p:nvSpPr>
        <p:spPr bwMode="auto">
          <a:xfrm>
            <a:off x="6404493" y="3502315"/>
            <a:ext cx="39688" cy="46037"/>
          </a:xfrm>
          <a:custGeom>
            <a:avLst/>
            <a:gdLst>
              <a:gd name="T0" fmla="*/ 30578 w 39624"/>
              <a:gd name="T1" fmla="*/ 0 h 45707"/>
              <a:gd name="T2" fmla="*/ 9161 w 39624"/>
              <a:gd name="T3" fmla="*/ 0 h 45707"/>
              <a:gd name="T4" fmla="*/ 3058 w 39624"/>
              <a:gd name="T5" fmla="*/ 3091 h 45707"/>
              <a:gd name="T6" fmla="*/ 0 w 39624"/>
              <a:gd name="T7" fmla="*/ 9275 h 45707"/>
              <a:gd name="T8" fmla="*/ 0 w 39624"/>
              <a:gd name="T9" fmla="*/ 40185 h 45707"/>
              <a:gd name="T10" fmla="*/ 3058 w 39624"/>
              <a:gd name="T11" fmla="*/ 43277 h 45707"/>
              <a:gd name="T12" fmla="*/ 3058 w 39624"/>
              <a:gd name="T13" fmla="*/ 46369 h 45707"/>
              <a:gd name="T14" fmla="*/ 36681 w 39624"/>
              <a:gd name="T15" fmla="*/ 46369 h 45707"/>
              <a:gd name="T16" fmla="*/ 36681 w 39624"/>
              <a:gd name="T17" fmla="*/ 43277 h 45707"/>
              <a:gd name="T18" fmla="*/ 39752 w 39624"/>
              <a:gd name="T19" fmla="*/ 40185 h 45707"/>
              <a:gd name="T20" fmla="*/ 9161 w 39624"/>
              <a:gd name="T21" fmla="*/ 40185 h 45707"/>
              <a:gd name="T22" fmla="*/ 6103 w 39624"/>
              <a:gd name="T23" fmla="*/ 37093 h 45707"/>
              <a:gd name="T24" fmla="*/ 6103 w 39624"/>
              <a:gd name="T25" fmla="*/ 9275 h 45707"/>
              <a:gd name="T26" fmla="*/ 9161 w 39624"/>
              <a:gd name="T27" fmla="*/ 6183 h 45707"/>
              <a:gd name="T28" fmla="*/ 38217 w 39624"/>
              <a:gd name="T29" fmla="*/ 6183 h 45707"/>
              <a:gd name="T30" fmla="*/ 36681 w 39624"/>
              <a:gd name="T31" fmla="*/ 3091 h 45707"/>
              <a:gd name="T32" fmla="*/ 30578 w 39624"/>
              <a:gd name="T33" fmla="*/ 0 h 45707"/>
              <a:gd name="T34" fmla="*/ 38217 w 39624"/>
              <a:gd name="T35" fmla="*/ 6183 h 45707"/>
              <a:gd name="T36" fmla="*/ 30578 w 39624"/>
              <a:gd name="T37" fmla="*/ 6183 h 45707"/>
              <a:gd name="T38" fmla="*/ 33636 w 39624"/>
              <a:gd name="T39" fmla="*/ 9275 h 45707"/>
              <a:gd name="T40" fmla="*/ 33636 w 39624"/>
              <a:gd name="T41" fmla="*/ 37093 h 45707"/>
              <a:gd name="T42" fmla="*/ 30578 w 39624"/>
              <a:gd name="T43" fmla="*/ 40185 h 45707"/>
              <a:gd name="T44" fmla="*/ 39752 w 39624"/>
              <a:gd name="T45" fmla="*/ 40185 h 45707"/>
              <a:gd name="T46" fmla="*/ 39752 w 39624"/>
              <a:gd name="T47" fmla="*/ 9275 h 45707"/>
              <a:gd name="T48" fmla="*/ 38217 w 39624"/>
              <a:gd name="T49" fmla="*/ 6183 h 45707"/>
              <a:gd name="T50" fmla="*/ 8137 w 39624"/>
              <a:gd name="T51" fmla="*/ 8250 h 45707"/>
              <a:gd name="T52" fmla="*/ 6103 w 39624"/>
              <a:gd name="T53" fmla="*/ 9275 h 45707"/>
              <a:gd name="T54" fmla="*/ 6103 w 39624"/>
              <a:gd name="T55" fmla="*/ 12356 h 45707"/>
              <a:gd name="T56" fmla="*/ 8137 w 39624"/>
              <a:gd name="T57" fmla="*/ 8250 h 45707"/>
              <a:gd name="T58" fmla="*/ 31602 w 39624"/>
              <a:gd name="T59" fmla="*/ 8250 h 45707"/>
              <a:gd name="T60" fmla="*/ 33636 w 39624"/>
              <a:gd name="T61" fmla="*/ 12356 h 45707"/>
              <a:gd name="T62" fmla="*/ 33636 w 39624"/>
              <a:gd name="T63" fmla="*/ 9275 h 45707"/>
              <a:gd name="T64" fmla="*/ 31602 w 39624"/>
              <a:gd name="T65" fmla="*/ 8250 h 45707"/>
              <a:gd name="T66" fmla="*/ 9161 w 39624"/>
              <a:gd name="T67" fmla="*/ 6183 h 45707"/>
              <a:gd name="T68" fmla="*/ 6103 w 39624"/>
              <a:gd name="T69" fmla="*/ 9275 h 45707"/>
              <a:gd name="T70" fmla="*/ 8137 w 39624"/>
              <a:gd name="T71" fmla="*/ 8250 h 45707"/>
              <a:gd name="T72" fmla="*/ 9161 w 39624"/>
              <a:gd name="T73" fmla="*/ 6183 h 45707"/>
              <a:gd name="T74" fmla="*/ 30578 w 39624"/>
              <a:gd name="T75" fmla="*/ 6183 h 45707"/>
              <a:gd name="T76" fmla="*/ 31602 w 39624"/>
              <a:gd name="T77" fmla="*/ 8250 h 45707"/>
              <a:gd name="T78" fmla="*/ 33636 w 39624"/>
              <a:gd name="T79" fmla="*/ 9275 h 45707"/>
              <a:gd name="T80" fmla="*/ 30578 w 39624"/>
              <a:gd name="T81" fmla="*/ 6183 h 45707"/>
              <a:gd name="T82" fmla="*/ 12232 w 39624"/>
              <a:gd name="T83" fmla="*/ 6183 h 45707"/>
              <a:gd name="T84" fmla="*/ 9161 w 39624"/>
              <a:gd name="T85" fmla="*/ 6183 h 45707"/>
              <a:gd name="T86" fmla="*/ 8137 w 39624"/>
              <a:gd name="T87" fmla="*/ 8250 h 45707"/>
              <a:gd name="T88" fmla="*/ 12232 w 39624"/>
              <a:gd name="T89" fmla="*/ 6183 h 45707"/>
              <a:gd name="T90" fmla="*/ 30578 w 39624"/>
              <a:gd name="T91" fmla="*/ 6183 h 45707"/>
              <a:gd name="T92" fmla="*/ 27507 w 39624"/>
              <a:gd name="T93" fmla="*/ 6183 h 45707"/>
              <a:gd name="T94" fmla="*/ 31602 w 39624"/>
              <a:gd name="T95" fmla="*/ 8250 h 45707"/>
              <a:gd name="T96" fmla="*/ 30578 w 39624"/>
              <a:gd name="T97" fmla="*/ 6183 h 4570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624" h="45707">
                <a:moveTo>
                  <a:pt x="30480" y="0"/>
                </a:moveTo>
                <a:lnTo>
                  <a:pt x="9131" y="0"/>
                </a:lnTo>
                <a:lnTo>
                  <a:pt x="3048" y="3047"/>
                </a:lnTo>
                <a:lnTo>
                  <a:pt x="0" y="9143"/>
                </a:lnTo>
                <a:lnTo>
                  <a:pt x="0" y="39611"/>
                </a:lnTo>
                <a:lnTo>
                  <a:pt x="3048" y="42659"/>
                </a:lnTo>
                <a:lnTo>
                  <a:pt x="3048" y="45707"/>
                </a:lnTo>
                <a:lnTo>
                  <a:pt x="36563" y="45707"/>
                </a:lnTo>
                <a:lnTo>
                  <a:pt x="36563" y="42659"/>
                </a:lnTo>
                <a:lnTo>
                  <a:pt x="39624" y="39611"/>
                </a:lnTo>
                <a:lnTo>
                  <a:pt x="9131" y="39611"/>
                </a:lnTo>
                <a:lnTo>
                  <a:pt x="6083" y="36563"/>
                </a:lnTo>
                <a:lnTo>
                  <a:pt x="6083" y="9143"/>
                </a:lnTo>
                <a:lnTo>
                  <a:pt x="9131" y="6095"/>
                </a:lnTo>
                <a:lnTo>
                  <a:pt x="38093" y="6095"/>
                </a:lnTo>
                <a:lnTo>
                  <a:pt x="36563" y="3047"/>
                </a:lnTo>
                <a:lnTo>
                  <a:pt x="30480" y="0"/>
                </a:lnTo>
                <a:close/>
              </a:path>
              <a:path w="39624" h="45707">
                <a:moveTo>
                  <a:pt x="38093" y="6095"/>
                </a:moveTo>
                <a:lnTo>
                  <a:pt x="30480" y="6095"/>
                </a:lnTo>
                <a:lnTo>
                  <a:pt x="33528" y="9143"/>
                </a:lnTo>
                <a:lnTo>
                  <a:pt x="33528" y="36563"/>
                </a:lnTo>
                <a:lnTo>
                  <a:pt x="30480" y="39611"/>
                </a:lnTo>
                <a:lnTo>
                  <a:pt x="39624" y="39611"/>
                </a:lnTo>
                <a:lnTo>
                  <a:pt x="39624" y="9143"/>
                </a:lnTo>
                <a:lnTo>
                  <a:pt x="38093" y="6095"/>
                </a:lnTo>
                <a:close/>
              </a:path>
              <a:path w="39624" h="45707">
                <a:moveTo>
                  <a:pt x="8111" y="8132"/>
                </a:moveTo>
                <a:lnTo>
                  <a:pt x="6083" y="9143"/>
                </a:lnTo>
                <a:lnTo>
                  <a:pt x="6083" y="12179"/>
                </a:lnTo>
                <a:lnTo>
                  <a:pt x="8111" y="8132"/>
                </a:lnTo>
                <a:close/>
              </a:path>
              <a:path w="39624" h="45707">
                <a:moveTo>
                  <a:pt x="31500" y="8132"/>
                </a:moveTo>
                <a:lnTo>
                  <a:pt x="33528" y="12179"/>
                </a:lnTo>
                <a:lnTo>
                  <a:pt x="33528" y="9143"/>
                </a:lnTo>
                <a:lnTo>
                  <a:pt x="31500" y="8132"/>
                </a:lnTo>
                <a:close/>
              </a:path>
              <a:path w="39624" h="45707">
                <a:moveTo>
                  <a:pt x="9131" y="6095"/>
                </a:moveTo>
                <a:lnTo>
                  <a:pt x="6083" y="9143"/>
                </a:lnTo>
                <a:lnTo>
                  <a:pt x="8111" y="8132"/>
                </a:lnTo>
                <a:lnTo>
                  <a:pt x="9131" y="6095"/>
                </a:lnTo>
                <a:close/>
              </a:path>
              <a:path w="39624" h="45707">
                <a:moveTo>
                  <a:pt x="30480" y="6095"/>
                </a:moveTo>
                <a:lnTo>
                  <a:pt x="31500" y="8132"/>
                </a:lnTo>
                <a:lnTo>
                  <a:pt x="33528" y="9143"/>
                </a:lnTo>
                <a:lnTo>
                  <a:pt x="30480" y="6095"/>
                </a:lnTo>
                <a:close/>
              </a:path>
              <a:path w="39624" h="45707">
                <a:moveTo>
                  <a:pt x="12192" y="6095"/>
                </a:moveTo>
                <a:lnTo>
                  <a:pt x="9131" y="6095"/>
                </a:lnTo>
                <a:lnTo>
                  <a:pt x="8111" y="8132"/>
                </a:lnTo>
                <a:lnTo>
                  <a:pt x="12192" y="6095"/>
                </a:lnTo>
                <a:close/>
              </a:path>
              <a:path w="39624" h="45707">
                <a:moveTo>
                  <a:pt x="30480" y="6095"/>
                </a:moveTo>
                <a:lnTo>
                  <a:pt x="27419" y="6095"/>
                </a:lnTo>
                <a:lnTo>
                  <a:pt x="31500" y="8132"/>
                </a:lnTo>
                <a:lnTo>
                  <a:pt x="30480"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19" name="object 160">
            <a:extLst>
              <a:ext uri="{FF2B5EF4-FFF2-40B4-BE49-F238E27FC236}">
                <a16:creationId xmlns:a16="http://schemas.microsoft.com/office/drawing/2014/main" id="{3F9A5019-129A-4632-AEE2-7B65E4A43199}"/>
              </a:ext>
            </a:extLst>
          </p:cNvPr>
          <p:cNvSpPr>
            <a:spLocks/>
          </p:cNvSpPr>
          <p:nvPr/>
        </p:nvSpPr>
        <p:spPr bwMode="auto">
          <a:xfrm>
            <a:off x="6401318" y="3559465"/>
            <a:ext cx="46038" cy="55562"/>
          </a:xfrm>
          <a:custGeom>
            <a:avLst/>
            <a:gdLst>
              <a:gd name="T0" fmla="*/ 43270 w 45719"/>
              <a:gd name="T1" fmla="*/ 0 h 54851"/>
              <a:gd name="T2" fmla="*/ 6182 w 45719"/>
              <a:gd name="T3" fmla="*/ 0 h 54851"/>
              <a:gd name="T4" fmla="*/ 0 w 45719"/>
              <a:gd name="T5" fmla="*/ 3128 h 54851"/>
              <a:gd name="T6" fmla="*/ 0 w 45719"/>
              <a:gd name="T7" fmla="*/ 50027 h 54851"/>
              <a:gd name="T8" fmla="*/ 6182 w 45719"/>
              <a:gd name="T9" fmla="*/ 56282 h 54851"/>
              <a:gd name="T10" fmla="*/ 43270 w 45719"/>
              <a:gd name="T11" fmla="*/ 56282 h 54851"/>
              <a:gd name="T12" fmla="*/ 46360 w 45719"/>
              <a:gd name="T13" fmla="*/ 50027 h 54851"/>
              <a:gd name="T14" fmla="*/ 46360 w 45719"/>
              <a:gd name="T15" fmla="*/ 3128 h 54851"/>
              <a:gd name="T16" fmla="*/ 43270 w 45719"/>
              <a:gd name="T17" fmla="*/ 0 h 548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19" h="54851">
                <a:moveTo>
                  <a:pt x="42672" y="0"/>
                </a:moveTo>
                <a:lnTo>
                  <a:pt x="6096" y="0"/>
                </a:lnTo>
                <a:lnTo>
                  <a:pt x="0" y="3048"/>
                </a:lnTo>
                <a:lnTo>
                  <a:pt x="0" y="48755"/>
                </a:lnTo>
                <a:lnTo>
                  <a:pt x="6096" y="54851"/>
                </a:lnTo>
                <a:lnTo>
                  <a:pt x="42672" y="54851"/>
                </a:lnTo>
                <a:lnTo>
                  <a:pt x="45720" y="48755"/>
                </a:lnTo>
                <a:lnTo>
                  <a:pt x="45720" y="3048"/>
                </a:lnTo>
                <a:lnTo>
                  <a:pt x="42672"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20" name="object 161">
            <a:extLst>
              <a:ext uri="{FF2B5EF4-FFF2-40B4-BE49-F238E27FC236}">
                <a16:creationId xmlns:a16="http://schemas.microsoft.com/office/drawing/2014/main" id="{BDAD7929-83E3-4390-B254-9B7FAAA7E5C3}"/>
              </a:ext>
            </a:extLst>
          </p:cNvPr>
          <p:cNvSpPr>
            <a:spLocks/>
          </p:cNvSpPr>
          <p:nvPr/>
        </p:nvSpPr>
        <p:spPr bwMode="auto">
          <a:xfrm>
            <a:off x="6407668" y="3565815"/>
            <a:ext cx="33338" cy="42862"/>
          </a:xfrm>
          <a:custGeom>
            <a:avLst/>
            <a:gdLst>
              <a:gd name="T0" fmla="*/ 30159 w 33515"/>
              <a:gd name="T1" fmla="*/ 0 h 42646"/>
              <a:gd name="T2" fmla="*/ 3003 w 33515"/>
              <a:gd name="T3" fmla="*/ 0 h 42646"/>
              <a:gd name="T4" fmla="*/ 0 w 33515"/>
              <a:gd name="T5" fmla="*/ 3079 h 42646"/>
              <a:gd name="T6" fmla="*/ 0 w 33515"/>
              <a:gd name="T7" fmla="*/ 40014 h 42646"/>
              <a:gd name="T8" fmla="*/ 3003 w 33515"/>
              <a:gd name="T9" fmla="*/ 43079 h 42646"/>
              <a:gd name="T10" fmla="*/ 30159 w 33515"/>
              <a:gd name="T11" fmla="*/ 43079 h 42646"/>
              <a:gd name="T12" fmla="*/ 33162 w 33515"/>
              <a:gd name="T13" fmla="*/ 40014 h 42646"/>
              <a:gd name="T14" fmla="*/ 33162 w 33515"/>
              <a:gd name="T15" fmla="*/ 3079 h 42646"/>
              <a:gd name="T16" fmla="*/ 30159 w 33515"/>
              <a:gd name="T17" fmla="*/ 0 h 426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42646">
                <a:moveTo>
                  <a:pt x="30480" y="0"/>
                </a:moveTo>
                <a:lnTo>
                  <a:pt x="3035" y="0"/>
                </a:lnTo>
                <a:lnTo>
                  <a:pt x="0" y="3048"/>
                </a:lnTo>
                <a:lnTo>
                  <a:pt x="0" y="39611"/>
                </a:lnTo>
                <a:lnTo>
                  <a:pt x="3035" y="42646"/>
                </a:lnTo>
                <a:lnTo>
                  <a:pt x="30480" y="42646"/>
                </a:lnTo>
                <a:lnTo>
                  <a:pt x="33515" y="39611"/>
                </a:lnTo>
                <a:lnTo>
                  <a:pt x="33515" y="3048"/>
                </a:lnTo>
                <a:lnTo>
                  <a:pt x="30480"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21" name="object 162">
            <a:extLst>
              <a:ext uri="{FF2B5EF4-FFF2-40B4-BE49-F238E27FC236}">
                <a16:creationId xmlns:a16="http://schemas.microsoft.com/office/drawing/2014/main" id="{D886A87F-2076-461A-BEF3-AD7DC9CC5865}"/>
              </a:ext>
            </a:extLst>
          </p:cNvPr>
          <p:cNvSpPr>
            <a:spLocks/>
          </p:cNvSpPr>
          <p:nvPr/>
        </p:nvSpPr>
        <p:spPr bwMode="auto">
          <a:xfrm>
            <a:off x="6404493" y="3562640"/>
            <a:ext cx="39688" cy="49212"/>
          </a:xfrm>
          <a:custGeom>
            <a:avLst/>
            <a:gdLst>
              <a:gd name="T0" fmla="*/ 9161 w 39624"/>
              <a:gd name="T1" fmla="*/ 46554 h 48755"/>
              <a:gd name="T2" fmla="*/ 30578 w 39624"/>
              <a:gd name="T3" fmla="*/ 49673 h 48755"/>
              <a:gd name="T4" fmla="*/ 30578 w 39624"/>
              <a:gd name="T5" fmla="*/ 0 h 48755"/>
              <a:gd name="T6" fmla="*/ 3058 w 39624"/>
              <a:gd name="T7" fmla="*/ 3106 h 48755"/>
              <a:gd name="T8" fmla="*/ 0 w 39624"/>
              <a:gd name="T9" fmla="*/ 9303 h 48755"/>
              <a:gd name="T10" fmla="*/ 3058 w 39624"/>
              <a:gd name="T11" fmla="*/ 43463 h 48755"/>
              <a:gd name="T12" fmla="*/ 36681 w 39624"/>
              <a:gd name="T13" fmla="*/ 46554 h 48755"/>
              <a:gd name="T14" fmla="*/ 12232 w 39624"/>
              <a:gd name="T15" fmla="*/ 43463 h 48755"/>
              <a:gd name="T16" fmla="*/ 9161 w 39624"/>
              <a:gd name="T17" fmla="*/ 40357 h 48755"/>
              <a:gd name="T18" fmla="*/ 6103 w 39624"/>
              <a:gd name="T19" fmla="*/ 9303 h 48755"/>
              <a:gd name="T20" fmla="*/ 36681 w 39624"/>
              <a:gd name="T21" fmla="*/ 6211 h 48755"/>
              <a:gd name="T22" fmla="*/ 30578 w 39624"/>
              <a:gd name="T23" fmla="*/ 0 h 48755"/>
              <a:gd name="T24" fmla="*/ 9161 w 39624"/>
              <a:gd name="T25" fmla="*/ 40357 h 48755"/>
              <a:gd name="T26" fmla="*/ 27507 w 39624"/>
              <a:gd name="T27" fmla="*/ 43463 h 48755"/>
              <a:gd name="T28" fmla="*/ 36681 w 39624"/>
              <a:gd name="T29" fmla="*/ 6211 h 48755"/>
              <a:gd name="T30" fmla="*/ 33636 w 39624"/>
              <a:gd name="T31" fmla="*/ 9303 h 48755"/>
              <a:gd name="T32" fmla="*/ 30578 w 39624"/>
              <a:gd name="T33" fmla="*/ 40357 h 48755"/>
              <a:gd name="T34" fmla="*/ 27507 w 39624"/>
              <a:gd name="T35" fmla="*/ 43463 h 48755"/>
              <a:gd name="T36" fmla="*/ 39752 w 39624"/>
              <a:gd name="T37" fmla="*/ 40357 h 48755"/>
              <a:gd name="T38" fmla="*/ 36681 w 39624"/>
              <a:gd name="T39" fmla="*/ 6211 h 48755"/>
              <a:gd name="T40" fmla="*/ 6103 w 39624"/>
              <a:gd name="T41" fmla="*/ 9303 h 48755"/>
              <a:gd name="T42" fmla="*/ 8142 w 39624"/>
              <a:gd name="T43" fmla="*/ 8273 h 48755"/>
              <a:gd name="T44" fmla="*/ 33636 w 39624"/>
              <a:gd name="T45" fmla="*/ 12408 h 48755"/>
              <a:gd name="T46" fmla="*/ 31596 w 39624"/>
              <a:gd name="T47" fmla="*/ 8273 h 48755"/>
              <a:gd name="T48" fmla="*/ 6103 w 39624"/>
              <a:gd name="T49" fmla="*/ 9303 h 48755"/>
              <a:gd name="T50" fmla="*/ 9161 w 39624"/>
              <a:gd name="T51" fmla="*/ 6211 h 48755"/>
              <a:gd name="T52" fmla="*/ 31596 w 39624"/>
              <a:gd name="T53" fmla="*/ 8273 h 48755"/>
              <a:gd name="T54" fmla="*/ 30578 w 39624"/>
              <a:gd name="T55" fmla="*/ 6211 h 48755"/>
              <a:gd name="T56" fmla="*/ 9161 w 39624"/>
              <a:gd name="T57" fmla="*/ 6211 h 48755"/>
              <a:gd name="T58" fmla="*/ 12232 w 39624"/>
              <a:gd name="T59" fmla="*/ 6211 h 48755"/>
              <a:gd name="T60" fmla="*/ 27507 w 39624"/>
              <a:gd name="T61" fmla="*/ 6211 h 48755"/>
              <a:gd name="T62" fmla="*/ 30578 w 39624"/>
              <a:gd name="T63" fmla="*/ 6211 h 487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9624" h="48755">
                <a:moveTo>
                  <a:pt x="30480" y="45694"/>
                </a:moveTo>
                <a:lnTo>
                  <a:pt x="9131" y="45694"/>
                </a:lnTo>
                <a:lnTo>
                  <a:pt x="9131" y="48755"/>
                </a:lnTo>
                <a:lnTo>
                  <a:pt x="30480" y="48755"/>
                </a:lnTo>
                <a:lnTo>
                  <a:pt x="30480" y="45694"/>
                </a:lnTo>
                <a:close/>
              </a:path>
              <a:path w="39624" h="48755">
                <a:moveTo>
                  <a:pt x="30480" y="0"/>
                </a:moveTo>
                <a:lnTo>
                  <a:pt x="9131" y="0"/>
                </a:lnTo>
                <a:lnTo>
                  <a:pt x="3048" y="3048"/>
                </a:lnTo>
                <a:lnTo>
                  <a:pt x="3048" y="6096"/>
                </a:lnTo>
                <a:lnTo>
                  <a:pt x="0" y="9131"/>
                </a:lnTo>
                <a:lnTo>
                  <a:pt x="0" y="39611"/>
                </a:lnTo>
                <a:lnTo>
                  <a:pt x="3048" y="42659"/>
                </a:lnTo>
                <a:lnTo>
                  <a:pt x="3048" y="45694"/>
                </a:lnTo>
                <a:lnTo>
                  <a:pt x="36563" y="45694"/>
                </a:lnTo>
                <a:lnTo>
                  <a:pt x="36563" y="42659"/>
                </a:lnTo>
                <a:lnTo>
                  <a:pt x="12192" y="42659"/>
                </a:lnTo>
                <a:lnTo>
                  <a:pt x="6083" y="39611"/>
                </a:lnTo>
                <a:lnTo>
                  <a:pt x="9131" y="39611"/>
                </a:lnTo>
                <a:lnTo>
                  <a:pt x="6083" y="36563"/>
                </a:lnTo>
                <a:lnTo>
                  <a:pt x="6083" y="9131"/>
                </a:lnTo>
                <a:lnTo>
                  <a:pt x="9131" y="6096"/>
                </a:lnTo>
                <a:lnTo>
                  <a:pt x="36563" y="6096"/>
                </a:lnTo>
                <a:lnTo>
                  <a:pt x="36563" y="3048"/>
                </a:lnTo>
                <a:lnTo>
                  <a:pt x="30480" y="0"/>
                </a:lnTo>
                <a:close/>
              </a:path>
              <a:path w="39624" h="48755">
                <a:moveTo>
                  <a:pt x="30480" y="39611"/>
                </a:moveTo>
                <a:lnTo>
                  <a:pt x="9131" y="39611"/>
                </a:lnTo>
                <a:lnTo>
                  <a:pt x="12192" y="42659"/>
                </a:lnTo>
                <a:lnTo>
                  <a:pt x="27419" y="42659"/>
                </a:lnTo>
                <a:lnTo>
                  <a:pt x="30480" y="39611"/>
                </a:lnTo>
                <a:close/>
              </a:path>
              <a:path w="39624" h="48755">
                <a:moveTo>
                  <a:pt x="36563" y="6096"/>
                </a:moveTo>
                <a:lnTo>
                  <a:pt x="30480" y="6096"/>
                </a:lnTo>
                <a:lnTo>
                  <a:pt x="33528" y="9131"/>
                </a:lnTo>
                <a:lnTo>
                  <a:pt x="33528" y="36563"/>
                </a:lnTo>
                <a:lnTo>
                  <a:pt x="30480" y="39611"/>
                </a:lnTo>
                <a:lnTo>
                  <a:pt x="33528" y="39611"/>
                </a:lnTo>
                <a:lnTo>
                  <a:pt x="27419" y="42659"/>
                </a:lnTo>
                <a:lnTo>
                  <a:pt x="36563" y="42659"/>
                </a:lnTo>
                <a:lnTo>
                  <a:pt x="39624" y="39611"/>
                </a:lnTo>
                <a:lnTo>
                  <a:pt x="39624" y="9131"/>
                </a:lnTo>
                <a:lnTo>
                  <a:pt x="36563" y="6096"/>
                </a:lnTo>
                <a:close/>
              </a:path>
              <a:path w="39624" h="48755">
                <a:moveTo>
                  <a:pt x="8116" y="8120"/>
                </a:moveTo>
                <a:lnTo>
                  <a:pt x="6083" y="9131"/>
                </a:lnTo>
                <a:lnTo>
                  <a:pt x="6083" y="12179"/>
                </a:lnTo>
                <a:lnTo>
                  <a:pt x="8116" y="8120"/>
                </a:lnTo>
                <a:close/>
              </a:path>
              <a:path w="39624" h="48755">
                <a:moveTo>
                  <a:pt x="31494" y="8120"/>
                </a:moveTo>
                <a:lnTo>
                  <a:pt x="33528" y="12179"/>
                </a:lnTo>
                <a:lnTo>
                  <a:pt x="33528" y="9131"/>
                </a:lnTo>
                <a:lnTo>
                  <a:pt x="31494" y="8120"/>
                </a:lnTo>
                <a:close/>
              </a:path>
              <a:path w="39624" h="48755">
                <a:moveTo>
                  <a:pt x="9131" y="6096"/>
                </a:moveTo>
                <a:lnTo>
                  <a:pt x="6083" y="9131"/>
                </a:lnTo>
                <a:lnTo>
                  <a:pt x="8116" y="8120"/>
                </a:lnTo>
                <a:lnTo>
                  <a:pt x="9131" y="6096"/>
                </a:lnTo>
                <a:close/>
              </a:path>
              <a:path w="39624" h="48755">
                <a:moveTo>
                  <a:pt x="30480" y="6096"/>
                </a:moveTo>
                <a:lnTo>
                  <a:pt x="31494" y="8120"/>
                </a:lnTo>
                <a:lnTo>
                  <a:pt x="33528" y="9131"/>
                </a:lnTo>
                <a:lnTo>
                  <a:pt x="30480" y="6096"/>
                </a:lnTo>
                <a:close/>
              </a:path>
              <a:path w="39624" h="48755">
                <a:moveTo>
                  <a:pt x="12192" y="6096"/>
                </a:moveTo>
                <a:lnTo>
                  <a:pt x="9131" y="6096"/>
                </a:lnTo>
                <a:lnTo>
                  <a:pt x="8116" y="8120"/>
                </a:lnTo>
                <a:lnTo>
                  <a:pt x="12192" y="6096"/>
                </a:lnTo>
                <a:close/>
              </a:path>
              <a:path w="39624" h="48755">
                <a:moveTo>
                  <a:pt x="30480" y="6096"/>
                </a:moveTo>
                <a:lnTo>
                  <a:pt x="27419" y="6096"/>
                </a:lnTo>
                <a:lnTo>
                  <a:pt x="31494" y="8120"/>
                </a:lnTo>
                <a:lnTo>
                  <a:pt x="30480" y="6096"/>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22" name="object 163">
            <a:extLst>
              <a:ext uri="{FF2B5EF4-FFF2-40B4-BE49-F238E27FC236}">
                <a16:creationId xmlns:a16="http://schemas.microsoft.com/office/drawing/2014/main" id="{3D4FC34A-B993-4954-A76E-6D25A460C22F}"/>
              </a:ext>
            </a:extLst>
          </p:cNvPr>
          <p:cNvSpPr>
            <a:spLocks/>
          </p:cNvSpPr>
          <p:nvPr/>
        </p:nvSpPr>
        <p:spPr bwMode="auto">
          <a:xfrm>
            <a:off x="6401318" y="3618202"/>
            <a:ext cx="46038" cy="53975"/>
          </a:xfrm>
          <a:custGeom>
            <a:avLst/>
            <a:gdLst>
              <a:gd name="T0" fmla="*/ 43270 w 45719"/>
              <a:gd name="T1" fmla="*/ 0 h 54851"/>
              <a:gd name="T2" fmla="*/ 6182 w 45719"/>
              <a:gd name="T3" fmla="*/ 0 h 54851"/>
              <a:gd name="T4" fmla="*/ 0 w 45719"/>
              <a:gd name="T5" fmla="*/ 5902 h 54851"/>
              <a:gd name="T6" fmla="*/ 0 w 45719"/>
              <a:gd name="T7" fmla="*/ 50162 h 54851"/>
              <a:gd name="T8" fmla="*/ 6182 w 45719"/>
              <a:gd name="T9" fmla="*/ 53113 h 54851"/>
              <a:gd name="T10" fmla="*/ 43270 w 45719"/>
              <a:gd name="T11" fmla="*/ 53113 h 54851"/>
              <a:gd name="T12" fmla="*/ 46360 w 45719"/>
              <a:gd name="T13" fmla="*/ 50162 h 54851"/>
              <a:gd name="T14" fmla="*/ 46360 w 45719"/>
              <a:gd name="T15" fmla="*/ 5902 h 54851"/>
              <a:gd name="T16" fmla="*/ 43270 w 45719"/>
              <a:gd name="T17" fmla="*/ 0 h 548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19" h="54851">
                <a:moveTo>
                  <a:pt x="42672" y="0"/>
                </a:moveTo>
                <a:lnTo>
                  <a:pt x="6096" y="0"/>
                </a:lnTo>
                <a:lnTo>
                  <a:pt x="0" y="6095"/>
                </a:lnTo>
                <a:lnTo>
                  <a:pt x="0" y="51803"/>
                </a:lnTo>
                <a:lnTo>
                  <a:pt x="6096" y="54851"/>
                </a:lnTo>
                <a:lnTo>
                  <a:pt x="42672" y="54851"/>
                </a:lnTo>
                <a:lnTo>
                  <a:pt x="45720" y="51803"/>
                </a:lnTo>
                <a:lnTo>
                  <a:pt x="45720" y="6095"/>
                </a:lnTo>
                <a:lnTo>
                  <a:pt x="42672"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23" name="object 164">
            <a:extLst>
              <a:ext uri="{FF2B5EF4-FFF2-40B4-BE49-F238E27FC236}">
                <a16:creationId xmlns:a16="http://schemas.microsoft.com/office/drawing/2014/main" id="{3BE3E43A-26C8-4686-94E6-FFAEA4C492E0}"/>
              </a:ext>
            </a:extLst>
          </p:cNvPr>
          <p:cNvSpPr>
            <a:spLocks/>
          </p:cNvSpPr>
          <p:nvPr/>
        </p:nvSpPr>
        <p:spPr bwMode="auto">
          <a:xfrm>
            <a:off x="6407668" y="3627727"/>
            <a:ext cx="33338" cy="39688"/>
          </a:xfrm>
          <a:custGeom>
            <a:avLst/>
            <a:gdLst>
              <a:gd name="T0" fmla="*/ 30159 w 33515"/>
              <a:gd name="T1" fmla="*/ 0 h 39611"/>
              <a:gd name="T2" fmla="*/ 3003 w 33515"/>
              <a:gd name="T3" fmla="*/ 0 h 39611"/>
              <a:gd name="T4" fmla="*/ 0 w 33515"/>
              <a:gd name="T5" fmla="*/ 3059 h 39611"/>
              <a:gd name="T6" fmla="*/ 0 w 33515"/>
              <a:gd name="T7" fmla="*/ 36717 h 39611"/>
              <a:gd name="T8" fmla="*/ 3003 w 33515"/>
              <a:gd name="T9" fmla="*/ 39765 h 39611"/>
              <a:gd name="T10" fmla="*/ 30159 w 33515"/>
              <a:gd name="T11" fmla="*/ 39765 h 39611"/>
              <a:gd name="T12" fmla="*/ 33162 w 33515"/>
              <a:gd name="T13" fmla="*/ 36717 h 39611"/>
              <a:gd name="T14" fmla="*/ 33162 w 33515"/>
              <a:gd name="T15" fmla="*/ 3059 h 39611"/>
              <a:gd name="T16" fmla="*/ 30159 w 33515"/>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39611">
                <a:moveTo>
                  <a:pt x="30480" y="0"/>
                </a:moveTo>
                <a:lnTo>
                  <a:pt x="3035" y="0"/>
                </a:lnTo>
                <a:lnTo>
                  <a:pt x="0" y="3047"/>
                </a:lnTo>
                <a:lnTo>
                  <a:pt x="0" y="36575"/>
                </a:lnTo>
                <a:lnTo>
                  <a:pt x="3035" y="39611"/>
                </a:lnTo>
                <a:lnTo>
                  <a:pt x="30480" y="39611"/>
                </a:lnTo>
                <a:lnTo>
                  <a:pt x="33515" y="36575"/>
                </a:lnTo>
                <a:lnTo>
                  <a:pt x="33515" y="3047"/>
                </a:lnTo>
                <a:lnTo>
                  <a:pt x="30480"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24" name="object 165">
            <a:extLst>
              <a:ext uri="{FF2B5EF4-FFF2-40B4-BE49-F238E27FC236}">
                <a16:creationId xmlns:a16="http://schemas.microsoft.com/office/drawing/2014/main" id="{7A1DA089-C1C3-4BF1-96B2-5BF37A190662}"/>
              </a:ext>
            </a:extLst>
          </p:cNvPr>
          <p:cNvSpPr>
            <a:spLocks/>
          </p:cNvSpPr>
          <p:nvPr/>
        </p:nvSpPr>
        <p:spPr bwMode="auto">
          <a:xfrm>
            <a:off x="6404493" y="3624552"/>
            <a:ext cx="39688" cy="44450"/>
          </a:xfrm>
          <a:custGeom>
            <a:avLst/>
            <a:gdLst>
              <a:gd name="T0" fmla="*/ 36681 w 39624"/>
              <a:gd name="T1" fmla="*/ 0 h 45694"/>
              <a:gd name="T2" fmla="*/ 3058 w 39624"/>
              <a:gd name="T3" fmla="*/ 0 h 45694"/>
              <a:gd name="T4" fmla="*/ 3058 w 39624"/>
              <a:gd name="T5" fmla="*/ 2872 h 45694"/>
              <a:gd name="T6" fmla="*/ 0 w 39624"/>
              <a:gd name="T7" fmla="*/ 8640 h 45694"/>
              <a:gd name="T8" fmla="*/ 0 w 39624"/>
              <a:gd name="T9" fmla="*/ 34600 h 45694"/>
              <a:gd name="T10" fmla="*/ 3058 w 39624"/>
              <a:gd name="T11" fmla="*/ 40356 h 45694"/>
              <a:gd name="T12" fmla="*/ 9161 w 39624"/>
              <a:gd name="T13" fmla="*/ 43240 h 45694"/>
              <a:gd name="T14" fmla="*/ 30578 w 39624"/>
              <a:gd name="T15" fmla="*/ 43240 h 45694"/>
              <a:gd name="T16" fmla="*/ 36681 w 39624"/>
              <a:gd name="T17" fmla="*/ 40356 h 45694"/>
              <a:gd name="T18" fmla="*/ 38214 w 39624"/>
              <a:gd name="T19" fmla="*/ 37484 h 45694"/>
              <a:gd name="T20" fmla="*/ 9161 w 39624"/>
              <a:gd name="T21" fmla="*/ 37484 h 45694"/>
              <a:gd name="T22" fmla="*/ 6103 w 39624"/>
              <a:gd name="T23" fmla="*/ 34600 h 45694"/>
              <a:gd name="T24" fmla="*/ 6103 w 39624"/>
              <a:gd name="T25" fmla="*/ 8640 h 45694"/>
              <a:gd name="T26" fmla="*/ 9161 w 39624"/>
              <a:gd name="T27" fmla="*/ 5756 h 45694"/>
              <a:gd name="T28" fmla="*/ 38217 w 39624"/>
              <a:gd name="T29" fmla="*/ 5756 h 45694"/>
              <a:gd name="T30" fmla="*/ 36681 w 39624"/>
              <a:gd name="T31" fmla="*/ 2872 h 45694"/>
              <a:gd name="T32" fmla="*/ 36681 w 39624"/>
              <a:gd name="T33" fmla="*/ 0 h 45694"/>
              <a:gd name="T34" fmla="*/ 6103 w 39624"/>
              <a:gd name="T35" fmla="*/ 34600 h 45694"/>
              <a:gd name="T36" fmla="*/ 9161 w 39624"/>
              <a:gd name="T37" fmla="*/ 37484 h 45694"/>
              <a:gd name="T38" fmla="*/ 12232 w 39624"/>
              <a:gd name="T39" fmla="*/ 37484 h 45694"/>
              <a:gd name="T40" fmla="*/ 6103 w 39624"/>
              <a:gd name="T41" fmla="*/ 34600 h 45694"/>
              <a:gd name="T42" fmla="*/ 33636 w 39624"/>
              <a:gd name="T43" fmla="*/ 34600 h 45694"/>
              <a:gd name="T44" fmla="*/ 27507 w 39624"/>
              <a:gd name="T45" fmla="*/ 37484 h 45694"/>
              <a:gd name="T46" fmla="*/ 30578 w 39624"/>
              <a:gd name="T47" fmla="*/ 37484 h 45694"/>
              <a:gd name="T48" fmla="*/ 33636 w 39624"/>
              <a:gd name="T49" fmla="*/ 34600 h 45694"/>
              <a:gd name="T50" fmla="*/ 38217 w 39624"/>
              <a:gd name="T51" fmla="*/ 5756 h 45694"/>
              <a:gd name="T52" fmla="*/ 30578 w 39624"/>
              <a:gd name="T53" fmla="*/ 5756 h 45694"/>
              <a:gd name="T54" fmla="*/ 33636 w 39624"/>
              <a:gd name="T55" fmla="*/ 8640 h 45694"/>
              <a:gd name="T56" fmla="*/ 33636 w 39624"/>
              <a:gd name="T57" fmla="*/ 34600 h 45694"/>
              <a:gd name="T58" fmla="*/ 30578 w 39624"/>
              <a:gd name="T59" fmla="*/ 37484 h 45694"/>
              <a:gd name="T60" fmla="*/ 38214 w 39624"/>
              <a:gd name="T61" fmla="*/ 37484 h 45694"/>
              <a:gd name="T62" fmla="*/ 39752 w 39624"/>
              <a:gd name="T63" fmla="*/ 34600 h 45694"/>
              <a:gd name="T64" fmla="*/ 39752 w 39624"/>
              <a:gd name="T65" fmla="*/ 8640 h 45694"/>
              <a:gd name="T66" fmla="*/ 38217 w 39624"/>
              <a:gd name="T67" fmla="*/ 5756 h 4569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9624" h="45694">
                <a:moveTo>
                  <a:pt x="36563" y="0"/>
                </a:moveTo>
                <a:lnTo>
                  <a:pt x="3048" y="0"/>
                </a:lnTo>
                <a:lnTo>
                  <a:pt x="3048" y="3035"/>
                </a:lnTo>
                <a:lnTo>
                  <a:pt x="0" y="9131"/>
                </a:lnTo>
                <a:lnTo>
                  <a:pt x="0" y="36563"/>
                </a:lnTo>
                <a:lnTo>
                  <a:pt x="3048" y="42646"/>
                </a:lnTo>
                <a:lnTo>
                  <a:pt x="9131" y="45694"/>
                </a:lnTo>
                <a:lnTo>
                  <a:pt x="30480" y="45694"/>
                </a:lnTo>
                <a:lnTo>
                  <a:pt x="36563" y="42646"/>
                </a:lnTo>
                <a:lnTo>
                  <a:pt x="38090" y="39611"/>
                </a:lnTo>
                <a:lnTo>
                  <a:pt x="9131" y="39611"/>
                </a:lnTo>
                <a:lnTo>
                  <a:pt x="6083" y="36563"/>
                </a:lnTo>
                <a:lnTo>
                  <a:pt x="6083" y="9131"/>
                </a:lnTo>
                <a:lnTo>
                  <a:pt x="9131" y="6083"/>
                </a:lnTo>
                <a:lnTo>
                  <a:pt x="38093" y="6083"/>
                </a:lnTo>
                <a:lnTo>
                  <a:pt x="36563" y="3035"/>
                </a:lnTo>
                <a:lnTo>
                  <a:pt x="36563" y="0"/>
                </a:lnTo>
                <a:close/>
              </a:path>
              <a:path w="39624" h="45694">
                <a:moveTo>
                  <a:pt x="6083" y="36563"/>
                </a:moveTo>
                <a:lnTo>
                  <a:pt x="9131" y="39611"/>
                </a:lnTo>
                <a:lnTo>
                  <a:pt x="12192" y="39611"/>
                </a:lnTo>
                <a:lnTo>
                  <a:pt x="6083" y="36563"/>
                </a:lnTo>
                <a:close/>
              </a:path>
              <a:path w="39624" h="45694">
                <a:moveTo>
                  <a:pt x="33528" y="36563"/>
                </a:moveTo>
                <a:lnTo>
                  <a:pt x="27419" y="39611"/>
                </a:lnTo>
                <a:lnTo>
                  <a:pt x="30480" y="39611"/>
                </a:lnTo>
                <a:lnTo>
                  <a:pt x="33528" y="36563"/>
                </a:lnTo>
                <a:close/>
              </a:path>
              <a:path w="39624" h="45694">
                <a:moveTo>
                  <a:pt x="38093" y="6083"/>
                </a:moveTo>
                <a:lnTo>
                  <a:pt x="30480" y="6083"/>
                </a:lnTo>
                <a:lnTo>
                  <a:pt x="33528" y="9131"/>
                </a:lnTo>
                <a:lnTo>
                  <a:pt x="33528" y="36563"/>
                </a:lnTo>
                <a:lnTo>
                  <a:pt x="30480" y="39611"/>
                </a:lnTo>
                <a:lnTo>
                  <a:pt x="38090" y="39611"/>
                </a:lnTo>
                <a:lnTo>
                  <a:pt x="39624" y="36563"/>
                </a:lnTo>
                <a:lnTo>
                  <a:pt x="39624" y="9131"/>
                </a:lnTo>
                <a:lnTo>
                  <a:pt x="38093" y="6083"/>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25" name="object 166">
            <a:extLst>
              <a:ext uri="{FF2B5EF4-FFF2-40B4-BE49-F238E27FC236}">
                <a16:creationId xmlns:a16="http://schemas.microsoft.com/office/drawing/2014/main" id="{3E588391-24CC-485F-A401-E0A6A91E20ED}"/>
              </a:ext>
            </a:extLst>
          </p:cNvPr>
          <p:cNvSpPr>
            <a:spLocks/>
          </p:cNvSpPr>
          <p:nvPr/>
        </p:nvSpPr>
        <p:spPr bwMode="auto">
          <a:xfrm>
            <a:off x="6401318" y="3681702"/>
            <a:ext cx="46038" cy="52388"/>
          </a:xfrm>
          <a:custGeom>
            <a:avLst/>
            <a:gdLst>
              <a:gd name="T0" fmla="*/ 43270 w 45719"/>
              <a:gd name="T1" fmla="*/ 0 h 51803"/>
              <a:gd name="T2" fmla="*/ 6182 w 45719"/>
              <a:gd name="T3" fmla="*/ 0 h 51803"/>
              <a:gd name="T4" fmla="*/ 0 w 45719"/>
              <a:gd name="T5" fmla="*/ 3104 h 51803"/>
              <a:gd name="T6" fmla="*/ 0 w 45719"/>
              <a:gd name="T7" fmla="*/ 49863 h 51803"/>
              <a:gd name="T8" fmla="*/ 6182 w 45719"/>
              <a:gd name="T9" fmla="*/ 52980 h 51803"/>
              <a:gd name="T10" fmla="*/ 43270 w 45719"/>
              <a:gd name="T11" fmla="*/ 52980 h 51803"/>
              <a:gd name="T12" fmla="*/ 46360 w 45719"/>
              <a:gd name="T13" fmla="*/ 49863 h 51803"/>
              <a:gd name="T14" fmla="*/ 46360 w 45719"/>
              <a:gd name="T15" fmla="*/ 3104 h 51803"/>
              <a:gd name="T16" fmla="*/ 43270 w 45719"/>
              <a:gd name="T17" fmla="*/ 0 h 518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19" h="51803">
                <a:moveTo>
                  <a:pt x="42672" y="0"/>
                </a:moveTo>
                <a:lnTo>
                  <a:pt x="6096" y="0"/>
                </a:lnTo>
                <a:lnTo>
                  <a:pt x="0" y="3035"/>
                </a:lnTo>
                <a:lnTo>
                  <a:pt x="0" y="48755"/>
                </a:lnTo>
                <a:lnTo>
                  <a:pt x="6096" y="51803"/>
                </a:lnTo>
                <a:lnTo>
                  <a:pt x="42672" y="51803"/>
                </a:lnTo>
                <a:lnTo>
                  <a:pt x="45720" y="48755"/>
                </a:lnTo>
                <a:lnTo>
                  <a:pt x="45720" y="3035"/>
                </a:lnTo>
                <a:lnTo>
                  <a:pt x="42672"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26" name="object 167">
            <a:extLst>
              <a:ext uri="{FF2B5EF4-FFF2-40B4-BE49-F238E27FC236}">
                <a16:creationId xmlns:a16="http://schemas.microsoft.com/office/drawing/2014/main" id="{B2D7289D-13D8-4086-B697-ED0C67D03D32}"/>
              </a:ext>
            </a:extLst>
          </p:cNvPr>
          <p:cNvSpPr>
            <a:spLocks/>
          </p:cNvSpPr>
          <p:nvPr/>
        </p:nvSpPr>
        <p:spPr bwMode="auto">
          <a:xfrm>
            <a:off x="6407668" y="3688052"/>
            <a:ext cx="33338" cy="39688"/>
          </a:xfrm>
          <a:custGeom>
            <a:avLst/>
            <a:gdLst>
              <a:gd name="T0" fmla="*/ 30159 w 33515"/>
              <a:gd name="T1" fmla="*/ 0 h 39611"/>
              <a:gd name="T2" fmla="*/ 3003 w 33515"/>
              <a:gd name="T3" fmla="*/ 0 h 39611"/>
              <a:gd name="T4" fmla="*/ 0 w 33515"/>
              <a:gd name="T5" fmla="*/ 3059 h 39611"/>
              <a:gd name="T6" fmla="*/ 0 w 33515"/>
              <a:gd name="T7" fmla="*/ 36705 h 39611"/>
              <a:gd name="T8" fmla="*/ 3003 w 33515"/>
              <a:gd name="T9" fmla="*/ 39765 h 39611"/>
              <a:gd name="T10" fmla="*/ 30159 w 33515"/>
              <a:gd name="T11" fmla="*/ 39765 h 39611"/>
              <a:gd name="T12" fmla="*/ 33162 w 33515"/>
              <a:gd name="T13" fmla="*/ 36705 h 39611"/>
              <a:gd name="T14" fmla="*/ 33162 w 33515"/>
              <a:gd name="T15" fmla="*/ 3059 h 39611"/>
              <a:gd name="T16" fmla="*/ 30159 w 33515"/>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39611">
                <a:moveTo>
                  <a:pt x="30480" y="0"/>
                </a:moveTo>
                <a:lnTo>
                  <a:pt x="3035" y="0"/>
                </a:lnTo>
                <a:lnTo>
                  <a:pt x="0" y="3047"/>
                </a:lnTo>
                <a:lnTo>
                  <a:pt x="0" y="36563"/>
                </a:lnTo>
                <a:lnTo>
                  <a:pt x="3035" y="39611"/>
                </a:lnTo>
                <a:lnTo>
                  <a:pt x="30480" y="39611"/>
                </a:lnTo>
                <a:lnTo>
                  <a:pt x="33515" y="36563"/>
                </a:lnTo>
                <a:lnTo>
                  <a:pt x="33515" y="3047"/>
                </a:lnTo>
                <a:lnTo>
                  <a:pt x="30480"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27" name="object 168">
            <a:extLst>
              <a:ext uri="{FF2B5EF4-FFF2-40B4-BE49-F238E27FC236}">
                <a16:creationId xmlns:a16="http://schemas.microsoft.com/office/drawing/2014/main" id="{0347A92F-C21A-4323-B2AE-8A52F951CF80}"/>
              </a:ext>
            </a:extLst>
          </p:cNvPr>
          <p:cNvSpPr>
            <a:spLocks/>
          </p:cNvSpPr>
          <p:nvPr/>
        </p:nvSpPr>
        <p:spPr bwMode="auto">
          <a:xfrm>
            <a:off x="6404493" y="3684877"/>
            <a:ext cx="39688" cy="46038"/>
          </a:xfrm>
          <a:custGeom>
            <a:avLst/>
            <a:gdLst>
              <a:gd name="T0" fmla="*/ 30578 w 39624"/>
              <a:gd name="T1" fmla="*/ 0 h 45707"/>
              <a:gd name="T2" fmla="*/ 9161 w 39624"/>
              <a:gd name="T3" fmla="*/ 0 h 45707"/>
              <a:gd name="T4" fmla="*/ 3058 w 39624"/>
              <a:gd name="T5" fmla="*/ 3091 h 45707"/>
              <a:gd name="T6" fmla="*/ 0 w 39624"/>
              <a:gd name="T7" fmla="*/ 9276 h 45707"/>
              <a:gd name="T8" fmla="*/ 0 w 39624"/>
              <a:gd name="T9" fmla="*/ 40187 h 45707"/>
              <a:gd name="T10" fmla="*/ 3058 w 39624"/>
              <a:gd name="T11" fmla="*/ 43279 h 45707"/>
              <a:gd name="T12" fmla="*/ 3058 w 39624"/>
              <a:gd name="T13" fmla="*/ 46371 h 45707"/>
              <a:gd name="T14" fmla="*/ 36681 w 39624"/>
              <a:gd name="T15" fmla="*/ 46371 h 45707"/>
              <a:gd name="T16" fmla="*/ 36681 w 39624"/>
              <a:gd name="T17" fmla="*/ 43279 h 45707"/>
              <a:gd name="T18" fmla="*/ 39752 w 39624"/>
              <a:gd name="T19" fmla="*/ 40187 h 45707"/>
              <a:gd name="T20" fmla="*/ 9161 w 39624"/>
              <a:gd name="T21" fmla="*/ 40187 h 45707"/>
              <a:gd name="T22" fmla="*/ 6103 w 39624"/>
              <a:gd name="T23" fmla="*/ 37095 h 45707"/>
              <a:gd name="T24" fmla="*/ 6103 w 39624"/>
              <a:gd name="T25" fmla="*/ 9276 h 45707"/>
              <a:gd name="T26" fmla="*/ 9161 w 39624"/>
              <a:gd name="T27" fmla="*/ 6183 h 45707"/>
              <a:gd name="T28" fmla="*/ 38217 w 39624"/>
              <a:gd name="T29" fmla="*/ 6183 h 45707"/>
              <a:gd name="T30" fmla="*/ 36681 w 39624"/>
              <a:gd name="T31" fmla="*/ 3091 h 45707"/>
              <a:gd name="T32" fmla="*/ 30578 w 39624"/>
              <a:gd name="T33" fmla="*/ 0 h 45707"/>
              <a:gd name="T34" fmla="*/ 38217 w 39624"/>
              <a:gd name="T35" fmla="*/ 6183 h 45707"/>
              <a:gd name="T36" fmla="*/ 30578 w 39624"/>
              <a:gd name="T37" fmla="*/ 6183 h 45707"/>
              <a:gd name="T38" fmla="*/ 33636 w 39624"/>
              <a:gd name="T39" fmla="*/ 9276 h 45707"/>
              <a:gd name="T40" fmla="*/ 33636 w 39624"/>
              <a:gd name="T41" fmla="*/ 37095 h 45707"/>
              <a:gd name="T42" fmla="*/ 30578 w 39624"/>
              <a:gd name="T43" fmla="*/ 40187 h 45707"/>
              <a:gd name="T44" fmla="*/ 39752 w 39624"/>
              <a:gd name="T45" fmla="*/ 40187 h 45707"/>
              <a:gd name="T46" fmla="*/ 39752 w 39624"/>
              <a:gd name="T47" fmla="*/ 9276 h 45707"/>
              <a:gd name="T48" fmla="*/ 38217 w 39624"/>
              <a:gd name="T49" fmla="*/ 6183 h 45707"/>
              <a:gd name="T50" fmla="*/ 8139 w 39624"/>
              <a:gd name="T51" fmla="*/ 8248 h 45707"/>
              <a:gd name="T52" fmla="*/ 6103 w 39624"/>
              <a:gd name="T53" fmla="*/ 9276 h 45707"/>
              <a:gd name="T54" fmla="*/ 6103 w 39624"/>
              <a:gd name="T55" fmla="*/ 12368 h 45707"/>
              <a:gd name="T56" fmla="*/ 8139 w 39624"/>
              <a:gd name="T57" fmla="*/ 8248 h 45707"/>
              <a:gd name="T58" fmla="*/ 31599 w 39624"/>
              <a:gd name="T59" fmla="*/ 8248 h 45707"/>
              <a:gd name="T60" fmla="*/ 33636 w 39624"/>
              <a:gd name="T61" fmla="*/ 12368 h 45707"/>
              <a:gd name="T62" fmla="*/ 33636 w 39624"/>
              <a:gd name="T63" fmla="*/ 9276 h 45707"/>
              <a:gd name="T64" fmla="*/ 31599 w 39624"/>
              <a:gd name="T65" fmla="*/ 8248 h 45707"/>
              <a:gd name="T66" fmla="*/ 9161 w 39624"/>
              <a:gd name="T67" fmla="*/ 6183 h 45707"/>
              <a:gd name="T68" fmla="*/ 6103 w 39624"/>
              <a:gd name="T69" fmla="*/ 9276 h 45707"/>
              <a:gd name="T70" fmla="*/ 8139 w 39624"/>
              <a:gd name="T71" fmla="*/ 8248 h 45707"/>
              <a:gd name="T72" fmla="*/ 9161 w 39624"/>
              <a:gd name="T73" fmla="*/ 6183 h 45707"/>
              <a:gd name="T74" fmla="*/ 30578 w 39624"/>
              <a:gd name="T75" fmla="*/ 6183 h 45707"/>
              <a:gd name="T76" fmla="*/ 31599 w 39624"/>
              <a:gd name="T77" fmla="*/ 8248 h 45707"/>
              <a:gd name="T78" fmla="*/ 33636 w 39624"/>
              <a:gd name="T79" fmla="*/ 9276 h 45707"/>
              <a:gd name="T80" fmla="*/ 30578 w 39624"/>
              <a:gd name="T81" fmla="*/ 6183 h 45707"/>
              <a:gd name="T82" fmla="*/ 12232 w 39624"/>
              <a:gd name="T83" fmla="*/ 6183 h 45707"/>
              <a:gd name="T84" fmla="*/ 9161 w 39624"/>
              <a:gd name="T85" fmla="*/ 6183 h 45707"/>
              <a:gd name="T86" fmla="*/ 8139 w 39624"/>
              <a:gd name="T87" fmla="*/ 8248 h 45707"/>
              <a:gd name="T88" fmla="*/ 12232 w 39624"/>
              <a:gd name="T89" fmla="*/ 6183 h 45707"/>
              <a:gd name="T90" fmla="*/ 30578 w 39624"/>
              <a:gd name="T91" fmla="*/ 6183 h 45707"/>
              <a:gd name="T92" fmla="*/ 27507 w 39624"/>
              <a:gd name="T93" fmla="*/ 6183 h 45707"/>
              <a:gd name="T94" fmla="*/ 31599 w 39624"/>
              <a:gd name="T95" fmla="*/ 8248 h 45707"/>
              <a:gd name="T96" fmla="*/ 30578 w 39624"/>
              <a:gd name="T97" fmla="*/ 6183 h 4570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624" h="45707">
                <a:moveTo>
                  <a:pt x="30480" y="0"/>
                </a:moveTo>
                <a:lnTo>
                  <a:pt x="9131" y="0"/>
                </a:lnTo>
                <a:lnTo>
                  <a:pt x="3048" y="3047"/>
                </a:lnTo>
                <a:lnTo>
                  <a:pt x="0" y="9143"/>
                </a:lnTo>
                <a:lnTo>
                  <a:pt x="0" y="39611"/>
                </a:lnTo>
                <a:lnTo>
                  <a:pt x="3048" y="42659"/>
                </a:lnTo>
                <a:lnTo>
                  <a:pt x="3048" y="45707"/>
                </a:lnTo>
                <a:lnTo>
                  <a:pt x="36563" y="45707"/>
                </a:lnTo>
                <a:lnTo>
                  <a:pt x="36563" y="42659"/>
                </a:lnTo>
                <a:lnTo>
                  <a:pt x="39624" y="39611"/>
                </a:lnTo>
                <a:lnTo>
                  <a:pt x="9131" y="39611"/>
                </a:lnTo>
                <a:lnTo>
                  <a:pt x="6083" y="36563"/>
                </a:lnTo>
                <a:lnTo>
                  <a:pt x="6083" y="9143"/>
                </a:lnTo>
                <a:lnTo>
                  <a:pt x="9131" y="6095"/>
                </a:lnTo>
                <a:lnTo>
                  <a:pt x="38093" y="6095"/>
                </a:lnTo>
                <a:lnTo>
                  <a:pt x="36563" y="3047"/>
                </a:lnTo>
                <a:lnTo>
                  <a:pt x="30480" y="0"/>
                </a:lnTo>
                <a:close/>
              </a:path>
              <a:path w="39624" h="45707">
                <a:moveTo>
                  <a:pt x="38093" y="6095"/>
                </a:moveTo>
                <a:lnTo>
                  <a:pt x="30480" y="6095"/>
                </a:lnTo>
                <a:lnTo>
                  <a:pt x="33528" y="9143"/>
                </a:lnTo>
                <a:lnTo>
                  <a:pt x="33528" y="36563"/>
                </a:lnTo>
                <a:lnTo>
                  <a:pt x="30480" y="39611"/>
                </a:lnTo>
                <a:lnTo>
                  <a:pt x="39624" y="39611"/>
                </a:lnTo>
                <a:lnTo>
                  <a:pt x="39624" y="9143"/>
                </a:lnTo>
                <a:lnTo>
                  <a:pt x="38093" y="6095"/>
                </a:lnTo>
                <a:close/>
              </a:path>
              <a:path w="39624" h="45707">
                <a:moveTo>
                  <a:pt x="8113" y="8130"/>
                </a:moveTo>
                <a:lnTo>
                  <a:pt x="6083" y="9143"/>
                </a:lnTo>
                <a:lnTo>
                  <a:pt x="6083" y="12191"/>
                </a:lnTo>
                <a:lnTo>
                  <a:pt x="8113" y="8130"/>
                </a:lnTo>
                <a:close/>
              </a:path>
              <a:path w="39624" h="45707">
                <a:moveTo>
                  <a:pt x="31497" y="8130"/>
                </a:moveTo>
                <a:lnTo>
                  <a:pt x="33528" y="12191"/>
                </a:lnTo>
                <a:lnTo>
                  <a:pt x="33528" y="9143"/>
                </a:lnTo>
                <a:lnTo>
                  <a:pt x="31497" y="8130"/>
                </a:lnTo>
                <a:close/>
              </a:path>
              <a:path w="39624" h="45707">
                <a:moveTo>
                  <a:pt x="9131" y="6095"/>
                </a:moveTo>
                <a:lnTo>
                  <a:pt x="6083" y="9143"/>
                </a:lnTo>
                <a:lnTo>
                  <a:pt x="8113" y="8130"/>
                </a:lnTo>
                <a:lnTo>
                  <a:pt x="9131" y="6095"/>
                </a:lnTo>
                <a:close/>
              </a:path>
              <a:path w="39624" h="45707">
                <a:moveTo>
                  <a:pt x="30480" y="6095"/>
                </a:moveTo>
                <a:lnTo>
                  <a:pt x="31497" y="8130"/>
                </a:lnTo>
                <a:lnTo>
                  <a:pt x="33528" y="9143"/>
                </a:lnTo>
                <a:lnTo>
                  <a:pt x="30480" y="6095"/>
                </a:lnTo>
                <a:close/>
              </a:path>
              <a:path w="39624" h="45707">
                <a:moveTo>
                  <a:pt x="12192" y="6095"/>
                </a:moveTo>
                <a:lnTo>
                  <a:pt x="9131" y="6095"/>
                </a:lnTo>
                <a:lnTo>
                  <a:pt x="8113" y="8130"/>
                </a:lnTo>
                <a:lnTo>
                  <a:pt x="12192" y="6095"/>
                </a:lnTo>
                <a:close/>
              </a:path>
              <a:path w="39624" h="45707">
                <a:moveTo>
                  <a:pt x="30480" y="6095"/>
                </a:moveTo>
                <a:lnTo>
                  <a:pt x="27419" y="6095"/>
                </a:lnTo>
                <a:lnTo>
                  <a:pt x="31497" y="8130"/>
                </a:lnTo>
                <a:lnTo>
                  <a:pt x="30480"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28" name="object 283">
            <a:extLst>
              <a:ext uri="{FF2B5EF4-FFF2-40B4-BE49-F238E27FC236}">
                <a16:creationId xmlns:a16="http://schemas.microsoft.com/office/drawing/2014/main" id="{55E78755-25F6-4791-8499-DBF49C7D0E1A}"/>
              </a:ext>
            </a:extLst>
          </p:cNvPr>
          <p:cNvSpPr txBox="1">
            <a:spLocks noChangeArrowheads="1"/>
          </p:cNvSpPr>
          <p:nvPr/>
        </p:nvSpPr>
        <p:spPr bwMode="auto">
          <a:xfrm>
            <a:off x="6318768" y="5235865"/>
            <a:ext cx="500063"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463">
              <a:spcBef>
                <a:spcPct val="20000"/>
              </a:spcBef>
              <a:buChar char="•"/>
              <a:tabLst>
                <a:tab pos="800100" algn="l"/>
                <a:tab pos="1384300" algn="l"/>
              </a:tabLst>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tabLst>
                <a:tab pos="800100" algn="l"/>
                <a:tab pos="1384300" algn="l"/>
              </a:tabLst>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tabLst>
                <a:tab pos="800100" algn="l"/>
                <a:tab pos="1384300" algn="l"/>
              </a:tabLst>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9pPr>
          </a:lstStyle>
          <a:p>
            <a:pPr>
              <a:lnSpc>
                <a:spcPts val="875"/>
              </a:lnSpc>
              <a:spcBef>
                <a:spcPct val="0"/>
              </a:spcBef>
              <a:buFontTx/>
              <a:buNone/>
            </a:pPr>
            <a:r>
              <a:rPr lang="zh-CN" altLang="en-US" sz="800" dirty="0">
                <a:latin typeface="宋体" panose="02010600030101010101" pitchFamily="2" charset="-122"/>
              </a:rPr>
              <a:t>冻干与自动基础料</a:t>
            </a:r>
            <a:endParaRPr lang="zh-CN" altLang="zh-CN" sz="800" dirty="0">
              <a:latin typeface="宋体" panose="02010600030101010101" pitchFamily="2" charset="-122"/>
            </a:endParaRPr>
          </a:p>
        </p:txBody>
      </p:sp>
      <p:sp>
        <p:nvSpPr>
          <p:cNvPr id="329" name="object 320">
            <a:extLst>
              <a:ext uri="{FF2B5EF4-FFF2-40B4-BE49-F238E27FC236}">
                <a16:creationId xmlns:a16="http://schemas.microsoft.com/office/drawing/2014/main" id="{7347FB89-9D8E-44D9-B68E-73E40970AC94}"/>
              </a:ext>
            </a:extLst>
          </p:cNvPr>
          <p:cNvSpPr txBox="1">
            <a:spLocks noChangeArrowheads="1"/>
          </p:cNvSpPr>
          <p:nvPr/>
        </p:nvSpPr>
        <p:spPr bwMode="auto">
          <a:xfrm>
            <a:off x="6396556" y="3459452"/>
            <a:ext cx="12700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330" name="object 335">
            <a:extLst>
              <a:ext uri="{FF2B5EF4-FFF2-40B4-BE49-F238E27FC236}">
                <a16:creationId xmlns:a16="http://schemas.microsoft.com/office/drawing/2014/main" id="{8B4F57A2-297C-421C-9FEF-54F9729A4973}"/>
              </a:ext>
            </a:extLst>
          </p:cNvPr>
          <p:cNvSpPr txBox="1">
            <a:spLocks noChangeArrowheads="1"/>
          </p:cNvSpPr>
          <p:nvPr/>
        </p:nvSpPr>
        <p:spPr bwMode="auto">
          <a:xfrm>
            <a:off x="6396556" y="3789652"/>
            <a:ext cx="38100" cy="4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331" name="object 336">
            <a:extLst>
              <a:ext uri="{FF2B5EF4-FFF2-40B4-BE49-F238E27FC236}">
                <a16:creationId xmlns:a16="http://schemas.microsoft.com/office/drawing/2014/main" id="{A713572D-DA7C-4DC9-BFC3-E6787B7BC692}"/>
              </a:ext>
            </a:extLst>
          </p:cNvPr>
          <p:cNvSpPr txBox="1">
            <a:spLocks noChangeArrowheads="1"/>
          </p:cNvSpPr>
          <p:nvPr/>
        </p:nvSpPr>
        <p:spPr bwMode="auto">
          <a:xfrm>
            <a:off x="6434656" y="3789652"/>
            <a:ext cx="88900" cy="4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332" name="object 142">
            <a:extLst>
              <a:ext uri="{FF2B5EF4-FFF2-40B4-BE49-F238E27FC236}">
                <a16:creationId xmlns:a16="http://schemas.microsoft.com/office/drawing/2014/main" id="{E5C6B782-D8E8-4511-8382-09DF8AE57C99}"/>
              </a:ext>
            </a:extLst>
          </p:cNvPr>
          <p:cNvSpPr>
            <a:spLocks noChangeArrowheads="1"/>
          </p:cNvSpPr>
          <p:nvPr/>
        </p:nvSpPr>
        <p:spPr bwMode="auto">
          <a:xfrm>
            <a:off x="6261618" y="4099215"/>
            <a:ext cx="485775" cy="350837"/>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333" name="object 283">
            <a:extLst>
              <a:ext uri="{FF2B5EF4-FFF2-40B4-BE49-F238E27FC236}">
                <a16:creationId xmlns:a16="http://schemas.microsoft.com/office/drawing/2014/main" id="{36DEBC22-531C-4D52-BDEA-807BA5002210}"/>
              </a:ext>
            </a:extLst>
          </p:cNvPr>
          <p:cNvSpPr txBox="1"/>
          <p:nvPr/>
        </p:nvSpPr>
        <p:spPr>
          <a:xfrm>
            <a:off x="6247331" y="5092990"/>
            <a:ext cx="704850" cy="204787"/>
          </a:xfrm>
          <a:prstGeom prst="rect">
            <a:avLst/>
          </a:prstGeom>
        </p:spPr>
        <p:txBody>
          <a:bodyPr lIns="0" tIns="0" rIns="0" bIns="0"/>
          <a:lstStyle/>
          <a:p>
            <a:pPr marL="18287">
              <a:lnSpc>
                <a:spcPts val="875"/>
              </a:lnSpc>
              <a:spcBef>
                <a:spcPts val="3"/>
              </a:spcBef>
              <a:tabLst>
                <a:tab pos="800100" algn="l"/>
                <a:tab pos="1384300" algn="l"/>
              </a:tabLst>
              <a:defRPr/>
            </a:pPr>
            <a:r>
              <a:rPr sz="1200" baseline="-7246" dirty="0">
                <a:latin typeface="Arial"/>
                <a:cs typeface="Arial"/>
              </a:rPr>
              <a:t>PLC/Si</a:t>
            </a:r>
            <a:r>
              <a:rPr sz="1200" spc="-14" baseline="-7246" dirty="0">
                <a:latin typeface="Arial"/>
                <a:cs typeface="Arial"/>
              </a:rPr>
              <a:t>m</a:t>
            </a:r>
            <a:r>
              <a:rPr sz="1200" spc="-29" baseline="-7246" dirty="0">
                <a:latin typeface="Arial"/>
                <a:cs typeface="Arial"/>
              </a:rPr>
              <a:t>o</a:t>
            </a:r>
            <a:r>
              <a:rPr sz="1200" baseline="-7246" dirty="0">
                <a:latin typeface="Arial"/>
                <a:cs typeface="Arial"/>
              </a:rPr>
              <a:t>t</a:t>
            </a:r>
            <a:r>
              <a:rPr sz="1200" spc="14" baseline="-7246" dirty="0">
                <a:latin typeface="Arial"/>
                <a:cs typeface="Arial"/>
              </a:rPr>
              <a:t>io</a:t>
            </a:r>
            <a:r>
              <a:rPr sz="1200" baseline="-7246" dirty="0">
                <a:latin typeface="Arial"/>
                <a:cs typeface="Arial"/>
              </a:rPr>
              <a:t>n</a:t>
            </a:r>
            <a:endParaRPr sz="800" dirty="0">
              <a:latin typeface="Arial"/>
              <a:cs typeface="Arial"/>
            </a:endParaRPr>
          </a:p>
        </p:txBody>
      </p:sp>
      <p:sp>
        <p:nvSpPr>
          <p:cNvPr id="334" name="object 283">
            <a:extLst>
              <a:ext uri="{FF2B5EF4-FFF2-40B4-BE49-F238E27FC236}">
                <a16:creationId xmlns:a16="http://schemas.microsoft.com/office/drawing/2014/main" id="{1369D1AD-2759-4495-8EF2-35FF2DB156E9}"/>
              </a:ext>
            </a:extLst>
          </p:cNvPr>
          <p:cNvSpPr txBox="1">
            <a:spLocks noChangeArrowheads="1"/>
          </p:cNvSpPr>
          <p:nvPr/>
        </p:nvSpPr>
        <p:spPr bwMode="auto">
          <a:xfrm>
            <a:off x="6533081" y="4521490"/>
            <a:ext cx="490537"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463">
              <a:spcBef>
                <a:spcPct val="20000"/>
              </a:spcBef>
              <a:buChar char="•"/>
              <a:tabLst>
                <a:tab pos="800100" algn="l"/>
                <a:tab pos="1384300" algn="l"/>
              </a:tabLst>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tabLst>
                <a:tab pos="800100" algn="l"/>
                <a:tab pos="1384300" algn="l"/>
              </a:tabLst>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tabLst>
                <a:tab pos="800100" algn="l"/>
                <a:tab pos="1384300" algn="l"/>
              </a:tabLst>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9pPr>
          </a:lstStyle>
          <a:p>
            <a:pPr>
              <a:lnSpc>
                <a:spcPts val="875"/>
              </a:lnSpc>
              <a:spcBef>
                <a:spcPct val="0"/>
              </a:spcBef>
              <a:buFontTx/>
              <a:buNone/>
            </a:pPr>
            <a:r>
              <a:rPr lang="en-US" altLang="zh-CN" sz="1200" baseline="-7000">
                <a:cs typeface="Arial" panose="020B0604020202020204" pitchFamily="34" charset="0"/>
              </a:rPr>
              <a:t>Panel PC</a:t>
            </a:r>
            <a:endParaRPr lang="zh-CN" altLang="zh-CN" sz="800">
              <a:cs typeface="Arial" panose="020B0604020202020204" pitchFamily="34" charset="0"/>
            </a:endParaRPr>
          </a:p>
        </p:txBody>
      </p:sp>
      <p:sp>
        <p:nvSpPr>
          <p:cNvPr id="335" name="object 138">
            <a:extLst>
              <a:ext uri="{FF2B5EF4-FFF2-40B4-BE49-F238E27FC236}">
                <a16:creationId xmlns:a16="http://schemas.microsoft.com/office/drawing/2014/main" id="{B64A0608-FE39-433F-8608-6C2AC68988E6}"/>
              </a:ext>
            </a:extLst>
          </p:cNvPr>
          <p:cNvSpPr>
            <a:spLocks/>
          </p:cNvSpPr>
          <p:nvPr/>
        </p:nvSpPr>
        <p:spPr bwMode="auto">
          <a:xfrm>
            <a:off x="7168081" y="3983327"/>
            <a:ext cx="1008062" cy="1752600"/>
          </a:xfrm>
          <a:custGeom>
            <a:avLst/>
            <a:gdLst>
              <a:gd name="T0" fmla="*/ 0 w 1871459"/>
              <a:gd name="T1" fmla="*/ 2838752 h 1082027"/>
              <a:gd name="T2" fmla="*/ 542993 w 1871459"/>
              <a:gd name="T3" fmla="*/ 2838752 h 1082027"/>
              <a:gd name="T4" fmla="*/ 542993 w 1871459"/>
              <a:gd name="T5" fmla="*/ 0 h 1082027"/>
              <a:gd name="T6" fmla="*/ 0 w 1871459"/>
              <a:gd name="T7" fmla="*/ 0 h 1082027"/>
              <a:gd name="T8" fmla="*/ 0 w 1871459"/>
              <a:gd name="T9" fmla="*/ 2838752 h 10820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71459" h="1082027">
                <a:moveTo>
                  <a:pt x="0" y="1082027"/>
                </a:moveTo>
                <a:lnTo>
                  <a:pt x="1871459" y="1082027"/>
                </a:lnTo>
                <a:lnTo>
                  <a:pt x="1871459" y="0"/>
                </a:lnTo>
                <a:lnTo>
                  <a:pt x="0" y="0"/>
                </a:lnTo>
                <a:lnTo>
                  <a:pt x="0" y="1082027"/>
                </a:lnTo>
                <a:close/>
              </a:path>
            </a:pathLst>
          </a:custGeom>
          <a:solidFill>
            <a:srgbClr val="EEF1F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36" name="object 144">
            <a:extLst>
              <a:ext uri="{FF2B5EF4-FFF2-40B4-BE49-F238E27FC236}">
                <a16:creationId xmlns:a16="http://schemas.microsoft.com/office/drawing/2014/main" id="{ED95880E-C6EF-4231-A82C-DCCCD73A1D84}"/>
              </a:ext>
            </a:extLst>
          </p:cNvPr>
          <p:cNvSpPr>
            <a:spLocks/>
          </p:cNvSpPr>
          <p:nvPr/>
        </p:nvSpPr>
        <p:spPr bwMode="auto">
          <a:xfrm flipH="1">
            <a:off x="7533206" y="3830927"/>
            <a:ext cx="46037" cy="976313"/>
          </a:xfrm>
          <a:custGeom>
            <a:avLst/>
            <a:gdLst>
              <a:gd name="T0" fmla="*/ 62604 w 30467"/>
              <a:gd name="T1" fmla="*/ 0 h 969251"/>
              <a:gd name="T2" fmla="*/ 0 w 30467"/>
              <a:gd name="T3" fmla="*/ 0 h 969251"/>
              <a:gd name="T4" fmla="*/ 6957 w 30467"/>
              <a:gd name="T5" fmla="*/ 983426 h 969251"/>
              <a:gd name="T6" fmla="*/ 69564 w 30467"/>
              <a:gd name="T7" fmla="*/ 983426 h 969251"/>
              <a:gd name="T8" fmla="*/ 62604 w 30467"/>
              <a:gd name="T9" fmla="*/ 0 h 96925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467" h="969251">
                <a:moveTo>
                  <a:pt x="27419" y="0"/>
                </a:moveTo>
                <a:lnTo>
                  <a:pt x="0" y="0"/>
                </a:lnTo>
                <a:lnTo>
                  <a:pt x="3047" y="969251"/>
                </a:lnTo>
                <a:lnTo>
                  <a:pt x="30467" y="969251"/>
                </a:lnTo>
                <a:lnTo>
                  <a:pt x="27419" y="0"/>
                </a:lnTo>
                <a:close/>
              </a:path>
            </a:pathLst>
          </a:custGeom>
          <a:solidFill>
            <a:srgbClr val="5F973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37" name="object 146">
            <a:extLst>
              <a:ext uri="{FF2B5EF4-FFF2-40B4-BE49-F238E27FC236}">
                <a16:creationId xmlns:a16="http://schemas.microsoft.com/office/drawing/2014/main" id="{A6B12C6B-3FE6-43AA-BEFE-B560C3B392D6}"/>
              </a:ext>
            </a:extLst>
          </p:cNvPr>
          <p:cNvSpPr>
            <a:spLocks noChangeArrowheads="1"/>
          </p:cNvSpPr>
          <p:nvPr/>
        </p:nvSpPr>
        <p:spPr bwMode="auto">
          <a:xfrm>
            <a:off x="7318893" y="4807240"/>
            <a:ext cx="428625" cy="249237"/>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338" name="object 147">
            <a:extLst>
              <a:ext uri="{FF2B5EF4-FFF2-40B4-BE49-F238E27FC236}">
                <a16:creationId xmlns:a16="http://schemas.microsoft.com/office/drawing/2014/main" id="{1790DB5A-42A5-4F16-891E-99591FBBA0F9}"/>
              </a:ext>
            </a:extLst>
          </p:cNvPr>
          <p:cNvSpPr>
            <a:spLocks/>
          </p:cNvSpPr>
          <p:nvPr/>
        </p:nvSpPr>
        <p:spPr bwMode="auto">
          <a:xfrm>
            <a:off x="7468118" y="3465802"/>
            <a:ext cx="142875" cy="368300"/>
          </a:xfrm>
          <a:custGeom>
            <a:avLst/>
            <a:gdLst>
              <a:gd name="T0" fmla="*/ 0 w 143256"/>
              <a:gd name="T1" fmla="*/ 367794 h 368807"/>
              <a:gd name="T2" fmla="*/ 142495 w 143256"/>
              <a:gd name="T3" fmla="*/ 367794 h 368807"/>
              <a:gd name="T4" fmla="*/ 142495 w 143256"/>
              <a:gd name="T5" fmla="*/ 0 h 368807"/>
              <a:gd name="T6" fmla="*/ 0 w 143256"/>
              <a:gd name="T7" fmla="*/ 0 h 368807"/>
              <a:gd name="T8" fmla="*/ 0 w 143256"/>
              <a:gd name="T9" fmla="*/ 367794 h 3688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3256" h="368807">
                <a:moveTo>
                  <a:pt x="0" y="368807"/>
                </a:moveTo>
                <a:lnTo>
                  <a:pt x="143256" y="368807"/>
                </a:lnTo>
                <a:lnTo>
                  <a:pt x="143256" y="0"/>
                </a:lnTo>
                <a:lnTo>
                  <a:pt x="0" y="0"/>
                </a:lnTo>
                <a:lnTo>
                  <a:pt x="0" y="368807"/>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39" name="object 148">
            <a:extLst>
              <a:ext uri="{FF2B5EF4-FFF2-40B4-BE49-F238E27FC236}">
                <a16:creationId xmlns:a16="http://schemas.microsoft.com/office/drawing/2014/main" id="{4A635BB6-F0E2-47EE-A0DF-8D43ECBFA120}"/>
              </a:ext>
            </a:extLst>
          </p:cNvPr>
          <p:cNvSpPr>
            <a:spLocks/>
          </p:cNvSpPr>
          <p:nvPr/>
        </p:nvSpPr>
        <p:spPr bwMode="auto">
          <a:xfrm>
            <a:off x="7461768" y="3459452"/>
            <a:ext cx="152400" cy="381000"/>
          </a:xfrm>
          <a:custGeom>
            <a:avLst/>
            <a:gdLst>
              <a:gd name="T0" fmla="*/ 152400 w 152400"/>
              <a:gd name="T1" fmla="*/ 0 h 381000"/>
              <a:gd name="T2" fmla="*/ 0 w 152400"/>
              <a:gd name="T3" fmla="*/ 0 h 381000"/>
              <a:gd name="T4" fmla="*/ 0 w 152400"/>
              <a:gd name="T5" fmla="*/ 380999 h 381000"/>
              <a:gd name="T6" fmla="*/ 152400 w 152400"/>
              <a:gd name="T7" fmla="*/ 380999 h 381000"/>
              <a:gd name="T8" fmla="*/ 152400 w 152400"/>
              <a:gd name="T9" fmla="*/ 374903 h 381000"/>
              <a:gd name="T10" fmla="*/ 9131 w 152400"/>
              <a:gd name="T11" fmla="*/ 374903 h 381000"/>
              <a:gd name="T12" fmla="*/ 6083 w 152400"/>
              <a:gd name="T13" fmla="*/ 371855 h 381000"/>
              <a:gd name="T14" fmla="*/ 9131 w 152400"/>
              <a:gd name="T15" fmla="*/ 371855 h 381000"/>
              <a:gd name="T16" fmla="*/ 9131 w 152400"/>
              <a:gd name="T17" fmla="*/ 9143 h 381000"/>
              <a:gd name="T18" fmla="*/ 6083 w 152400"/>
              <a:gd name="T19" fmla="*/ 9143 h 381000"/>
              <a:gd name="T20" fmla="*/ 9131 w 152400"/>
              <a:gd name="T21" fmla="*/ 6095 h 381000"/>
              <a:gd name="T22" fmla="*/ 152400 w 152400"/>
              <a:gd name="T23" fmla="*/ 6095 h 381000"/>
              <a:gd name="T24" fmla="*/ 152400 w 152400"/>
              <a:gd name="T25" fmla="*/ 0 h 381000"/>
              <a:gd name="T26" fmla="*/ 9131 w 152400"/>
              <a:gd name="T27" fmla="*/ 371855 h 381000"/>
              <a:gd name="T28" fmla="*/ 6083 w 152400"/>
              <a:gd name="T29" fmla="*/ 371855 h 381000"/>
              <a:gd name="T30" fmla="*/ 9131 w 152400"/>
              <a:gd name="T31" fmla="*/ 374903 h 381000"/>
              <a:gd name="T32" fmla="*/ 9131 w 152400"/>
              <a:gd name="T33" fmla="*/ 371855 h 381000"/>
              <a:gd name="T34" fmla="*/ 143256 w 152400"/>
              <a:gd name="T35" fmla="*/ 371855 h 381000"/>
              <a:gd name="T36" fmla="*/ 9131 w 152400"/>
              <a:gd name="T37" fmla="*/ 371855 h 381000"/>
              <a:gd name="T38" fmla="*/ 9131 w 152400"/>
              <a:gd name="T39" fmla="*/ 374903 h 381000"/>
              <a:gd name="T40" fmla="*/ 143256 w 152400"/>
              <a:gd name="T41" fmla="*/ 374903 h 381000"/>
              <a:gd name="T42" fmla="*/ 143256 w 152400"/>
              <a:gd name="T43" fmla="*/ 371855 h 381000"/>
              <a:gd name="T44" fmla="*/ 143256 w 152400"/>
              <a:gd name="T45" fmla="*/ 6095 h 381000"/>
              <a:gd name="T46" fmla="*/ 143256 w 152400"/>
              <a:gd name="T47" fmla="*/ 374903 h 381000"/>
              <a:gd name="T48" fmla="*/ 149339 w 152400"/>
              <a:gd name="T49" fmla="*/ 371855 h 381000"/>
              <a:gd name="T50" fmla="*/ 152400 w 152400"/>
              <a:gd name="T51" fmla="*/ 371855 h 381000"/>
              <a:gd name="T52" fmla="*/ 152400 w 152400"/>
              <a:gd name="T53" fmla="*/ 9143 h 381000"/>
              <a:gd name="T54" fmla="*/ 149339 w 152400"/>
              <a:gd name="T55" fmla="*/ 9143 h 381000"/>
              <a:gd name="T56" fmla="*/ 143256 w 152400"/>
              <a:gd name="T57" fmla="*/ 6095 h 381000"/>
              <a:gd name="T58" fmla="*/ 152400 w 152400"/>
              <a:gd name="T59" fmla="*/ 371855 h 381000"/>
              <a:gd name="T60" fmla="*/ 149339 w 152400"/>
              <a:gd name="T61" fmla="*/ 371855 h 381000"/>
              <a:gd name="T62" fmla="*/ 143256 w 152400"/>
              <a:gd name="T63" fmla="*/ 374903 h 381000"/>
              <a:gd name="T64" fmla="*/ 152400 w 152400"/>
              <a:gd name="T65" fmla="*/ 374903 h 381000"/>
              <a:gd name="T66" fmla="*/ 152400 w 152400"/>
              <a:gd name="T67" fmla="*/ 371855 h 381000"/>
              <a:gd name="T68" fmla="*/ 9131 w 152400"/>
              <a:gd name="T69" fmla="*/ 6095 h 381000"/>
              <a:gd name="T70" fmla="*/ 6083 w 152400"/>
              <a:gd name="T71" fmla="*/ 9143 h 381000"/>
              <a:gd name="T72" fmla="*/ 9131 w 152400"/>
              <a:gd name="T73" fmla="*/ 9143 h 381000"/>
              <a:gd name="T74" fmla="*/ 9131 w 152400"/>
              <a:gd name="T75" fmla="*/ 6095 h 381000"/>
              <a:gd name="T76" fmla="*/ 143256 w 152400"/>
              <a:gd name="T77" fmla="*/ 6095 h 381000"/>
              <a:gd name="T78" fmla="*/ 9131 w 152400"/>
              <a:gd name="T79" fmla="*/ 6095 h 381000"/>
              <a:gd name="T80" fmla="*/ 9131 w 152400"/>
              <a:gd name="T81" fmla="*/ 9143 h 381000"/>
              <a:gd name="T82" fmla="*/ 143256 w 152400"/>
              <a:gd name="T83" fmla="*/ 9143 h 381000"/>
              <a:gd name="T84" fmla="*/ 143256 w 152400"/>
              <a:gd name="T85" fmla="*/ 6095 h 381000"/>
              <a:gd name="T86" fmla="*/ 152400 w 152400"/>
              <a:gd name="T87" fmla="*/ 6095 h 381000"/>
              <a:gd name="T88" fmla="*/ 143256 w 152400"/>
              <a:gd name="T89" fmla="*/ 6095 h 381000"/>
              <a:gd name="T90" fmla="*/ 149339 w 152400"/>
              <a:gd name="T91" fmla="*/ 9143 h 381000"/>
              <a:gd name="T92" fmla="*/ 152400 w 152400"/>
              <a:gd name="T93" fmla="*/ 9143 h 381000"/>
              <a:gd name="T94" fmla="*/ 152400 w 152400"/>
              <a:gd name="T95" fmla="*/ 6095 h 3810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52400" h="381000">
                <a:moveTo>
                  <a:pt x="152400" y="0"/>
                </a:moveTo>
                <a:lnTo>
                  <a:pt x="0" y="0"/>
                </a:lnTo>
                <a:lnTo>
                  <a:pt x="0" y="380999"/>
                </a:lnTo>
                <a:lnTo>
                  <a:pt x="152400" y="380999"/>
                </a:lnTo>
                <a:lnTo>
                  <a:pt x="152400" y="374903"/>
                </a:lnTo>
                <a:lnTo>
                  <a:pt x="9131" y="374903"/>
                </a:lnTo>
                <a:lnTo>
                  <a:pt x="6083" y="371855"/>
                </a:lnTo>
                <a:lnTo>
                  <a:pt x="9131" y="371855"/>
                </a:lnTo>
                <a:lnTo>
                  <a:pt x="9131" y="9143"/>
                </a:lnTo>
                <a:lnTo>
                  <a:pt x="6083" y="9143"/>
                </a:lnTo>
                <a:lnTo>
                  <a:pt x="9131" y="6095"/>
                </a:lnTo>
                <a:lnTo>
                  <a:pt x="152400" y="6095"/>
                </a:lnTo>
                <a:lnTo>
                  <a:pt x="152400" y="0"/>
                </a:lnTo>
                <a:close/>
              </a:path>
              <a:path w="152400" h="381000">
                <a:moveTo>
                  <a:pt x="9131" y="371855"/>
                </a:moveTo>
                <a:lnTo>
                  <a:pt x="6083" y="371855"/>
                </a:lnTo>
                <a:lnTo>
                  <a:pt x="9131" y="374903"/>
                </a:lnTo>
                <a:lnTo>
                  <a:pt x="9131" y="371855"/>
                </a:lnTo>
                <a:close/>
              </a:path>
              <a:path w="152400" h="381000">
                <a:moveTo>
                  <a:pt x="143256" y="371855"/>
                </a:moveTo>
                <a:lnTo>
                  <a:pt x="9131" y="371855"/>
                </a:lnTo>
                <a:lnTo>
                  <a:pt x="9131" y="374903"/>
                </a:lnTo>
                <a:lnTo>
                  <a:pt x="143256" y="374903"/>
                </a:lnTo>
                <a:lnTo>
                  <a:pt x="143256" y="371855"/>
                </a:lnTo>
                <a:close/>
              </a:path>
              <a:path w="152400" h="381000">
                <a:moveTo>
                  <a:pt x="143256" y="6095"/>
                </a:moveTo>
                <a:lnTo>
                  <a:pt x="143256" y="374903"/>
                </a:lnTo>
                <a:lnTo>
                  <a:pt x="149339" y="371855"/>
                </a:lnTo>
                <a:lnTo>
                  <a:pt x="152400" y="371855"/>
                </a:lnTo>
                <a:lnTo>
                  <a:pt x="152400" y="9143"/>
                </a:lnTo>
                <a:lnTo>
                  <a:pt x="149339" y="9143"/>
                </a:lnTo>
                <a:lnTo>
                  <a:pt x="143256" y="6095"/>
                </a:lnTo>
                <a:close/>
              </a:path>
              <a:path w="152400" h="381000">
                <a:moveTo>
                  <a:pt x="152400" y="371855"/>
                </a:moveTo>
                <a:lnTo>
                  <a:pt x="149339" y="371855"/>
                </a:lnTo>
                <a:lnTo>
                  <a:pt x="143256" y="374903"/>
                </a:lnTo>
                <a:lnTo>
                  <a:pt x="152400" y="374903"/>
                </a:lnTo>
                <a:lnTo>
                  <a:pt x="152400" y="371855"/>
                </a:lnTo>
                <a:close/>
              </a:path>
              <a:path w="152400" h="381000">
                <a:moveTo>
                  <a:pt x="9131" y="6095"/>
                </a:moveTo>
                <a:lnTo>
                  <a:pt x="6083" y="9143"/>
                </a:lnTo>
                <a:lnTo>
                  <a:pt x="9131" y="9143"/>
                </a:lnTo>
                <a:lnTo>
                  <a:pt x="9131" y="6095"/>
                </a:lnTo>
                <a:close/>
              </a:path>
              <a:path w="152400" h="381000">
                <a:moveTo>
                  <a:pt x="143256" y="6095"/>
                </a:moveTo>
                <a:lnTo>
                  <a:pt x="9131" y="6095"/>
                </a:lnTo>
                <a:lnTo>
                  <a:pt x="9131" y="9143"/>
                </a:lnTo>
                <a:lnTo>
                  <a:pt x="143256" y="9143"/>
                </a:lnTo>
                <a:lnTo>
                  <a:pt x="143256" y="6095"/>
                </a:lnTo>
                <a:close/>
              </a:path>
              <a:path w="152400" h="381000">
                <a:moveTo>
                  <a:pt x="152400" y="6095"/>
                </a:moveTo>
                <a:lnTo>
                  <a:pt x="143256" y="6095"/>
                </a:lnTo>
                <a:lnTo>
                  <a:pt x="149339" y="9143"/>
                </a:lnTo>
                <a:lnTo>
                  <a:pt x="152400" y="9143"/>
                </a:lnTo>
                <a:lnTo>
                  <a:pt x="152400"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40" name="object 149">
            <a:extLst>
              <a:ext uri="{FF2B5EF4-FFF2-40B4-BE49-F238E27FC236}">
                <a16:creationId xmlns:a16="http://schemas.microsoft.com/office/drawing/2014/main" id="{98C75FB3-5C84-487A-8184-BDA155D19C35}"/>
              </a:ext>
            </a:extLst>
          </p:cNvPr>
          <p:cNvSpPr>
            <a:spLocks/>
          </p:cNvSpPr>
          <p:nvPr/>
        </p:nvSpPr>
        <p:spPr bwMode="auto">
          <a:xfrm>
            <a:off x="7595118" y="3465802"/>
            <a:ext cx="0" cy="368300"/>
          </a:xfrm>
          <a:custGeom>
            <a:avLst/>
            <a:gdLst>
              <a:gd name="T0" fmla="*/ 0 h 368807"/>
              <a:gd name="T1" fmla="*/ 367794 h 368807"/>
              <a:gd name="T2" fmla="*/ 0 60000 65536"/>
              <a:gd name="T3" fmla="*/ 0 60000 65536"/>
            </a:gdLst>
            <a:ahLst/>
            <a:cxnLst>
              <a:cxn ang="T2">
                <a:pos x="0" y="T0"/>
              </a:cxn>
              <a:cxn ang="T3">
                <a:pos x="0" y="T1"/>
              </a:cxn>
            </a:cxnLst>
            <a:rect l="0" t="0" r="r" b="b"/>
            <a:pathLst>
              <a:path h="368807">
                <a:moveTo>
                  <a:pt x="0" y="0"/>
                </a:moveTo>
                <a:lnTo>
                  <a:pt x="0" y="368807"/>
                </a:lnTo>
              </a:path>
            </a:pathLst>
          </a:custGeom>
          <a:noFill/>
          <a:ln w="31750">
            <a:solidFill>
              <a:srgbClr val="6783A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341" name="object 150">
            <a:extLst>
              <a:ext uri="{FF2B5EF4-FFF2-40B4-BE49-F238E27FC236}">
                <a16:creationId xmlns:a16="http://schemas.microsoft.com/office/drawing/2014/main" id="{C951FB94-D1A7-4C2B-95B5-A1D0A63F5F20}"/>
              </a:ext>
            </a:extLst>
          </p:cNvPr>
          <p:cNvSpPr>
            <a:spLocks/>
          </p:cNvSpPr>
          <p:nvPr/>
        </p:nvSpPr>
        <p:spPr bwMode="auto">
          <a:xfrm>
            <a:off x="7577656" y="3459452"/>
            <a:ext cx="36512" cy="381000"/>
          </a:xfrm>
          <a:custGeom>
            <a:avLst/>
            <a:gdLst>
              <a:gd name="T0" fmla="*/ 36461 w 36563"/>
              <a:gd name="T1" fmla="*/ 0 h 381000"/>
              <a:gd name="T2" fmla="*/ 0 w 36563"/>
              <a:gd name="T3" fmla="*/ 0 h 381000"/>
              <a:gd name="T4" fmla="*/ 0 w 36563"/>
              <a:gd name="T5" fmla="*/ 380999 h 381000"/>
              <a:gd name="T6" fmla="*/ 36461 w 36563"/>
              <a:gd name="T7" fmla="*/ 380999 h 381000"/>
              <a:gd name="T8" fmla="*/ 36461 w 36563"/>
              <a:gd name="T9" fmla="*/ 374903 h 381000"/>
              <a:gd name="T10" fmla="*/ 9105 w 36563"/>
              <a:gd name="T11" fmla="*/ 374903 h 381000"/>
              <a:gd name="T12" fmla="*/ 3027 w 36563"/>
              <a:gd name="T13" fmla="*/ 371855 h 381000"/>
              <a:gd name="T14" fmla="*/ 9105 w 36563"/>
              <a:gd name="T15" fmla="*/ 371855 h 381000"/>
              <a:gd name="T16" fmla="*/ 9105 w 36563"/>
              <a:gd name="T17" fmla="*/ 9143 h 381000"/>
              <a:gd name="T18" fmla="*/ 3027 w 36563"/>
              <a:gd name="T19" fmla="*/ 9143 h 381000"/>
              <a:gd name="T20" fmla="*/ 9105 w 36563"/>
              <a:gd name="T21" fmla="*/ 6095 h 381000"/>
              <a:gd name="T22" fmla="*/ 36461 w 36563"/>
              <a:gd name="T23" fmla="*/ 6095 h 381000"/>
              <a:gd name="T24" fmla="*/ 36461 w 36563"/>
              <a:gd name="T25" fmla="*/ 0 h 381000"/>
              <a:gd name="T26" fmla="*/ 9105 w 36563"/>
              <a:gd name="T27" fmla="*/ 371855 h 381000"/>
              <a:gd name="T28" fmla="*/ 3027 w 36563"/>
              <a:gd name="T29" fmla="*/ 371855 h 381000"/>
              <a:gd name="T30" fmla="*/ 9105 w 36563"/>
              <a:gd name="T31" fmla="*/ 374903 h 381000"/>
              <a:gd name="T32" fmla="*/ 9105 w 36563"/>
              <a:gd name="T33" fmla="*/ 371855 h 381000"/>
              <a:gd name="T34" fmla="*/ 27343 w 36563"/>
              <a:gd name="T35" fmla="*/ 371855 h 381000"/>
              <a:gd name="T36" fmla="*/ 9105 w 36563"/>
              <a:gd name="T37" fmla="*/ 371855 h 381000"/>
              <a:gd name="T38" fmla="*/ 9105 w 36563"/>
              <a:gd name="T39" fmla="*/ 374903 h 381000"/>
              <a:gd name="T40" fmla="*/ 27343 w 36563"/>
              <a:gd name="T41" fmla="*/ 374903 h 381000"/>
              <a:gd name="T42" fmla="*/ 27343 w 36563"/>
              <a:gd name="T43" fmla="*/ 371855 h 381000"/>
              <a:gd name="T44" fmla="*/ 27343 w 36563"/>
              <a:gd name="T45" fmla="*/ 6095 h 381000"/>
              <a:gd name="T46" fmla="*/ 27343 w 36563"/>
              <a:gd name="T47" fmla="*/ 374903 h 381000"/>
              <a:gd name="T48" fmla="*/ 33421 w 36563"/>
              <a:gd name="T49" fmla="*/ 371855 h 381000"/>
              <a:gd name="T50" fmla="*/ 36461 w 36563"/>
              <a:gd name="T51" fmla="*/ 371855 h 381000"/>
              <a:gd name="T52" fmla="*/ 36461 w 36563"/>
              <a:gd name="T53" fmla="*/ 9143 h 381000"/>
              <a:gd name="T54" fmla="*/ 33421 w 36563"/>
              <a:gd name="T55" fmla="*/ 9143 h 381000"/>
              <a:gd name="T56" fmla="*/ 27343 w 36563"/>
              <a:gd name="T57" fmla="*/ 6095 h 381000"/>
              <a:gd name="T58" fmla="*/ 36461 w 36563"/>
              <a:gd name="T59" fmla="*/ 371855 h 381000"/>
              <a:gd name="T60" fmla="*/ 33421 w 36563"/>
              <a:gd name="T61" fmla="*/ 371855 h 381000"/>
              <a:gd name="T62" fmla="*/ 27343 w 36563"/>
              <a:gd name="T63" fmla="*/ 374903 h 381000"/>
              <a:gd name="T64" fmla="*/ 36461 w 36563"/>
              <a:gd name="T65" fmla="*/ 374903 h 381000"/>
              <a:gd name="T66" fmla="*/ 36461 w 36563"/>
              <a:gd name="T67" fmla="*/ 371855 h 381000"/>
              <a:gd name="T68" fmla="*/ 9105 w 36563"/>
              <a:gd name="T69" fmla="*/ 6095 h 381000"/>
              <a:gd name="T70" fmla="*/ 3027 w 36563"/>
              <a:gd name="T71" fmla="*/ 9143 h 381000"/>
              <a:gd name="T72" fmla="*/ 9105 w 36563"/>
              <a:gd name="T73" fmla="*/ 9143 h 381000"/>
              <a:gd name="T74" fmla="*/ 9105 w 36563"/>
              <a:gd name="T75" fmla="*/ 6095 h 381000"/>
              <a:gd name="T76" fmla="*/ 27343 w 36563"/>
              <a:gd name="T77" fmla="*/ 6095 h 381000"/>
              <a:gd name="T78" fmla="*/ 9105 w 36563"/>
              <a:gd name="T79" fmla="*/ 6095 h 381000"/>
              <a:gd name="T80" fmla="*/ 9105 w 36563"/>
              <a:gd name="T81" fmla="*/ 9143 h 381000"/>
              <a:gd name="T82" fmla="*/ 27343 w 36563"/>
              <a:gd name="T83" fmla="*/ 9143 h 381000"/>
              <a:gd name="T84" fmla="*/ 27343 w 36563"/>
              <a:gd name="T85" fmla="*/ 6095 h 381000"/>
              <a:gd name="T86" fmla="*/ 36461 w 36563"/>
              <a:gd name="T87" fmla="*/ 6095 h 381000"/>
              <a:gd name="T88" fmla="*/ 27343 w 36563"/>
              <a:gd name="T89" fmla="*/ 6095 h 381000"/>
              <a:gd name="T90" fmla="*/ 33421 w 36563"/>
              <a:gd name="T91" fmla="*/ 9143 h 381000"/>
              <a:gd name="T92" fmla="*/ 36461 w 36563"/>
              <a:gd name="T93" fmla="*/ 9143 h 381000"/>
              <a:gd name="T94" fmla="*/ 36461 w 36563"/>
              <a:gd name="T95" fmla="*/ 6095 h 3810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6563" h="381000">
                <a:moveTo>
                  <a:pt x="36563" y="0"/>
                </a:moveTo>
                <a:lnTo>
                  <a:pt x="0" y="0"/>
                </a:lnTo>
                <a:lnTo>
                  <a:pt x="0" y="380999"/>
                </a:lnTo>
                <a:lnTo>
                  <a:pt x="36563" y="380999"/>
                </a:lnTo>
                <a:lnTo>
                  <a:pt x="36563" y="374903"/>
                </a:lnTo>
                <a:lnTo>
                  <a:pt x="9131" y="374903"/>
                </a:lnTo>
                <a:lnTo>
                  <a:pt x="3035" y="371855"/>
                </a:lnTo>
                <a:lnTo>
                  <a:pt x="9131" y="371855"/>
                </a:lnTo>
                <a:lnTo>
                  <a:pt x="9131" y="9143"/>
                </a:lnTo>
                <a:lnTo>
                  <a:pt x="3035" y="9143"/>
                </a:lnTo>
                <a:lnTo>
                  <a:pt x="9131" y="6095"/>
                </a:lnTo>
                <a:lnTo>
                  <a:pt x="36563" y="6095"/>
                </a:lnTo>
                <a:lnTo>
                  <a:pt x="36563" y="0"/>
                </a:lnTo>
                <a:close/>
              </a:path>
              <a:path w="36563" h="381000">
                <a:moveTo>
                  <a:pt x="9131" y="371855"/>
                </a:moveTo>
                <a:lnTo>
                  <a:pt x="3035" y="371855"/>
                </a:lnTo>
                <a:lnTo>
                  <a:pt x="9131" y="374903"/>
                </a:lnTo>
                <a:lnTo>
                  <a:pt x="9131" y="371855"/>
                </a:lnTo>
                <a:close/>
              </a:path>
              <a:path w="36563" h="381000">
                <a:moveTo>
                  <a:pt x="27419" y="371855"/>
                </a:moveTo>
                <a:lnTo>
                  <a:pt x="9131" y="371855"/>
                </a:lnTo>
                <a:lnTo>
                  <a:pt x="9131" y="374903"/>
                </a:lnTo>
                <a:lnTo>
                  <a:pt x="27419" y="374903"/>
                </a:lnTo>
                <a:lnTo>
                  <a:pt x="27419" y="371855"/>
                </a:lnTo>
                <a:close/>
              </a:path>
              <a:path w="36563" h="381000">
                <a:moveTo>
                  <a:pt x="27419" y="6095"/>
                </a:moveTo>
                <a:lnTo>
                  <a:pt x="27419" y="374903"/>
                </a:lnTo>
                <a:lnTo>
                  <a:pt x="33515" y="371855"/>
                </a:lnTo>
                <a:lnTo>
                  <a:pt x="36563" y="371855"/>
                </a:lnTo>
                <a:lnTo>
                  <a:pt x="36563" y="9143"/>
                </a:lnTo>
                <a:lnTo>
                  <a:pt x="33515" y="9143"/>
                </a:lnTo>
                <a:lnTo>
                  <a:pt x="27419" y="6095"/>
                </a:lnTo>
                <a:close/>
              </a:path>
              <a:path w="36563" h="381000">
                <a:moveTo>
                  <a:pt x="36563" y="371855"/>
                </a:moveTo>
                <a:lnTo>
                  <a:pt x="33515" y="371855"/>
                </a:lnTo>
                <a:lnTo>
                  <a:pt x="27419" y="374903"/>
                </a:lnTo>
                <a:lnTo>
                  <a:pt x="36563" y="374903"/>
                </a:lnTo>
                <a:lnTo>
                  <a:pt x="36563" y="371855"/>
                </a:lnTo>
                <a:close/>
              </a:path>
              <a:path w="36563" h="381000">
                <a:moveTo>
                  <a:pt x="9131" y="6095"/>
                </a:moveTo>
                <a:lnTo>
                  <a:pt x="3035" y="9143"/>
                </a:lnTo>
                <a:lnTo>
                  <a:pt x="9131" y="9143"/>
                </a:lnTo>
                <a:lnTo>
                  <a:pt x="9131" y="6095"/>
                </a:lnTo>
                <a:close/>
              </a:path>
              <a:path w="36563" h="381000">
                <a:moveTo>
                  <a:pt x="27419" y="6095"/>
                </a:moveTo>
                <a:lnTo>
                  <a:pt x="9131" y="6095"/>
                </a:lnTo>
                <a:lnTo>
                  <a:pt x="9131" y="9143"/>
                </a:lnTo>
                <a:lnTo>
                  <a:pt x="27419" y="9143"/>
                </a:lnTo>
                <a:lnTo>
                  <a:pt x="27419" y="6095"/>
                </a:lnTo>
                <a:close/>
              </a:path>
              <a:path w="36563" h="381000">
                <a:moveTo>
                  <a:pt x="36563" y="6095"/>
                </a:moveTo>
                <a:lnTo>
                  <a:pt x="27419" y="6095"/>
                </a:lnTo>
                <a:lnTo>
                  <a:pt x="33515" y="9143"/>
                </a:lnTo>
                <a:lnTo>
                  <a:pt x="36563" y="9143"/>
                </a:lnTo>
                <a:lnTo>
                  <a:pt x="36563"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42" name="object 151">
            <a:extLst>
              <a:ext uri="{FF2B5EF4-FFF2-40B4-BE49-F238E27FC236}">
                <a16:creationId xmlns:a16="http://schemas.microsoft.com/office/drawing/2014/main" id="{21D467EA-A82F-4806-8B0C-4D57041B68D9}"/>
              </a:ext>
            </a:extLst>
          </p:cNvPr>
          <p:cNvSpPr>
            <a:spLocks/>
          </p:cNvSpPr>
          <p:nvPr/>
        </p:nvSpPr>
        <p:spPr bwMode="auto">
          <a:xfrm>
            <a:off x="7471293" y="3475327"/>
            <a:ext cx="44450" cy="11113"/>
          </a:xfrm>
          <a:custGeom>
            <a:avLst/>
            <a:gdLst>
              <a:gd name="T0" fmla="*/ 0 w 45707"/>
              <a:gd name="T1" fmla="*/ 5065 h 12192"/>
              <a:gd name="T2" fmla="*/ 43228 w 45707"/>
              <a:gd name="T3" fmla="*/ 5065 h 12192"/>
              <a:gd name="T4" fmla="*/ 0 60000 65536"/>
              <a:gd name="T5" fmla="*/ 0 60000 65536"/>
            </a:gdLst>
            <a:ahLst/>
            <a:cxnLst>
              <a:cxn ang="T4">
                <a:pos x="T0" y="T1"/>
              </a:cxn>
              <a:cxn ang="T5">
                <a:pos x="T2" y="T3"/>
              </a:cxn>
            </a:cxnLst>
            <a:rect l="0" t="0" r="r" b="b"/>
            <a:pathLst>
              <a:path w="45707" h="12192">
                <a:moveTo>
                  <a:pt x="0" y="6096"/>
                </a:moveTo>
                <a:lnTo>
                  <a:pt x="45707" y="6096"/>
                </a:lnTo>
              </a:path>
            </a:pathLst>
          </a:custGeom>
          <a:noFill/>
          <a:ln w="13462">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343" name="object 152">
            <a:extLst>
              <a:ext uri="{FF2B5EF4-FFF2-40B4-BE49-F238E27FC236}">
                <a16:creationId xmlns:a16="http://schemas.microsoft.com/office/drawing/2014/main" id="{A9752956-A078-4E78-8BF5-D673896101D6}"/>
              </a:ext>
            </a:extLst>
          </p:cNvPr>
          <p:cNvSpPr>
            <a:spLocks/>
          </p:cNvSpPr>
          <p:nvPr/>
        </p:nvSpPr>
        <p:spPr bwMode="auto">
          <a:xfrm>
            <a:off x="7506218" y="3745202"/>
            <a:ext cx="0" cy="61913"/>
          </a:xfrm>
          <a:custGeom>
            <a:avLst/>
            <a:gdLst>
              <a:gd name="T0" fmla="*/ 0 h 60960"/>
              <a:gd name="T1" fmla="*/ 62881 h 60960"/>
              <a:gd name="T2" fmla="*/ 0 60000 65536"/>
              <a:gd name="T3" fmla="*/ 0 60000 65536"/>
            </a:gdLst>
            <a:ahLst/>
            <a:cxnLst>
              <a:cxn ang="T2">
                <a:pos x="0" y="T0"/>
              </a:cxn>
              <a:cxn ang="T3">
                <a:pos x="0" y="T1"/>
              </a:cxn>
            </a:cxnLst>
            <a:rect l="0" t="0" r="r" b="b"/>
            <a:pathLst>
              <a:path h="60960">
                <a:moveTo>
                  <a:pt x="0" y="0"/>
                </a:moveTo>
                <a:lnTo>
                  <a:pt x="0" y="60960"/>
                </a:lnTo>
              </a:path>
            </a:pathLst>
          </a:custGeom>
          <a:noFill/>
          <a:ln w="22606">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344" name="object 153">
            <a:extLst>
              <a:ext uri="{FF2B5EF4-FFF2-40B4-BE49-F238E27FC236}">
                <a16:creationId xmlns:a16="http://schemas.microsoft.com/office/drawing/2014/main" id="{056F5E89-4D0E-4BAD-8B56-4020B942B894}"/>
              </a:ext>
            </a:extLst>
          </p:cNvPr>
          <p:cNvSpPr>
            <a:spLocks/>
          </p:cNvSpPr>
          <p:nvPr/>
        </p:nvSpPr>
        <p:spPr bwMode="auto">
          <a:xfrm>
            <a:off x="7488756" y="3754727"/>
            <a:ext cx="9525" cy="12700"/>
          </a:xfrm>
          <a:custGeom>
            <a:avLst/>
            <a:gdLst>
              <a:gd name="T0" fmla="*/ 0 w 9131"/>
              <a:gd name="T1" fmla="*/ 6621 h 12179"/>
              <a:gd name="T2" fmla="*/ 9936 w 9131"/>
              <a:gd name="T3" fmla="*/ 6621 h 12179"/>
              <a:gd name="T4" fmla="*/ 0 60000 65536"/>
              <a:gd name="T5" fmla="*/ 0 60000 65536"/>
            </a:gdLst>
            <a:ahLst/>
            <a:cxnLst>
              <a:cxn ang="T4">
                <a:pos x="T0" y="T1"/>
              </a:cxn>
              <a:cxn ang="T5">
                <a:pos x="T2" y="T3"/>
              </a:cxn>
            </a:cxnLst>
            <a:rect l="0" t="0" r="r" b="b"/>
            <a:pathLst>
              <a:path w="9131" h="12179">
                <a:moveTo>
                  <a:pt x="0" y="6089"/>
                </a:moveTo>
                <a:lnTo>
                  <a:pt x="9131" y="6089"/>
                </a:lnTo>
              </a:path>
            </a:pathLst>
          </a:custGeom>
          <a:noFill/>
          <a:ln w="13449">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345" name="object 154">
            <a:extLst>
              <a:ext uri="{FF2B5EF4-FFF2-40B4-BE49-F238E27FC236}">
                <a16:creationId xmlns:a16="http://schemas.microsoft.com/office/drawing/2014/main" id="{6B638CD7-712B-45E3-9F29-F1DE77A9C74F}"/>
              </a:ext>
            </a:extLst>
          </p:cNvPr>
          <p:cNvSpPr>
            <a:spLocks/>
          </p:cNvSpPr>
          <p:nvPr/>
        </p:nvSpPr>
        <p:spPr bwMode="auto">
          <a:xfrm>
            <a:off x="7488756" y="3784890"/>
            <a:ext cx="9525" cy="12700"/>
          </a:xfrm>
          <a:custGeom>
            <a:avLst/>
            <a:gdLst>
              <a:gd name="T0" fmla="*/ 0 w 9131"/>
              <a:gd name="T1" fmla="*/ 6621 h 12179"/>
              <a:gd name="T2" fmla="*/ 9936 w 9131"/>
              <a:gd name="T3" fmla="*/ 6621 h 12179"/>
              <a:gd name="T4" fmla="*/ 0 60000 65536"/>
              <a:gd name="T5" fmla="*/ 0 60000 65536"/>
            </a:gdLst>
            <a:ahLst/>
            <a:cxnLst>
              <a:cxn ang="T4">
                <a:pos x="T0" y="T1"/>
              </a:cxn>
              <a:cxn ang="T5">
                <a:pos x="T2" y="T3"/>
              </a:cxn>
            </a:cxnLst>
            <a:rect l="0" t="0" r="r" b="b"/>
            <a:pathLst>
              <a:path w="9131" h="12179">
                <a:moveTo>
                  <a:pt x="0" y="6089"/>
                </a:moveTo>
                <a:lnTo>
                  <a:pt x="9131" y="6089"/>
                </a:lnTo>
              </a:path>
            </a:pathLst>
          </a:custGeom>
          <a:noFill/>
          <a:ln w="13449">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346" name="object 155">
            <a:extLst>
              <a:ext uri="{FF2B5EF4-FFF2-40B4-BE49-F238E27FC236}">
                <a16:creationId xmlns:a16="http://schemas.microsoft.com/office/drawing/2014/main" id="{33DFC6B1-A86B-4734-835C-082AB7600534}"/>
              </a:ext>
            </a:extLst>
          </p:cNvPr>
          <p:cNvSpPr>
            <a:spLocks/>
          </p:cNvSpPr>
          <p:nvPr/>
        </p:nvSpPr>
        <p:spPr bwMode="auto">
          <a:xfrm>
            <a:off x="7549081" y="3773777"/>
            <a:ext cx="22225" cy="33338"/>
          </a:xfrm>
          <a:custGeom>
            <a:avLst/>
            <a:gdLst>
              <a:gd name="T0" fmla="*/ 0 w 21336"/>
              <a:gd name="T1" fmla="*/ 16581 h 33515"/>
              <a:gd name="T2" fmla="*/ 23151 w 21336"/>
              <a:gd name="T3" fmla="*/ 16581 h 33515"/>
              <a:gd name="T4" fmla="*/ 0 60000 65536"/>
              <a:gd name="T5" fmla="*/ 0 60000 65536"/>
            </a:gdLst>
            <a:ahLst/>
            <a:cxnLst>
              <a:cxn ang="T4">
                <a:pos x="T0" y="T1"/>
              </a:cxn>
              <a:cxn ang="T5">
                <a:pos x="T2" y="T3"/>
              </a:cxn>
            </a:cxnLst>
            <a:rect l="0" t="0" r="r" b="b"/>
            <a:pathLst>
              <a:path w="21336" h="33515">
                <a:moveTo>
                  <a:pt x="0" y="16757"/>
                </a:moveTo>
                <a:lnTo>
                  <a:pt x="21336" y="16757"/>
                </a:lnTo>
              </a:path>
            </a:pathLst>
          </a:custGeom>
          <a:noFill/>
          <a:ln w="34785">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347" name="object 156">
            <a:extLst>
              <a:ext uri="{FF2B5EF4-FFF2-40B4-BE49-F238E27FC236}">
                <a16:creationId xmlns:a16="http://schemas.microsoft.com/office/drawing/2014/main" id="{E52F2C93-D576-4538-9700-5CC6A8C718F1}"/>
              </a:ext>
            </a:extLst>
          </p:cNvPr>
          <p:cNvSpPr>
            <a:spLocks/>
          </p:cNvSpPr>
          <p:nvPr/>
        </p:nvSpPr>
        <p:spPr bwMode="auto">
          <a:xfrm>
            <a:off x="7544318" y="3784890"/>
            <a:ext cx="7938" cy="12700"/>
          </a:xfrm>
          <a:custGeom>
            <a:avLst/>
            <a:gdLst>
              <a:gd name="T0" fmla="*/ 0 w 9131"/>
              <a:gd name="T1" fmla="*/ 6621 h 12179"/>
              <a:gd name="T2" fmla="*/ 6901 w 9131"/>
              <a:gd name="T3" fmla="*/ 6621 h 12179"/>
              <a:gd name="T4" fmla="*/ 0 60000 65536"/>
              <a:gd name="T5" fmla="*/ 0 60000 65536"/>
            </a:gdLst>
            <a:ahLst/>
            <a:cxnLst>
              <a:cxn ang="T4">
                <a:pos x="T0" y="T1"/>
              </a:cxn>
              <a:cxn ang="T5">
                <a:pos x="T2" y="T3"/>
              </a:cxn>
            </a:cxnLst>
            <a:rect l="0" t="0" r="r" b="b"/>
            <a:pathLst>
              <a:path w="9131" h="12179">
                <a:moveTo>
                  <a:pt x="0" y="6089"/>
                </a:moveTo>
                <a:lnTo>
                  <a:pt x="9131" y="6089"/>
                </a:lnTo>
              </a:path>
            </a:pathLst>
          </a:custGeom>
          <a:noFill/>
          <a:ln w="13449">
            <a:solidFill>
              <a:srgbClr val="002E6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zh-CN" altLang="en-US"/>
          </a:p>
        </p:txBody>
      </p:sp>
      <p:sp>
        <p:nvSpPr>
          <p:cNvPr id="348" name="object 157">
            <a:extLst>
              <a:ext uri="{FF2B5EF4-FFF2-40B4-BE49-F238E27FC236}">
                <a16:creationId xmlns:a16="http://schemas.microsoft.com/office/drawing/2014/main" id="{F1D9D9BB-89D8-4730-8F16-4CD1834697A3}"/>
              </a:ext>
            </a:extLst>
          </p:cNvPr>
          <p:cNvSpPr>
            <a:spLocks/>
          </p:cNvSpPr>
          <p:nvPr/>
        </p:nvSpPr>
        <p:spPr bwMode="auto">
          <a:xfrm>
            <a:off x="7472881" y="3499140"/>
            <a:ext cx="46037" cy="52387"/>
          </a:xfrm>
          <a:custGeom>
            <a:avLst/>
            <a:gdLst>
              <a:gd name="T0" fmla="*/ 43268 w 45719"/>
              <a:gd name="T1" fmla="*/ 0 h 51803"/>
              <a:gd name="T2" fmla="*/ 6181 w 45719"/>
              <a:gd name="T3" fmla="*/ 0 h 51803"/>
              <a:gd name="T4" fmla="*/ 0 w 45719"/>
              <a:gd name="T5" fmla="*/ 3116 h 51803"/>
              <a:gd name="T6" fmla="*/ 0 w 45719"/>
              <a:gd name="T7" fmla="*/ 49873 h 51803"/>
              <a:gd name="T8" fmla="*/ 6181 w 45719"/>
              <a:gd name="T9" fmla="*/ 52978 h 51803"/>
              <a:gd name="T10" fmla="*/ 43268 w 45719"/>
              <a:gd name="T11" fmla="*/ 52978 h 51803"/>
              <a:gd name="T12" fmla="*/ 46358 w 45719"/>
              <a:gd name="T13" fmla="*/ 49873 h 51803"/>
              <a:gd name="T14" fmla="*/ 46358 w 45719"/>
              <a:gd name="T15" fmla="*/ 3116 h 51803"/>
              <a:gd name="T16" fmla="*/ 43268 w 45719"/>
              <a:gd name="T17" fmla="*/ 0 h 518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19" h="51803">
                <a:moveTo>
                  <a:pt x="42672" y="0"/>
                </a:moveTo>
                <a:lnTo>
                  <a:pt x="6096" y="0"/>
                </a:lnTo>
                <a:lnTo>
                  <a:pt x="0" y="3047"/>
                </a:lnTo>
                <a:lnTo>
                  <a:pt x="0" y="48767"/>
                </a:lnTo>
                <a:lnTo>
                  <a:pt x="6096" y="51803"/>
                </a:lnTo>
                <a:lnTo>
                  <a:pt x="42672" y="51803"/>
                </a:lnTo>
                <a:lnTo>
                  <a:pt x="45720" y="48767"/>
                </a:lnTo>
                <a:lnTo>
                  <a:pt x="45720" y="3047"/>
                </a:lnTo>
                <a:lnTo>
                  <a:pt x="42672"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49" name="object 158">
            <a:extLst>
              <a:ext uri="{FF2B5EF4-FFF2-40B4-BE49-F238E27FC236}">
                <a16:creationId xmlns:a16="http://schemas.microsoft.com/office/drawing/2014/main" id="{5196BC7B-98D9-4BCE-AD4A-B9F9BA96AA8A}"/>
              </a:ext>
            </a:extLst>
          </p:cNvPr>
          <p:cNvSpPr>
            <a:spLocks/>
          </p:cNvSpPr>
          <p:nvPr/>
        </p:nvSpPr>
        <p:spPr bwMode="auto">
          <a:xfrm>
            <a:off x="7479231" y="3505490"/>
            <a:ext cx="33337" cy="39687"/>
          </a:xfrm>
          <a:custGeom>
            <a:avLst/>
            <a:gdLst>
              <a:gd name="T0" fmla="*/ 30157 w 33515"/>
              <a:gd name="T1" fmla="*/ 0 h 39611"/>
              <a:gd name="T2" fmla="*/ 3003 w 33515"/>
              <a:gd name="T3" fmla="*/ 0 h 39611"/>
              <a:gd name="T4" fmla="*/ 0 w 33515"/>
              <a:gd name="T5" fmla="*/ 3059 h 39611"/>
              <a:gd name="T6" fmla="*/ 0 w 33515"/>
              <a:gd name="T7" fmla="*/ 36703 h 39611"/>
              <a:gd name="T8" fmla="*/ 3003 w 33515"/>
              <a:gd name="T9" fmla="*/ 39763 h 39611"/>
              <a:gd name="T10" fmla="*/ 30157 w 33515"/>
              <a:gd name="T11" fmla="*/ 39763 h 39611"/>
              <a:gd name="T12" fmla="*/ 33160 w 33515"/>
              <a:gd name="T13" fmla="*/ 36703 h 39611"/>
              <a:gd name="T14" fmla="*/ 33160 w 33515"/>
              <a:gd name="T15" fmla="*/ 3059 h 39611"/>
              <a:gd name="T16" fmla="*/ 30157 w 33515"/>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39611">
                <a:moveTo>
                  <a:pt x="30480" y="0"/>
                </a:moveTo>
                <a:lnTo>
                  <a:pt x="3035" y="0"/>
                </a:lnTo>
                <a:lnTo>
                  <a:pt x="0" y="3047"/>
                </a:lnTo>
                <a:lnTo>
                  <a:pt x="0" y="36563"/>
                </a:lnTo>
                <a:lnTo>
                  <a:pt x="3035" y="39611"/>
                </a:lnTo>
                <a:lnTo>
                  <a:pt x="30480" y="39611"/>
                </a:lnTo>
                <a:lnTo>
                  <a:pt x="33515" y="36563"/>
                </a:lnTo>
                <a:lnTo>
                  <a:pt x="33515" y="3047"/>
                </a:lnTo>
                <a:lnTo>
                  <a:pt x="30480"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50" name="object 159">
            <a:extLst>
              <a:ext uri="{FF2B5EF4-FFF2-40B4-BE49-F238E27FC236}">
                <a16:creationId xmlns:a16="http://schemas.microsoft.com/office/drawing/2014/main" id="{D1CEB437-30CA-44B0-B83D-904EB131FC88}"/>
              </a:ext>
            </a:extLst>
          </p:cNvPr>
          <p:cNvSpPr>
            <a:spLocks/>
          </p:cNvSpPr>
          <p:nvPr/>
        </p:nvSpPr>
        <p:spPr bwMode="auto">
          <a:xfrm>
            <a:off x="7476056" y="3502315"/>
            <a:ext cx="39687" cy="46037"/>
          </a:xfrm>
          <a:custGeom>
            <a:avLst/>
            <a:gdLst>
              <a:gd name="T0" fmla="*/ 30577 w 39624"/>
              <a:gd name="T1" fmla="*/ 0 h 45707"/>
              <a:gd name="T2" fmla="*/ 9161 w 39624"/>
              <a:gd name="T3" fmla="*/ 0 h 45707"/>
              <a:gd name="T4" fmla="*/ 3058 w 39624"/>
              <a:gd name="T5" fmla="*/ 3091 h 45707"/>
              <a:gd name="T6" fmla="*/ 0 w 39624"/>
              <a:gd name="T7" fmla="*/ 9275 h 45707"/>
              <a:gd name="T8" fmla="*/ 0 w 39624"/>
              <a:gd name="T9" fmla="*/ 40185 h 45707"/>
              <a:gd name="T10" fmla="*/ 3058 w 39624"/>
              <a:gd name="T11" fmla="*/ 43277 h 45707"/>
              <a:gd name="T12" fmla="*/ 3058 w 39624"/>
              <a:gd name="T13" fmla="*/ 46369 h 45707"/>
              <a:gd name="T14" fmla="*/ 36679 w 39624"/>
              <a:gd name="T15" fmla="*/ 46369 h 45707"/>
              <a:gd name="T16" fmla="*/ 36679 w 39624"/>
              <a:gd name="T17" fmla="*/ 43277 h 45707"/>
              <a:gd name="T18" fmla="*/ 39750 w 39624"/>
              <a:gd name="T19" fmla="*/ 40185 h 45707"/>
              <a:gd name="T20" fmla="*/ 9161 w 39624"/>
              <a:gd name="T21" fmla="*/ 40185 h 45707"/>
              <a:gd name="T22" fmla="*/ 6103 w 39624"/>
              <a:gd name="T23" fmla="*/ 37093 h 45707"/>
              <a:gd name="T24" fmla="*/ 6103 w 39624"/>
              <a:gd name="T25" fmla="*/ 9275 h 45707"/>
              <a:gd name="T26" fmla="*/ 9161 w 39624"/>
              <a:gd name="T27" fmla="*/ 6183 h 45707"/>
              <a:gd name="T28" fmla="*/ 38215 w 39624"/>
              <a:gd name="T29" fmla="*/ 6183 h 45707"/>
              <a:gd name="T30" fmla="*/ 36679 w 39624"/>
              <a:gd name="T31" fmla="*/ 3091 h 45707"/>
              <a:gd name="T32" fmla="*/ 30577 w 39624"/>
              <a:gd name="T33" fmla="*/ 0 h 45707"/>
              <a:gd name="T34" fmla="*/ 38215 w 39624"/>
              <a:gd name="T35" fmla="*/ 6183 h 45707"/>
              <a:gd name="T36" fmla="*/ 30577 w 39624"/>
              <a:gd name="T37" fmla="*/ 6183 h 45707"/>
              <a:gd name="T38" fmla="*/ 33634 w 39624"/>
              <a:gd name="T39" fmla="*/ 9275 h 45707"/>
              <a:gd name="T40" fmla="*/ 33634 w 39624"/>
              <a:gd name="T41" fmla="*/ 37093 h 45707"/>
              <a:gd name="T42" fmla="*/ 30577 w 39624"/>
              <a:gd name="T43" fmla="*/ 40185 h 45707"/>
              <a:gd name="T44" fmla="*/ 39750 w 39624"/>
              <a:gd name="T45" fmla="*/ 40185 h 45707"/>
              <a:gd name="T46" fmla="*/ 39750 w 39624"/>
              <a:gd name="T47" fmla="*/ 9275 h 45707"/>
              <a:gd name="T48" fmla="*/ 38215 w 39624"/>
              <a:gd name="T49" fmla="*/ 6183 h 45707"/>
              <a:gd name="T50" fmla="*/ 8137 w 39624"/>
              <a:gd name="T51" fmla="*/ 8250 h 45707"/>
              <a:gd name="T52" fmla="*/ 6103 w 39624"/>
              <a:gd name="T53" fmla="*/ 9275 h 45707"/>
              <a:gd name="T54" fmla="*/ 6103 w 39624"/>
              <a:gd name="T55" fmla="*/ 12356 h 45707"/>
              <a:gd name="T56" fmla="*/ 8137 w 39624"/>
              <a:gd name="T57" fmla="*/ 8250 h 45707"/>
              <a:gd name="T58" fmla="*/ 31600 w 39624"/>
              <a:gd name="T59" fmla="*/ 8250 h 45707"/>
              <a:gd name="T60" fmla="*/ 33634 w 39624"/>
              <a:gd name="T61" fmla="*/ 12356 h 45707"/>
              <a:gd name="T62" fmla="*/ 33634 w 39624"/>
              <a:gd name="T63" fmla="*/ 9275 h 45707"/>
              <a:gd name="T64" fmla="*/ 31600 w 39624"/>
              <a:gd name="T65" fmla="*/ 8250 h 45707"/>
              <a:gd name="T66" fmla="*/ 9161 w 39624"/>
              <a:gd name="T67" fmla="*/ 6183 h 45707"/>
              <a:gd name="T68" fmla="*/ 6103 w 39624"/>
              <a:gd name="T69" fmla="*/ 9275 h 45707"/>
              <a:gd name="T70" fmla="*/ 8137 w 39624"/>
              <a:gd name="T71" fmla="*/ 8250 h 45707"/>
              <a:gd name="T72" fmla="*/ 9161 w 39624"/>
              <a:gd name="T73" fmla="*/ 6183 h 45707"/>
              <a:gd name="T74" fmla="*/ 30577 w 39624"/>
              <a:gd name="T75" fmla="*/ 6183 h 45707"/>
              <a:gd name="T76" fmla="*/ 31600 w 39624"/>
              <a:gd name="T77" fmla="*/ 8250 h 45707"/>
              <a:gd name="T78" fmla="*/ 33634 w 39624"/>
              <a:gd name="T79" fmla="*/ 9275 h 45707"/>
              <a:gd name="T80" fmla="*/ 30577 w 39624"/>
              <a:gd name="T81" fmla="*/ 6183 h 45707"/>
              <a:gd name="T82" fmla="*/ 12230 w 39624"/>
              <a:gd name="T83" fmla="*/ 6183 h 45707"/>
              <a:gd name="T84" fmla="*/ 9161 w 39624"/>
              <a:gd name="T85" fmla="*/ 6183 h 45707"/>
              <a:gd name="T86" fmla="*/ 8137 w 39624"/>
              <a:gd name="T87" fmla="*/ 8250 h 45707"/>
              <a:gd name="T88" fmla="*/ 12230 w 39624"/>
              <a:gd name="T89" fmla="*/ 6183 h 45707"/>
              <a:gd name="T90" fmla="*/ 30577 w 39624"/>
              <a:gd name="T91" fmla="*/ 6183 h 45707"/>
              <a:gd name="T92" fmla="*/ 27507 w 39624"/>
              <a:gd name="T93" fmla="*/ 6183 h 45707"/>
              <a:gd name="T94" fmla="*/ 31600 w 39624"/>
              <a:gd name="T95" fmla="*/ 8250 h 45707"/>
              <a:gd name="T96" fmla="*/ 30577 w 39624"/>
              <a:gd name="T97" fmla="*/ 6183 h 4570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624" h="45707">
                <a:moveTo>
                  <a:pt x="30480" y="0"/>
                </a:moveTo>
                <a:lnTo>
                  <a:pt x="9131" y="0"/>
                </a:lnTo>
                <a:lnTo>
                  <a:pt x="3048" y="3047"/>
                </a:lnTo>
                <a:lnTo>
                  <a:pt x="0" y="9143"/>
                </a:lnTo>
                <a:lnTo>
                  <a:pt x="0" y="39611"/>
                </a:lnTo>
                <a:lnTo>
                  <a:pt x="3048" y="42659"/>
                </a:lnTo>
                <a:lnTo>
                  <a:pt x="3048" y="45707"/>
                </a:lnTo>
                <a:lnTo>
                  <a:pt x="36563" y="45707"/>
                </a:lnTo>
                <a:lnTo>
                  <a:pt x="36563" y="42659"/>
                </a:lnTo>
                <a:lnTo>
                  <a:pt x="39624" y="39611"/>
                </a:lnTo>
                <a:lnTo>
                  <a:pt x="9131" y="39611"/>
                </a:lnTo>
                <a:lnTo>
                  <a:pt x="6083" y="36563"/>
                </a:lnTo>
                <a:lnTo>
                  <a:pt x="6083" y="9143"/>
                </a:lnTo>
                <a:lnTo>
                  <a:pt x="9131" y="6095"/>
                </a:lnTo>
                <a:lnTo>
                  <a:pt x="38093" y="6095"/>
                </a:lnTo>
                <a:lnTo>
                  <a:pt x="36563" y="3047"/>
                </a:lnTo>
                <a:lnTo>
                  <a:pt x="30480" y="0"/>
                </a:lnTo>
                <a:close/>
              </a:path>
              <a:path w="39624" h="45707">
                <a:moveTo>
                  <a:pt x="38093" y="6095"/>
                </a:moveTo>
                <a:lnTo>
                  <a:pt x="30480" y="6095"/>
                </a:lnTo>
                <a:lnTo>
                  <a:pt x="33528" y="9143"/>
                </a:lnTo>
                <a:lnTo>
                  <a:pt x="33528" y="36563"/>
                </a:lnTo>
                <a:lnTo>
                  <a:pt x="30480" y="39611"/>
                </a:lnTo>
                <a:lnTo>
                  <a:pt x="39624" y="39611"/>
                </a:lnTo>
                <a:lnTo>
                  <a:pt x="39624" y="9143"/>
                </a:lnTo>
                <a:lnTo>
                  <a:pt x="38093" y="6095"/>
                </a:lnTo>
                <a:close/>
              </a:path>
              <a:path w="39624" h="45707">
                <a:moveTo>
                  <a:pt x="8111" y="8132"/>
                </a:moveTo>
                <a:lnTo>
                  <a:pt x="6083" y="9143"/>
                </a:lnTo>
                <a:lnTo>
                  <a:pt x="6083" y="12179"/>
                </a:lnTo>
                <a:lnTo>
                  <a:pt x="8111" y="8132"/>
                </a:lnTo>
                <a:close/>
              </a:path>
              <a:path w="39624" h="45707">
                <a:moveTo>
                  <a:pt x="31500" y="8132"/>
                </a:moveTo>
                <a:lnTo>
                  <a:pt x="33528" y="12179"/>
                </a:lnTo>
                <a:lnTo>
                  <a:pt x="33528" y="9143"/>
                </a:lnTo>
                <a:lnTo>
                  <a:pt x="31500" y="8132"/>
                </a:lnTo>
                <a:close/>
              </a:path>
              <a:path w="39624" h="45707">
                <a:moveTo>
                  <a:pt x="9131" y="6095"/>
                </a:moveTo>
                <a:lnTo>
                  <a:pt x="6083" y="9143"/>
                </a:lnTo>
                <a:lnTo>
                  <a:pt x="8111" y="8132"/>
                </a:lnTo>
                <a:lnTo>
                  <a:pt x="9131" y="6095"/>
                </a:lnTo>
                <a:close/>
              </a:path>
              <a:path w="39624" h="45707">
                <a:moveTo>
                  <a:pt x="30480" y="6095"/>
                </a:moveTo>
                <a:lnTo>
                  <a:pt x="31500" y="8132"/>
                </a:lnTo>
                <a:lnTo>
                  <a:pt x="33528" y="9143"/>
                </a:lnTo>
                <a:lnTo>
                  <a:pt x="30480" y="6095"/>
                </a:lnTo>
                <a:close/>
              </a:path>
              <a:path w="39624" h="45707">
                <a:moveTo>
                  <a:pt x="12192" y="6095"/>
                </a:moveTo>
                <a:lnTo>
                  <a:pt x="9131" y="6095"/>
                </a:lnTo>
                <a:lnTo>
                  <a:pt x="8111" y="8132"/>
                </a:lnTo>
                <a:lnTo>
                  <a:pt x="12192" y="6095"/>
                </a:lnTo>
                <a:close/>
              </a:path>
              <a:path w="39624" h="45707">
                <a:moveTo>
                  <a:pt x="30480" y="6095"/>
                </a:moveTo>
                <a:lnTo>
                  <a:pt x="27419" y="6095"/>
                </a:lnTo>
                <a:lnTo>
                  <a:pt x="31500" y="8132"/>
                </a:lnTo>
                <a:lnTo>
                  <a:pt x="30480"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51" name="object 160">
            <a:extLst>
              <a:ext uri="{FF2B5EF4-FFF2-40B4-BE49-F238E27FC236}">
                <a16:creationId xmlns:a16="http://schemas.microsoft.com/office/drawing/2014/main" id="{9D9F6835-F59F-4ADE-AB95-CFF82530A6AB}"/>
              </a:ext>
            </a:extLst>
          </p:cNvPr>
          <p:cNvSpPr>
            <a:spLocks/>
          </p:cNvSpPr>
          <p:nvPr/>
        </p:nvSpPr>
        <p:spPr bwMode="auto">
          <a:xfrm>
            <a:off x="7472881" y="3559465"/>
            <a:ext cx="46037" cy="55562"/>
          </a:xfrm>
          <a:custGeom>
            <a:avLst/>
            <a:gdLst>
              <a:gd name="T0" fmla="*/ 43268 w 45719"/>
              <a:gd name="T1" fmla="*/ 0 h 54851"/>
              <a:gd name="T2" fmla="*/ 6181 w 45719"/>
              <a:gd name="T3" fmla="*/ 0 h 54851"/>
              <a:gd name="T4" fmla="*/ 0 w 45719"/>
              <a:gd name="T5" fmla="*/ 3128 h 54851"/>
              <a:gd name="T6" fmla="*/ 0 w 45719"/>
              <a:gd name="T7" fmla="*/ 50027 h 54851"/>
              <a:gd name="T8" fmla="*/ 6181 w 45719"/>
              <a:gd name="T9" fmla="*/ 56282 h 54851"/>
              <a:gd name="T10" fmla="*/ 43268 w 45719"/>
              <a:gd name="T11" fmla="*/ 56282 h 54851"/>
              <a:gd name="T12" fmla="*/ 46358 w 45719"/>
              <a:gd name="T13" fmla="*/ 50027 h 54851"/>
              <a:gd name="T14" fmla="*/ 46358 w 45719"/>
              <a:gd name="T15" fmla="*/ 3128 h 54851"/>
              <a:gd name="T16" fmla="*/ 43268 w 45719"/>
              <a:gd name="T17" fmla="*/ 0 h 548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19" h="54851">
                <a:moveTo>
                  <a:pt x="42672" y="0"/>
                </a:moveTo>
                <a:lnTo>
                  <a:pt x="6096" y="0"/>
                </a:lnTo>
                <a:lnTo>
                  <a:pt x="0" y="3048"/>
                </a:lnTo>
                <a:lnTo>
                  <a:pt x="0" y="48755"/>
                </a:lnTo>
                <a:lnTo>
                  <a:pt x="6096" y="54851"/>
                </a:lnTo>
                <a:lnTo>
                  <a:pt x="42672" y="54851"/>
                </a:lnTo>
                <a:lnTo>
                  <a:pt x="45720" y="48755"/>
                </a:lnTo>
                <a:lnTo>
                  <a:pt x="45720" y="3048"/>
                </a:lnTo>
                <a:lnTo>
                  <a:pt x="42672"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52" name="object 161">
            <a:extLst>
              <a:ext uri="{FF2B5EF4-FFF2-40B4-BE49-F238E27FC236}">
                <a16:creationId xmlns:a16="http://schemas.microsoft.com/office/drawing/2014/main" id="{B471B2AF-38D5-41AC-86E4-4FCEB6E7DB26}"/>
              </a:ext>
            </a:extLst>
          </p:cNvPr>
          <p:cNvSpPr>
            <a:spLocks/>
          </p:cNvSpPr>
          <p:nvPr/>
        </p:nvSpPr>
        <p:spPr bwMode="auto">
          <a:xfrm>
            <a:off x="7479231" y="3565815"/>
            <a:ext cx="33337" cy="42862"/>
          </a:xfrm>
          <a:custGeom>
            <a:avLst/>
            <a:gdLst>
              <a:gd name="T0" fmla="*/ 30157 w 33515"/>
              <a:gd name="T1" fmla="*/ 0 h 42646"/>
              <a:gd name="T2" fmla="*/ 3003 w 33515"/>
              <a:gd name="T3" fmla="*/ 0 h 42646"/>
              <a:gd name="T4" fmla="*/ 0 w 33515"/>
              <a:gd name="T5" fmla="*/ 3079 h 42646"/>
              <a:gd name="T6" fmla="*/ 0 w 33515"/>
              <a:gd name="T7" fmla="*/ 40014 h 42646"/>
              <a:gd name="T8" fmla="*/ 3003 w 33515"/>
              <a:gd name="T9" fmla="*/ 43079 h 42646"/>
              <a:gd name="T10" fmla="*/ 30157 w 33515"/>
              <a:gd name="T11" fmla="*/ 43079 h 42646"/>
              <a:gd name="T12" fmla="*/ 33160 w 33515"/>
              <a:gd name="T13" fmla="*/ 40014 h 42646"/>
              <a:gd name="T14" fmla="*/ 33160 w 33515"/>
              <a:gd name="T15" fmla="*/ 3079 h 42646"/>
              <a:gd name="T16" fmla="*/ 30157 w 33515"/>
              <a:gd name="T17" fmla="*/ 0 h 426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42646">
                <a:moveTo>
                  <a:pt x="30480" y="0"/>
                </a:moveTo>
                <a:lnTo>
                  <a:pt x="3035" y="0"/>
                </a:lnTo>
                <a:lnTo>
                  <a:pt x="0" y="3048"/>
                </a:lnTo>
                <a:lnTo>
                  <a:pt x="0" y="39611"/>
                </a:lnTo>
                <a:lnTo>
                  <a:pt x="3035" y="42646"/>
                </a:lnTo>
                <a:lnTo>
                  <a:pt x="30480" y="42646"/>
                </a:lnTo>
                <a:lnTo>
                  <a:pt x="33515" y="39611"/>
                </a:lnTo>
                <a:lnTo>
                  <a:pt x="33515" y="3048"/>
                </a:lnTo>
                <a:lnTo>
                  <a:pt x="30480"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53" name="object 162">
            <a:extLst>
              <a:ext uri="{FF2B5EF4-FFF2-40B4-BE49-F238E27FC236}">
                <a16:creationId xmlns:a16="http://schemas.microsoft.com/office/drawing/2014/main" id="{7C847739-A8B6-42AB-A063-98307C868537}"/>
              </a:ext>
            </a:extLst>
          </p:cNvPr>
          <p:cNvSpPr>
            <a:spLocks/>
          </p:cNvSpPr>
          <p:nvPr/>
        </p:nvSpPr>
        <p:spPr bwMode="auto">
          <a:xfrm>
            <a:off x="7476056" y="3562640"/>
            <a:ext cx="39687" cy="49212"/>
          </a:xfrm>
          <a:custGeom>
            <a:avLst/>
            <a:gdLst>
              <a:gd name="T0" fmla="*/ 9161 w 39624"/>
              <a:gd name="T1" fmla="*/ 46554 h 48755"/>
              <a:gd name="T2" fmla="*/ 30577 w 39624"/>
              <a:gd name="T3" fmla="*/ 49673 h 48755"/>
              <a:gd name="T4" fmla="*/ 30577 w 39624"/>
              <a:gd name="T5" fmla="*/ 0 h 48755"/>
              <a:gd name="T6" fmla="*/ 3058 w 39624"/>
              <a:gd name="T7" fmla="*/ 3106 h 48755"/>
              <a:gd name="T8" fmla="*/ 0 w 39624"/>
              <a:gd name="T9" fmla="*/ 9303 h 48755"/>
              <a:gd name="T10" fmla="*/ 3058 w 39624"/>
              <a:gd name="T11" fmla="*/ 43463 h 48755"/>
              <a:gd name="T12" fmla="*/ 36679 w 39624"/>
              <a:gd name="T13" fmla="*/ 46554 h 48755"/>
              <a:gd name="T14" fmla="*/ 12230 w 39624"/>
              <a:gd name="T15" fmla="*/ 43463 h 48755"/>
              <a:gd name="T16" fmla="*/ 9161 w 39624"/>
              <a:gd name="T17" fmla="*/ 40357 h 48755"/>
              <a:gd name="T18" fmla="*/ 6103 w 39624"/>
              <a:gd name="T19" fmla="*/ 9303 h 48755"/>
              <a:gd name="T20" fmla="*/ 36679 w 39624"/>
              <a:gd name="T21" fmla="*/ 6211 h 48755"/>
              <a:gd name="T22" fmla="*/ 30577 w 39624"/>
              <a:gd name="T23" fmla="*/ 0 h 48755"/>
              <a:gd name="T24" fmla="*/ 9161 w 39624"/>
              <a:gd name="T25" fmla="*/ 40357 h 48755"/>
              <a:gd name="T26" fmla="*/ 27507 w 39624"/>
              <a:gd name="T27" fmla="*/ 43463 h 48755"/>
              <a:gd name="T28" fmla="*/ 36679 w 39624"/>
              <a:gd name="T29" fmla="*/ 6211 h 48755"/>
              <a:gd name="T30" fmla="*/ 33634 w 39624"/>
              <a:gd name="T31" fmla="*/ 9303 h 48755"/>
              <a:gd name="T32" fmla="*/ 30577 w 39624"/>
              <a:gd name="T33" fmla="*/ 40357 h 48755"/>
              <a:gd name="T34" fmla="*/ 27507 w 39624"/>
              <a:gd name="T35" fmla="*/ 43463 h 48755"/>
              <a:gd name="T36" fmla="*/ 39750 w 39624"/>
              <a:gd name="T37" fmla="*/ 40357 h 48755"/>
              <a:gd name="T38" fmla="*/ 36679 w 39624"/>
              <a:gd name="T39" fmla="*/ 6211 h 48755"/>
              <a:gd name="T40" fmla="*/ 6103 w 39624"/>
              <a:gd name="T41" fmla="*/ 9303 h 48755"/>
              <a:gd name="T42" fmla="*/ 8142 w 39624"/>
              <a:gd name="T43" fmla="*/ 8273 h 48755"/>
              <a:gd name="T44" fmla="*/ 33634 w 39624"/>
              <a:gd name="T45" fmla="*/ 12408 h 48755"/>
              <a:gd name="T46" fmla="*/ 31594 w 39624"/>
              <a:gd name="T47" fmla="*/ 8273 h 48755"/>
              <a:gd name="T48" fmla="*/ 6103 w 39624"/>
              <a:gd name="T49" fmla="*/ 9303 h 48755"/>
              <a:gd name="T50" fmla="*/ 9161 w 39624"/>
              <a:gd name="T51" fmla="*/ 6211 h 48755"/>
              <a:gd name="T52" fmla="*/ 31594 w 39624"/>
              <a:gd name="T53" fmla="*/ 8273 h 48755"/>
              <a:gd name="T54" fmla="*/ 30577 w 39624"/>
              <a:gd name="T55" fmla="*/ 6211 h 48755"/>
              <a:gd name="T56" fmla="*/ 9161 w 39624"/>
              <a:gd name="T57" fmla="*/ 6211 h 48755"/>
              <a:gd name="T58" fmla="*/ 12230 w 39624"/>
              <a:gd name="T59" fmla="*/ 6211 h 48755"/>
              <a:gd name="T60" fmla="*/ 27507 w 39624"/>
              <a:gd name="T61" fmla="*/ 6211 h 48755"/>
              <a:gd name="T62" fmla="*/ 30577 w 39624"/>
              <a:gd name="T63" fmla="*/ 6211 h 487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9624" h="48755">
                <a:moveTo>
                  <a:pt x="30480" y="45694"/>
                </a:moveTo>
                <a:lnTo>
                  <a:pt x="9131" y="45694"/>
                </a:lnTo>
                <a:lnTo>
                  <a:pt x="9131" y="48755"/>
                </a:lnTo>
                <a:lnTo>
                  <a:pt x="30480" y="48755"/>
                </a:lnTo>
                <a:lnTo>
                  <a:pt x="30480" y="45694"/>
                </a:lnTo>
                <a:close/>
              </a:path>
              <a:path w="39624" h="48755">
                <a:moveTo>
                  <a:pt x="30480" y="0"/>
                </a:moveTo>
                <a:lnTo>
                  <a:pt x="9131" y="0"/>
                </a:lnTo>
                <a:lnTo>
                  <a:pt x="3048" y="3048"/>
                </a:lnTo>
                <a:lnTo>
                  <a:pt x="3048" y="6096"/>
                </a:lnTo>
                <a:lnTo>
                  <a:pt x="0" y="9131"/>
                </a:lnTo>
                <a:lnTo>
                  <a:pt x="0" y="39611"/>
                </a:lnTo>
                <a:lnTo>
                  <a:pt x="3048" y="42659"/>
                </a:lnTo>
                <a:lnTo>
                  <a:pt x="3048" y="45694"/>
                </a:lnTo>
                <a:lnTo>
                  <a:pt x="36563" y="45694"/>
                </a:lnTo>
                <a:lnTo>
                  <a:pt x="36563" y="42659"/>
                </a:lnTo>
                <a:lnTo>
                  <a:pt x="12192" y="42659"/>
                </a:lnTo>
                <a:lnTo>
                  <a:pt x="6083" y="39611"/>
                </a:lnTo>
                <a:lnTo>
                  <a:pt x="9131" y="39611"/>
                </a:lnTo>
                <a:lnTo>
                  <a:pt x="6083" y="36563"/>
                </a:lnTo>
                <a:lnTo>
                  <a:pt x="6083" y="9131"/>
                </a:lnTo>
                <a:lnTo>
                  <a:pt x="9131" y="6096"/>
                </a:lnTo>
                <a:lnTo>
                  <a:pt x="36563" y="6096"/>
                </a:lnTo>
                <a:lnTo>
                  <a:pt x="36563" y="3048"/>
                </a:lnTo>
                <a:lnTo>
                  <a:pt x="30480" y="0"/>
                </a:lnTo>
                <a:close/>
              </a:path>
              <a:path w="39624" h="48755">
                <a:moveTo>
                  <a:pt x="30480" y="39611"/>
                </a:moveTo>
                <a:lnTo>
                  <a:pt x="9131" y="39611"/>
                </a:lnTo>
                <a:lnTo>
                  <a:pt x="12192" y="42659"/>
                </a:lnTo>
                <a:lnTo>
                  <a:pt x="27419" y="42659"/>
                </a:lnTo>
                <a:lnTo>
                  <a:pt x="30480" y="39611"/>
                </a:lnTo>
                <a:close/>
              </a:path>
              <a:path w="39624" h="48755">
                <a:moveTo>
                  <a:pt x="36563" y="6096"/>
                </a:moveTo>
                <a:lnTo>
                  <a:pt x="30480" y="6096"/>
                </a:lnTo>
                <a:lnTo>
                  <a:pt x="33528" y="9131"/>
                </a:lnTo>
                <a:lnTo>
                  <a:pt x="33528" y="36563"/>
                </a:lnTo>
                <a:lnTo>
                  <a:pt x="30480" y="39611"/>
                </a:lnTo>
                <a:lnTo>
                  <a:pt x="33528" y="39611"/>
                </a:lnTo>
                <a:lnTo>
                  <a:pt x="27419" y="42659"/>
                </a:lnTo>
                <a:lnTo>
                  <a:pt x="36563" y="42659"/>
                </a:lnTo>
                <a:lnTo>
                  <a:pt x="39624" y="39611"/>
                </a:lnTo>
                <a:lnTo>
                  <a:pt x="39624" y="9131"/>
                </a:lnTo>
                <a:lnTo>
                  <a:pt x="36563" y="6096"/>
                </a:lnTo>
                <a:close/>
              </a:path>
              <a:path w="39624" h="48755">
                <a:moveTo>
                  <a:pt x="8116" y="8120"/>
                </a:moveTo>
                <a:lnTo>
                  <a:pt x="6083" y="9131"/>
                </a:lnTo>
                <a:lnTo>
                  <a:pt x="6083" y="12179"/>
                </a:lnTo>
                <a:lnTo>
                  <a:pt x="8116" y="8120"/>
                </a:lnTo>
                <a:close/>
              </a:path>
              <a:path w="39624" h="48755">
                <a:moveTo>
                  <a:pt x="31494" y="8120"/>
                </a:moveTo>
                <a:lnTo>
                  <a:pt x="33528" y="12179"/>
                </a:lnTo>
                <a:lnTo>
                  <a:pt x="33528" y="9131"/>
                </a:lnTo>
                <a:lnTo>
                  <a:pt x="31494" y="8120"/>
                </a:lnTo>
                <a:close/>
              </a:path>
              <a:path w="39624" h="48755">
                <a:moveTo>
                  <a:pt x="9131" y="6096"/>
                </a:moveTo>
                <a:lnTo>
                  <a:pt x="6083" y="9131"/>
                </a:lnTo>
                <a:lnTo>
                  <a:pt x="8116" y="8120"/>
                </a:lnTo>
                <a:lnTo>
                  <a:pt x="9131" y="6096"/>
                </a:lnTo>
                <a:close/>
              </a:path>
              <a:path w="39624" h="48755">
                <a:moveTo>
                  <a:pt x="30480" y="6096"/>
                </a:moveTo>
                <a:lnTo>
                  <a:pt x="31494" y="8120"/>
                </a:lnTo>
                <a:lnTo>
                  <a:pt x="33528" y="9131"/>
                </a:lnTo>
                <a:lnTo>
                  <a:pt x="30480" y="6096"/>
                </a:lnTo>
                <a:close/>
              </a:path>
              <a:path w="39624" h="48755">
                <a:moveTo>
                  <a:pt x="12192" y="6096"/>
                </a:moveTo>
                <a:lnTo>
                  <a:pt x="9131" y="6096"/>
                </a:lnTo>
                <a:lnTo>
                  <a:pt x="8116" y="8120"/>
                </a:lnTo>
                <a:lnTo>
                  <a:pt x="12192" y="6096"/>
                </a:lnTo>
                <a:close/>
              </a:path>
              <a:path w="39624" h="48755">
                <a:moveTo>
                  <a:pt x="30480" y="6096"/>
                </a:moveTo>
                <a:lnTo>
                  <a:pt x="27419" y="6096"/>
                </a:lnTo>
                <a:lnTo>
                  <a:pt x="31494" y="8120"/>
                </a:lnTo>
                <a:lnTo>
                  <a:pt x="30480" y="6096"/>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54" name="object 163">
            <a:extLst>
              <a:ext uri="{FF2B5EF4-FFF2-40B4-BE49-F238E27FC236}">
                <a16:creationId xmlns:a16="http://schemas.microsoft.com/office/drawing/2014/main" id="{B1153911-5B76-4BBE-94FD-E1159F939670}"/>
              </a:ext>
            </a:extLst>
          </p:cNvPr>
          <p:cNvSpPr>
            <a:spLocks/>
          </p:cNvSpPr>
          <p:nvPr/>
        </p:nvSpPr>
        <p:spPr bwMode="auto">
          <a:xfrm>
            <a:off x="7472881" y="3618202"/>
            <a:ext cx="46037" cy="53975"/>
          </a:xfrm>
          <a:custGeom>
            <a:avLst/>
            <a:gdLst>
              <a:gd name="T0" fmla="*/ 43268 w 45719"/>
              <a:gd name="T1" fmla="*/ 0 h 54851"/>
              <a:gd name="T2" fmla="*/ 6181 w 45719"/>
              <a:gd name="T3" fmla="*/ 0 h 54851"/>
              <a:gd name="T4" fmla="*/ 0 w 45719"/>
              <a:gd name="T5" fmla="*/ 5902 h 54851"/>
              <a:gd name="T6" fmla="*/ 0 w 45719"/>
              <a:gd name="T7" fmla="*/ 50162 h 54851"/>
              <a:gd name="T8" fmla="*/ 6181 w 45719"/>
              <a:gd name="T9" fmla="*/ 53113 h 54851"/>
              <a:gd name="T10" fmla="*/ 43268 w 45719"/>
              <a:gd name="T11" fmla="*/ 53113 h 54851"/>
              <a:gd name="T12" fmla="*/ 46358 w 45719"/>
              <a:gd name="T13" fmla="*/ 50162 h 54851"/>
              <a:gd name="T14" fmla="*/ 46358 w 45719"/>
              <a:gd name="T15" fmla="*/ 5902 h 54851"/>
              <a:gd name="T16" fmla="*/ 43268 w 45719"/>
              <a:gd name="T17" fmla="*/ 0 h 548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19" h="54851">
                <a:moveTo>
                  <a:pt x="42672" y="0"/>
                </a:moveTo>
                <a:lnTo>
                  <a:pt x="6096" y="0"/>
                </a:lnTo>
                <a:lnTo>
                  <a:pt x="0" y="6095"/>
                </a:lnTo>
                <a:lnTo>
                  <a:pt x="0" y="51803"/>
                </a:lnTo>
                <a:lnTo>
                  <a:pt x="6096" y="54851"/>
                </a:lnTo>
                <a:lnTo>
                  <a:pt x="42672" y="54851"/>
                </a:lnTo>
                <a:lnTo>
                  <a:pt x="45720" y="51803"/>
                </a:lnTo>
                <a:lnTo>
                  <a:pt x="45720" y="6095"/>
                </a:lnTo>
                <a:lnTo>
                  <a:pt x="42672"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55" name="object 164">
            <a:extLst>
              <a:ext uri="{FF2B5EF4-FFF2-40B4-BE49-F238E27FC236}">
                <a16:creationId xmlns:a16="http://schemas.microsoft.com/office/drawing/2014/main" id="{E5058BE6-79E9-4B98-8BA0-01956C86FF09}"/>
              </a:ext>
            </a:extLst>
          </p:cNvPr>
          <p:cNvSpPr>
            <a:spLocks/>
          </p:cNvSpPr>
          <p:nvPr/>
        </p:nvSpPr>
        <p:spPr bwMode="auto">
          <a:xfrm>
            <a:off x="7479231" y="3627727"/>
            <a:ext cx="33337" cy="39688"/>
          </a:xfrm>
          <a:custGeom>
            <a:avLst/>
            <a:gdLst>
              <a:gd name="T0" fmla="*/ 30157 w 33515"/>
              <a:gd name="T1" fmla="*/ 0 h 39611"/>
              <a:gd name="T2" fmla="*/ 3003 w 33515"/>
              <a:gd name="T3" fmla="*/ 0 h 39611"/>
              <a:gd name="T4" fmla="*/ 0 w 33515"/>
              <a:gd name="T5" fmla="*/ 3059 h 39611"/>
              <a:gd name="T6" fmla="*/ 0 w 33515"/>
              <a:gd name="T7" fmla="*/ 36717 h 39611"/>
              <a:gd name="T8" fmla="*/ 3003 w 33515"/>
              <a:gd name="T9" fmla="*/ 39765 h 39611"/>
              <a:gd name="T10" fmla="*/ 30157 w 33515"/>
              <a:gd name="T11" fmla="*/ 39765 h 39611"/>
              <a:gd name="T12" fmla="*/ 33160 w 33515"/>
              <a:gd name="T13" fmla="*/ 36717 h 39611"/>
              <a:gd name="T14" fmla="*/ 33160 w 33515"/>
              <a:gd name="T15" fmla="*/ 3059 h 39611"/>
              <a:gd name="T16" fmla="*/ 30157 w 33515"/>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39611">
                <a:moveTo>
                  <a:pt x="30480" y="0"/>
                </a:moveTo>
                <a:lnTo>
                  <a:pt x="3035" y="0"/>
                </a:lnTo>
                <a:lnTo>
                  <a:pt x="0" y="3047"/>
                </a:lnTo>
                <a:lnTo>
                  <a:pt x="0" y="36575"/>
                </a:lnTo>
                <a:lnTo>
                  <a:pt x="3035" y="39611"/>
                </a:lnTo>
                <a:lnTo>
                  <a:pt x="30480" y="39611"/>
                </a:lnTo>
                <a:lnTo>
                  <a:pt x="33515" y="36575"/>
                </a:lnTo>
                <a:lnTo>
                  <a:pt x="33515" y="3047"/>
                </a:lnTo>
                <a:lnTo>
                  <a:pt x="30480"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56" name="object 165">
            <a:extLst>
              <a:ext uri="{FF2B5EF4-FFF2-40B4-BE49-F238E27FC236}">
                <a16:creationId xmlns:a16="http://schemas.microsoft.com/office/drawing/2014/main" id="{4A31DB5C-84D6-46BA-91F2-9C43F5D65E5C}"/>
              </a:ext>
            </a:extLst>
          </p:cNvPr>
          <p:cNvSpPr>
            <a:spLocks/>
          </p:cNvSpPr>
          <p:nvPr/>
        </p:nvSpPr>
        <p:spPr bwMode="auto">
          <a:xfrm>
            <a:off x="7476056" y="3624552"/>
            <a:ext cx="39687" cy="44450"/>
          </a:xfrm>
          <a:custGeom>
            <a:avLst/>
            <a:gdLst>
              <a:gd name="T0" fmla="*/ 36679 w 39624"/>
              <a:gd name="T1" fmla="*/ 0 h 45694"/>
              <a:gd name="T2" fmla="*/ 3058 w 39624"/>
              <a:gd name="T3" fmla="*/ 0 h 45694"/>
              <a:gd name="T4" fmla="*/ 3058 w 39624"/>
              <a:gd name="T5" fmla="*/ 2872 h 45694"/>
              <a:gd name="T6" fmla="*/ 0 w 39624"/>
              <a:gd name="T7" fmla="*/ 8640 h 45694"/>
              <a:gd name="T8" fmla="*/ 0 w 39624"/>
              <a:gd name="T9" fmla="*/ 34600 h 45694"/>
              <a:gd name="T10" fmla="*/ 3058 w 39624"/>
              <a:gd name="T11" fmla="*/ 40356 h 45694"/>
              <a:gd name="T12" fmla="*/ 9161 w 39624"/>
              <a:gd name="T13" fmla="*/ 43240 h 45694"/>
              <a:gd name="T14" fmla="*/ 30577 w 39624"/>
              <a:gd name="T15" fmla="*/ 43240 h 45694"/>
              <a:gd name="T16" fmla="*/ 36679 w 39624"/>
              <a:gd name="T17" fmla="*/ 40356 h 45694"/>
              <a:gd name="T18" fmla="*/ 38212 w 39624"/>
              <a:gd name="T19" fmla="*/ 37484 h 45694"/>
              <a:gd name="T20" fmla="*/ 9161 w 39624"/>
              <a:gd name="T21" fmla="*/ 37484 h 45694"/>
              <a:gd name="T22" fmla="*/ 6103 w 39624"/>
              <a:gd name="T23" fmla="*/ 34600 h 45694"/>
              <a:gd name="T24" fmla="*/ 6103 w 39624"/>
              <a:gd name="T25" fmla="*/ 8640 h 45694"/>
              <a:gd name="T26" fmla="*/ 9161 w 39624"/>
              <a:gd name="T27" fmla="*/ 5756 h 45694"/>
              <a:gd name="T28" fmla="*/ 38215 w 39624"/>
              <a:gd name="T29" fmla="*/ 5756 h 45694"/>
              <a:gd name="T30" fmla="*/ 36679 w 39624"/>
              <a:gd name="T31" fmla="*/ 2872 h 45694"/>
              <a:gd name="T32" fmla="*/ 36679 w 39624"/>
              <a:gd name="T33" fmla="*/ 0 h 45694"/>
              <a:gd name="T34" fmla="*/ 6103 w 39624"/>
              <a:gd name="T35" fmla="*/ 34600 h 45694"/>
              <a:gd name="T36" fmla="*/ 9161 w 39624"/>
              <a:gd name="T37" fmla="*/ 37484 h 45694"/>
              <a:gd name="T38" fmla="*/ 12230 w 39624"/>
              <a:gd name="T39" fmla="*/ 37484 h 45694"/>
              <a:gd name="T40" fmla="*/ 6103 w 39624"/>
              <a:gd name="T41" fmla="*/ 34600 h 45694"/>
              <a:gd name="T42" fmla="*/ 33634 w 39624"/>
              <a:gd name="T43" fmla="*/ 34600 h 45694"/>
              <a:gd name="T44" fmla="*/ 27507 w 39624"/>
              <a:gd name="T45" fmla="*/ 37484 h 45694"/>
              <a:gd name="T46" fmla="*/ 30577 w 39624"/>
              <a:gd name="T47" fmla="*/ 37484 h 45694"/>
              <a:gd name="T48" fmla="*/ 33634 w 39624"/>
              <a:gd name="T49" fmla="*/ 34600 h 45694"/>
              <a:gd name="T50" fmla="*/ 38215 w 39624"/>
              <a:gd name="T51" fmla="*/ 5756 h 45694"/>
              <a:gd name="T52" fmla="*/ 30577 w 39624"/>
              <a:gd name="T53" fmla="*/ 5756 h 45694"/>
              <a:gd name="T54" fmla="*/ 33634 w 39624"/>
              <a:gd name="T55" fmla="*/ 8640 h 45694"/>
              <a:gd name="T56" fmla="*/ 33634 w 39624"/>
              <a:gd name="T57" fmla="*/ 34600 h 45694"/>
              <a:gd name="T58" fmla="*/ 30577 w 39624"/>
              <a:gd name="T59" fmla="*/ 37484 h 45694"/>
              <a:gd name="T60" fmla="*/ 38212 w 39624"/>
              <a:gd name="T61" fmla="*/ 37484 h 45694"/>
              <a:gd name="T62" fmla="*/ 39750 w 39624"/>
              <a:gd name="T63" fmla="*/ 34600 h 45694"/>
              <a:gd name="T64" fmla="*/ 39750 w 39624"/>
              <a:gd name="T65" fmla="*/ 8640 h 45694"/>
              <a:gd name="T66" fmla="*/ 38215 w 39624"/>
              <a:gd name="T67" fmla="*/ 5756 h 4569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9624" h="45694">
                <a:moveTo>
                  <a:pt x="36563" y="0"/>
                </a:moveTo>
                <a:lnTo>
                  <a:pt x="3048" y="0"/>
                </a:lnTo>
                <a:lnTo>
                  <a:pt x="3048" y="3035"/>
                </a:lnTo>
                <a:lnTo>
                  <a:pt x="0" y="9131"/>
                </a:lnTo>
                <a:lnTo>
                  <a:pt x="0" y="36563"/>
                </a:lnTo>
                <a:lnTo>
                  <a:pt x="3048" y="42646"/>
                </a:lnTo>
                <a:lnTo>
                  <a:pt x="9131" y="45694"/>
                </a:lnTo>
                <a:lnTo>
                  <a:pt x="30480" y="45694"/>
                </a:lnTo>
                <a:lnTo>
                  <a:pt x="36563" y="42646"/>
                </a:lnTo>
                <a:lnTo>
                  <a:pt x="38090" y="39611"/>
                </a:lnTo>
                <a:lnTo>
                  <a:pt x="9131" y="39611"/>
                </a:lnTo>
                <a:lnTo>
                  <a:pt x="6083" y="36563"/>
                </a:lnTo>
                <a:lnTo>
                  <a:pt x="6083" y="9131"/>
                </a:lnTo>
                <a:lnTo>
                  <a:pt x="9131" y="6083"/>
                </a:lnTo>
                <a:lnTo>
                  <a:pt x="38093" y="6083"/>
                </a:lnTo>
                <a:lnTo>
                  <a:pt x="36563" y="3035"/>
                </a:lnTo>
                <a:lnTo>
                  <a:pt x="36563" y="0"/>
                </a:lnTo>
                <a:close/>
              </a:path>
              <a:path w="39624" h="45694">
                <a:moveTo>
                  <a:pt x="6083" y="36563"/>
                </a:moveTo>
                <a:lnTo>
                  <a:pt x="9131" y="39611"/>
                </a:lnTo>
                <a:lnTo>
                  <a:pt x="12192" y="39611"/>
                </a:lnTo>
                <a:lnTo>
                  <a:pt x="6083" y="36563"/>
                </a:lnTo>
                <a:close/>
              </a:path>
              <a:path w="39624" h="45694">
                <a:moveTo>
                  <a:pt x="33528" y="36563"/>
                </a:moveTo>
                <a:lnTo>
                  <a:pt x="27419" y="39611"/>
                </a:lnTo>
                <a:lnTo>
                  <a:pt x="30480" y="39611"/>
                </a:lnTo>
                <a:lnTo>
                  <a:pt x="33528" y="36563"/>
                </a:lnTo>
                <a:close/>
              </a:path>
              <a:path w="39624" h="45694">
                <a:moveTo>
                  <a:pt x="38093" y="6083"/>
                </a:moveTo>
                <a:lnTo>
                  <a:pt x="30480" y="6083"/>
                </a:lnTo>
                <a:lnTo>
                  <a:pt x="33528" y="9131"/>
                </a:lnTo>
                <a:lnTo>
                  <a:pt x="33528" y="36563"/>
                </a:lnTo>
                <a:lnTo>
                  <a:pt x="30480" y="39611"/>
                </a:lnTo>
                <a:lnTo>
                  <a:pt x="38090" y="39611"/>
                </a:lnTo>
                <a:lnTo>
                  <a:pt x="39624" y="36563"/>
                </a:lnTo>
                <a:lnTo>
                  <a:pt x="39624" y="9131"/>
                </a:lnTo>
                <a:lnTo>
                  <a:pt x="38093" y="6083"/>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57" name="object 166">
            <a:extLst>
              <a:ext uri="{FF2B5EF4-FFF2-40B4-BE49-F238E27FC236}">
                <a16:creationId xmlns:a16="http://schemas.microsoft.com/office/drawing/2014/main" id="{D793B2BA-C37F-46C8-BBA3-8C63A06463AC}"/>
              </a:ext>
            </a:extLst>
          </p:cNvPr>
          <p:cNvSpPr>
            <a:spLocks/>
          </p:cNvSpPr>
          <p:nvPr/>
        </p:nvSpPr>
        <p:spPr bwMode="auto">
          <a:xfrm>
            <a:off x="7472881" y="3681702"/>
            <a:ext cx="46037" cy="52388"/>
          </a:xfrm>
          <a:custGeom>
            <a:avLst/>
            <a:gdLst>
              <a:gd name="T0" fmla="*/ 43268 w 45719"/>
              <a:gd name="T1" fmla="*/ 0 h 51803"/>
              <a:gd name="T2" fmla="*/ 6181 w 45719"/>
              <a:gd name="T3" fmla="*/ 0 h 51803"/>
              <a:gd name="T4" fmla="*/ 0 w 45719"/>
              <a:gd name="T5" fmla="*/ 3104 h 51803"/>
              <a:gd name="T6" fmla="*/ 0 w 45719"/>
              <a:gd name="T7" fmla="*/ 49863 h 51803"/>
              <a:gd name="T8" fmla="*/ 6181 w 45719"/>
              <a:gd name="T9" fmla="*/ 52980 h 51803"/>
              <a:gd name="T10" fmla="*/ 43268 w 45719"/>
              <a:gd name="T11" fmla="*/ 52980 h 51803"/>
              <a:gd name="T12" fmla="*/ 46358 w 45719"/>
              <a:gd name="T13" fmla="*/ 49863 h 51803"/>
              <a:gd name="T14" fmla="*/ 46358 w 45719"/>
              <a:gd name="T15" fmla="*/ 3104 h 51803"/>
              <a:gd name="T16" fmla="*/ 43268 w 45719"/>
              <a:gd name="T17" fmla="*/ 0 h 518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5719" h="51803">
                <a:moveTo>
                  <a:pt x="42672" y="0"/>
                </a:moveTo>
                <a:lnTo>
                  <a:pt x="6096" y="0"/>
                </a:lnTo>
                <a:lnTo>
                  <a:pt x="0" y="3035"/>
                </a:lnTo>
                <a:lnTo>
                  <a:pt x="0" y="48755"/>
                </a:lnTo>
                <a:lnTo>
                  <a:pt x="6096" y="51803"/>
                </a:lnTo>
                <a:lnTo>
                  <a:pt x="42672" y="51803"/>
                </a:lnTo>
                <a:lnTo>
                  <a:pt x="45720" y="48755"/>
                </a:lnTo>
                <a:lnTo>
                  <a:pt x="45720" y="3035"/>
                </a:lnTo>
                <a:lnTo>
                  <a:pt x="42672" y="0"/>
                </a:lnTo>
                <a:close/>
              </a:path>
            </a:pathLst>
          </a:custGeom>
          <a:solidFill>
            <a:srgbClr val="6783A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58" name="object 167">
            <a:extLst>
              <a:ext uri="{FF2B5EF4-FFF2-40B4-BE49-F238E27FC236}">
                <a16:creationId xmlns:a16="http://schemas.microsoft.com/office/drawing/2014/main" id="{66F2C4BF-8BB4-464A-8258-BF6EAA64C5D2}"/>
              </a:ext>
            </a:extLst>
          </p:cNvPr>
          <p:cNvSpPr>
            <a:spLocks/>
          </p:cNvSpPr>
          <p:nvPr/>
        </p:nvSpPr>
        <p:spPr bwMode="auto">
          <a:xfrm>
            <a:off x="7479231" y="3688052"/>
            <a:ext cx="33337" cy="39688"/>
          </a:xfrm>
          <a:custGeom>
            <a:avLst/>
            <a:gdLst>
              <a:gd name="T0" fmla="*/ 30157 w 33515"/>
              <a:gd name="T1" fmla="*/ 0 h 39611"/>
              <a:gd name="T2" fmla="*/ 3003 w 33515"/>
              <a:gd name="T3" fmla="*/ 0 h 39611"/>
              <a:gd name="T4" fmla="*/ 0 w 33515"/>
              <a:gd name="T5" fmla="*/ 3059 h 39611"/>
              <a:gd name="T6" fmla="*/ 0 w 33515"/>
              <a:gd name="T7" fmla="*/ 36705 h 39611"/>
              <a:gd name="T8" fmla="*/ 3003 w 33515"/>
              <a:gd name="T9" fmla="*/ 39765 h 39611"/>
              <a:gd name="T10" fmla="*/ 30157 w 33515"/>
              <a:gd name="T11" fmla="*/ 39765 h 39611"/>
              <a:gd name="T12" fmla="*/ 33160 w 33515"/>
              <a:gd name="T13" fmla="*/ 36705 h 39611"/>
              <a:gd name="T14" fmla="*/ 33160 w 33515"/>
              <a:gd name="T15" fmla="*/ 3059 h 39611"/>
              <a:gd name="T16" fmla="*/ 30157 w 33515"/>
              <a:gd name="T17" fmla="*/ 0 h 396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515" h="39611">
                <a:moveTo>
                  <a:pt x="30480" y="0"/>
                </a:moveTo>
                <a:lnTo>
                  <a:pt x="3035" y="0"/>
                </a:lnTo>
                <a:lnTo>
                  <a:pt x="0" y="3047"/>
                </a:lnTo>
                <a:lnTo>
                  <a:pt x="0" y="36563"/>
                </a:lnTo>
                <a:lnTo>
                  <a:pt x="3035" y="39611"/>
                </a:lnTo>
                <a:lnTo>
                  <a:pt x="30480" y="39611"/>
                </a:lnTo>
                <a:lnTo>
                  <a:pt x="33515" y="36563"/>
                </a:lnTo>
                <a:lnTo>
                  <a:pt x="33515" y="3047"/>
                </a:lnTo>
                <a:lnTo>
                  <a:pt x="30480" y="0"/>
                </a:lnTo>
                <a:close/>
              </a:path>
            </a:pathLst>
          </a:custGeom>
          <a:solidFill>
            <a:srgbClr val="A9B9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59" name="object 168">
            <a:extLst>
              <a:ext uri="{FF2B5EF4-FFF2-40B4-BE49-F238E27FC236}">
                <a16:creationId xmlns:a16="http://schemas.microsoft.com/office/drawing/2014/main" id="{AF513CCF-3EF4-473B-A598-C3F69E1E28F5}"/>
              </a:ext>
            </a:extLst>
          </p:cNvPr>
          <p:cNvSpPr>
            <a:spLocks/>
          </p:cNvSpPr>
          <p:nvPr/>
        </p:nvSpPr>
        <p:spPr bwMode="auto">
          <a:xfrm>
            <a:off x="7476056" y="3684877"/>
            <a:ext cx="39687" cy="46038"/>
          </a:xfrm>
          <a:custGeom>
            <a:avLst/>
            <a:gdLst>
              <a:gd name="T0" fmla="*/ 30577 w 39624"/>
              <a:gd name="T1" fmla="*/ 0 h 45707"/>
              <a:gd name="T2" fmla="*/ 9161 w 39624"/>
              <a:gd name="T3" fmla="*/ 0 h 45707"/>
              <a:gd name="T4" fmla="*/ 3058 w 39624"/>
              <a:gd name="T5" fmla="*/ 3091 h 45707"/>
              <a:gd name="T6" fmla="*/ 0 w 39624"/>
              <a:gd name="T7" fmla="*/ 9276 h 45707"/>
              <a:gd name="T8" fmla="*/ 0 w 39624"/>
              <a:gd name="T9" fmla="*/ 40187 h 45707"/>
              <a:gd name="T10" fmla="*/ 3058 w 39624"/>
              <a:gd name="T11" fmla="*/ 43279 h 45707"/>
              <a:gd name="T12" fmla="*/ 3058 w 39624"/>
              <a:gd name="T13" fmla="*/ 46371 h 45707"/>
              <a:gd name="T14" fmla="*/ 36679 w 39624"/>
              <a:gd name="T15" fmla="*/ 46371 h 45707"/>
              <a:gd name="T16" fmla="*/ 36679 w 39624"/>
              <a:gd name="T17" fmla="*/ 43279 h 45707"/>
              <a:gd name="T18" fmla="*/ 39750 w 39624"/>
              <a:gd name="T19" fmla="*/ 40187 h 45707"/>
              <a:gd name="T20" fmla="*/ 9161 w 39624"/>
              <a:gd name="T21" fmla="*/ 40187 h 45707"/>
              <a:gd name="T22" fmla="*/ 6103 w 39624"/>
              <a:gd name="T23" fmla="*/ 37095 h 45707"/>
              <a:gd name="T24" fmla="*/ 6103 w 39624"/>
              <a:gd name="T25" fmla="*/ 9276 h 45707"/>
              <a:gd name="T26" fmla="*/ 9161 w 39624"/>
              <a:gd name="T27" fmla="*/ 6183 h 45707"/>
              <a:gd name="T28" fmla="*/ 38215 w 39624"/>
              <a:gd name="T29" fmla="*/ 6183 h 45707"/>
              <a:gd name="T30" fmla="*/ 36679 w 39624"/>
              <a:gd name="T31" fmla="*/ 3091 h 45707"/>
              <a:gd name="T32" fmla="*/ 30577 w 39624"/>
              <a:gd name="T33" fmla="*/ 0 h 45707"/>
              <a:gd name="T34" fmla="*/ 38215 w 39624"/>
              <a:gd name="T35" fmla="*/ 6183 h 45707"/>
              <a:gd name="T36" fmla="*/ 30577 w 39624"/>
              <a:gd name="T37" fmla="*/ 6183 h 45707"/>
              <a:gd name="T38" fmla="*/ 33634 w 39624"/>
              <a:gd name="T39" fmla="*/ 9276 h 45707"/>
              <a:gd name="T40" fmla="*/ 33634 w 39624"/>
              <a:gd name="T41" fmla="*/ 37095 h 45707"/>
              <a:gd name="T42" fmla="*/ 30577 w 39624"/>
              <a:gd name="T43" fmla="*/ 40187 h 45707"/>
              <a:gd name="T44" fmla="*/ 39750 w 39624"/>
              <a:gd name="T45" fmla="*/ 40187 h 45707"/>
              <a:gd name="T46" fmla="*/ 39750 w 39624"/>
              <a:gd name="T47" fmla="*/ 9276 h 45707"/>
              <a:gd name="T48" fmla="*/ 38215 w 39624"/>
              <a:gd name="T49" fmla="*/ 6183 h 45707"/>
              <a:gd name="T50" fmla="*/ 8139 w 39624"/>
              <a:gd name="T51" fmla="*/ 8248 h 45707"/>
              <a:gd name="T52" fmla="*/ 6103 w 39624"/>
              <a:gd name="T53" fmla="*/ 9276 h 45707"/>
              <a:gd name="T54" fmla="*/ 6103 w 39624"/>
              <a:gd name="T55" fmla="*/ 12368 h 45707"/>
              <a:gd name="T56" fmla="*/ 8139 w 39624"/>
              <a:gd name="T57" fmla="*/ 8248 h 45707"/>
              <a:gd name="T58" fmla="*/ 31597 w 39624"/>
              <a:gd name="T59" fmla="*/ 8248 h 45707"/>
              <a:gd name="T60" fmla="*/ 33634 w 39624"/>
              <a:gd name="T61" fmla="*/ 12368 h 45707"/>
              <a:gd name="T62" fmla="*/ 33634 w 39624"/>
              <a:gd name="T63" fmla="*/ 9276 h 45707"/>
              <a:gd name="T64" fmla="*/ 31597 w 39624"/>
              <a:gd name="T65" fmla="*/ 8248 h 45707"/>
              <a:gd name="T66" fmla="*/ 9161 w 39624"/>
              <a:gd name="T67" fmla="*/ 6183 h 45707"/>
              <a:gd name="T68" fmla="*/ 6103 w 39624"/>
              <a:gd name="T69" fmla="*/ 9276 h 45707"/>
              <a:gd name="T70" fmla="*/ 8139 w 39624"/>
              <a:gd name="T71" fmla="*/ 8248 h 45707"/>
              <a:gd name="T72" fmla="*/ 9161 w 39624"/>
              <a:gd name="T73" fmla="*/ 6183 h 45707"/>
              <a:gd name="T74" fmla="*/ 30577 w 39624"/>
              <a:gd name="T75" fmla="*/ 6183 h 45707"/>
              <a:gd name="T76" fmla="*/ 31597 w 39624"/>
              <a:gd name="T77" fmla="*/ 8248 h 45707"/>
              <a:gd name="T78" fmla="*/ 33634 w 39624"/>
              <a:gd name="T79" fmla="*/ 9276 h 45707"/>
              <a:gd name="T80" fmla="*/ 30577 w 39624"/>
              <a:gd name="T81" fmla="*/ 6183 h 45707"/>
              <a:gd name="T82" fmla="*/ 12230 w 39624"/>
              <a:gd name="T83" fmla="*/ 6183 h 45707"/>
              <a:gd name="T84" fmla="*/ 9161 w 39624"/>
              <a:gd name="T85" fmla="*/ 6183 h 45707"/>
              <a:gd name="T86" fmla="*/ 8139 w 39624"/>
              <a:gd name="T87" fmla="*/ 8248 h 45707"/>
              <a:gd name="T88" fmla="*/ 12230 w 39624"/>
              <a:gd name="T89" fmla="*/ 6183 h 45707"/>
              <a:gd name="T90" fmla="*/ 30577 w 39624"/>
              <a:gd name="T91" fmla="*/ 6183 h 45707"/>
              <a:gd name="T92" fmla="*/ 27507 w 39624"/>
              <a:gd name="T93" fmla="*/ 6183 h 45707"/>
              <a:gd name="T94" fmla="*/ 31597 w 39624"/>
              <a:gd name="T95" fmla="*/ 8248 h 45707"/>
              <a:gd name="T96" fmla="*/ 30577 w 39624"/>
              <a:gd name="T97" fmla="*/ 6183 h 4570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624" h="45707">
                <a:moveTo>
                  <a:pt x="30480" y="0"/>
                </a:moveTo>
                <a:lnTo>
                  <a:pt x="9131" y="0"/>
                </a:lnTo>
                <a:lnTo>
                  <a:pt x="3048" y="3047"/>
                </a:lnTo>
                <a:lnTo>
                  <a:pt x="0" y="9143"/>
                </a:lnTo>
                <a:lnTo>
                  <a:pt x="0" y="39611"/>
                </a:lnTo>
                <a:lnTo>
                  <a:pt x="3048" y="42659"/>
                </a:lnTo>
                <a:lnTo>
                  <a:pt x="3048" y="45707"/>
                </a:lnTo>
                <a:lnTo>
                  <a:pt x="36563" y="45707"/>
                </a:lnTo>
                <a:lnTo>
                  <a:pt x="36563" y="42659"/>
                </a:lnTo>
                <a:lnTo>
                  <a:pt x="39624" y="39611"/>
                </a:lnTo>
                <a:lnTo>
                  <a:pt x="9131" y="39611"/>
                </a:lnTo>
                <a:lnTo>
                  <a:pt x="6083" y="36563"/>
                </a:lnTo>
                <a:lnTo>
                  <a:pt x="6083" y="9143"/>
                </a:lnTo>
                <a:lnTo>
                  <a:pt x="9131" y="6095"/>
                </a:lnTo>
                <a:lnTo>
                  <a:pt x="38093" y="6095"/>
                </a:lnTo>
                <a:lnTo>
                  <a:pt x="36563" y="3047"/>
                </a:lnTo>
                <a:lnTo>
                  <a:pt x="30480" y="0"/>
                </a:lnTo>
                <a:close/>
              </a:path>
              <a:path w="39624" h="45707">
                <a:moveTo>
                  <a:pt x="38093" y="6095"/>
                </a:moveTo>
                <a:lnTo>
                  <a:pt x="30480" y="6095"/>
                </a:lnTo>
                <a:lnTo>
                  <a:pt x="33528" y="9143"/>
                </a:lnTo>
                <a:lnTo>
                  <a:pt x="33528" y="36563"/>
                </a:lnTo>
                <a:lnTo>
                  <a:pt x="30480" y="39611"/>
                </a:lnTo>
                <a:lnTo>
                  <a:pt x="39624" y="39611"/>
                </a:lnTo>
                <a:lnTo>
                  <a:pt x="39624" y="9143"/>
                </a:lnTo>
                <a:lnTo>
                  <a:pt x="38093" y="6095"/>
                </a:lnTo>
                <a:close/>
              </a:path>
              <a:path w="39624" h="45707">
                <a:moveTo>
                  <a:pt x="8113" y="8130"/>
                </a:moveTo>
                <a:lnTo>
                  <a:pt x="6083" y="9143"/>
                </a:lnTo>
                <a:lnTo>
                  <a:pt x="6083" y="12191"/>
                </a:lnTo>
                <a:lnTo>
                  <a:pt x="8113" y="8130"/>
                </a:lnTo>
                <a:close/>
              </a:path>
              <a:path w="39624" h="45707">
                <a:moveTo>
                  <a:pt x="31497" y="8130"/>
                </a:moveTo>
                <a:lnTo>
                  <a:pt x="33528" y="12191"/>
                </a:lnTo>
                <a:lnTo>
                  <a:pt x="33528" y="9143"/>
                </a:lnTo>
                <a:lnTo>
                  <a:pt x="31497" y="8130"/>
                </a:lnTo>
                <a:close/>
              </a:path>
              <a:path w="39624" h="45707">
                <a:moveTo>
                  <a:pt x="9131" y="6095"/>
                </a:moveTo>
                <a:lnTo>
                  <a:pt x="6083" y="9143"/>
                </a:lnTo>
                <a:lnTo>
                  <a:pt x="8113" y="8130"/>
                </a:lnTo>
                <a:lnTo>
                  <a:pt x="9131" y="6095"/>
                </a:lnTo>
                <a:close/>
              </a:path>
              <a:path w="39624" h="45707">
                <a:moveTo>
                  <a:pt x="30480" y="6095"/>
                </a:moveTo>
                <a:lnTo>
                  <a:pt x="31497" y="8130"/>
                </a:lnTo>
                <a:lnTo>
                  <a:pt x="33528" y="9143"/>
                </a:lnTo>
                <a:lnTo>
                  <a:pt x="30480" y="6095"/>
                </a:lnTo>
                <a:close/>
              </a:path>
              <a:path w="39624" h="45707">
                <a:moveTo>
                  <a:pt x="12192" y="6095"/>
                </a:moveTo>
                <a:lnTo>
                  <a:pt x="9131" y="6095"/>
                </a:lnTo>
                <a:lnTo>
                  <a:pt x="8113" y="8130"/>
                </a:lnTo>
                <a:lnTo>
                  <a:pt x="12192" y="6095"/>
                </a:lnTo>
                <a:close/>
              </a:path>
              <a:path w="39624" h="45707">
                <a:moveTo>
                  <a:pt x="30480" y="6095"/>
                </a:moveTo>
                <a:lnTo>
                  <a:pt x="27419" y="6095"/>
                </a:lnTo>
                <a:lnTo>
                  <a:pt x="31497" y="8130"/>
                </a:lnTo>
                <a:lnTo>
                  <a:pt x="30480" y="6095"/>
                </a:lnTo>
                <a:close/>
              </a:path>
            </a:pathLst>
          </a:custGeom>
          <a:solidFill>
            <a:srgbClr val="002E63"/>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zh-CN" altLang="en-US"/>
          </a:p>
        </p:txBody>
      </p:sp>
      <p:sp>
        <p:nvSpPr>
          <p:cNvPr id="360" name="object 283">
            <a:extLst>
              <a:ext uri="{FF2B5EF4-FFF2-40B4-BE49-F238E27FC236}">
                <a16:creationId xmlns:a16="http://schemas.microsoft.com/office/drawing/2014/main" id="{887519AC-7D76-4E57-9815-9BF581947892}"/>
              </a:ext>
            </a:extLst>
          </p:cNvPr>
          <p:cNvSpPr txBox="1">
            <a:spLocks noChangeArrowheads="1"/>
          </p:cNvSpPr>
          <p:nvPr/>
        </p:nvSpPr>
        <p:spPr bwMode="auto">
          <a:xfrm>
            <a:off x="7390331" y="5235865"/>
            <a:ext cx="500062"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463">
              <a:spcBef>
                <a:spcPct val="20000"/>
              </a:spcBef>
              <a:buChar char="•"/>
              <a:tabLst>
                <a:tab pos="800100" algn="l"/>
                <a:tab pos="1384300" algn="l"/>
              </a:tabLst>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tabLst>
                <a:tab pos="800100" algn="l"/>
                <a:tab pos="1384300" algn="l"/>
              </a:tabLst>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tabLst>
                <a:tab pos="800100" algn="l"/>
                <a:tab pos="1384300" algn="l"/>
              </a:tabLst>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9pPr>
          </a:lstStyle>
          <a:p>
            <a:pPr>
              <a:lnSpc>
                <a:spcPts val="875"/>
              </a:lnSpc>
              <a:spcBef>
                <a:spcPct val="0"/>
              </a:spcBef>
              <a:buFontTx/>
              <a:buNone/>
            </a:pPr>
            <a:r>
              <a:rPr lang="en-US" altLang="zh-CN" sz="800"/>
              <a:t>CROBS</a:t>
            </a:r>
            <a:endParaRPr lang="zh-CN" altLang="zh-CN" sz="800">
              <a:latin typeface="宋体" panose="02010600030101010101" pitchFamily="2" charset="-122"/>
            </a:endParaRPr>
          </a:p>
        </p:txBody>
      </p:sp>
      <p:sp>
        <p:nvSpPr>
          <p:cNvPr id="361" name="object 320">
            <a:extLst>
              <a:ext uri="{FF2B5EF4-FFF2-40B4-BE49-F238E27FC236}">
                <a16:creationId xmlns:a16="http://schemas.microsoft.com/office/drawing/2014/main" id="{9DA6254D-0FFC-4A06-8C44-ADA0539BDED1}"/>
              </a:ext>
            </a:extLst>
          </p:cNvPr>
          <p:cNvSpPr txBox="1">
            <a:spLocks noChangeArrowheads="1"/>
          </p:cNvSpPr>
          <p:nvPr/>
        </p:nvSpPr>
        <p:spPr bwMode="auto">
          <a:xfrm>
            <a:off x="7468118" y="3459452"/>
            <a:ext cx="12700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4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nSpc>
                <a:spcPts val="1000"/>
              </a:lnSpc>
              <a:spcBef>
                <a:spcPct val="0"/>
              </a:spcBef>
              <a:buFontTx/>
              <a:buNone/>
            </a:pPr>
            <a:endParaRPr lang="zh-CN" altLang="zh-CN" sz="1000"/>
          </a:p>
        </p:txBody>
      </p:sp>
      <p:sp>
        <p:nvSpPr>
          <p:cNvPr id="362" name="object 335">
            <a:extLst>
              <a:ext uri="{FF2B5EF4-FFF2-40B4-BE49-F238E27FC236}">
                <a16:creationId xmlns:a16="http://schemas.microsoft.com/office/drawing/2014/main" id="{50DF95B9-8A14-443B-ADED-F54ED1F89A34}"/>
              </a:ext>
            </a:extLst>
          </p:cNvPr>
          <p:cNvSpPr txBox="1">
            <a:spLocks noChangeArrowheads="1"/>
          </p:cNvSpPr>
          <p:nvPr/>
        </p:nvSpPr>
        <p:spPr bwMode="auto">
          <a:xfrm>
            <a:off x="7468118" y="3789652"/>
            <a:ext cx="38100" cy="4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363" name="object 336">
            <a:extLst>
              <a:ext uri="{FF2B5EF4-FFF2-40B4-BE49-F238E27FC236}">
                <a16:creationId xmlns:a16="http://schemas.microsoft.com/office/drawing/2014/main" id="{E370CF0A-4E5F-4CE7-A13E-E735E51E05DE}"/>
              </a:ext>
            </a:extLst>
          </p:cNvPr>
          <p:cNvSpPr txBox="1">
            <a:spLocks noChangeArrowheads="1"/>
          </p:cNvSpPr>
          <p:nvPr/>
        </p:nvSpPr>
        <p:spPr bwMode="auto">
          <a:xfrm>
            <a:off x="7506218" y="3789652"/>
            <a:ext cx="88900" cy="4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364" name="object 142">
            <a:extLst>
              <a:ext uri="{FF2B5EF4-FFF2-40B4-BE49-F238E27FC236}">
                <a16:creationId xmlns:a16="http://schemas.microsoft.com/office/drawing/2014/main" id="{90084FDE-FDCA-47A6-B038-0B036404D2AB}"/>
              </a:ext>
            </a:extLst>
          </p:cNvPr>
          <p:cNvSpPr>
            <a:spLocks noChangeArrowheads="1"/>
          </p:cNvSpPr>
          <p:nvPr/>
        </p:nvSpPr>
        <p:spPr bwMode="auto">
          <a:xfrm>
            <a:off x="7334768" y="4099215"/>
            <a:ext cx="484188" cy="350837"/>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spcBef>
                <a:spcPct val="0"/>
              </a:spcBef>
              <a:buFontTx/>
              <a:buNone/>
            </a:pPr>
            <a:endParaRPr lang="zh-CN" altLang="zh-CN" sz="1800"/>
          </a:p>
        </p:txBody>
      </p:sp>
      <p:sp>
        <p:nvSpPr>
          <p:cNvPr id="365" name="object 283">
            <a:extLst>
              <a:ext uri="{FF2B5EF4-FFF2-40B4-BE49-F238E27FC236}">
                <a16:creationId xmlns:a16="http://schemas.microsoft.com/office/drawing/2014/main" id="{2CB2D67F-7F94-488F-BF5C-A3C9A2C79FA4}"/>
              </a:ext>
            </a:extLst>
          </p:cNvPr>
          <p:cNvSpPr txBox="1"/>
          <p:nvPr/>
        </p:nvSpPr>
        <p:spPr>
          <a:xfrm>
            <a:off x="7318893" y="5092990"/>
            <a:ext cx="704850" cy="204787"/>
          </a:xfrm>
          <a:prstGeom prst="rect">
            <a:avLst/>
          </a:prstGeom>
        </p:spPr>
        <p:txBody>
          <a:bodyPr lIns="0" tIns="0" rIns="0" bIns="0"/>
          <a:lstStyle/>
          <a:p>
            <a:pPr marL="18287">
              <a:lnSpc>
                <a:spcPts val="875"/>
              </a:lnSpc>
              <a:spcBef>
                <a:spcPts val="3"/>
              </a:spcBef>
              <a:tabLst>
                <a:tab pos="800100" algn="l"/>
                <a:tab pos="1384300" algn="l"/>
              </a:tabLst>
              <a:defRPr/>
            </a:pPr>
            <a:r>
              <a:rPr sz="1200" baseline="-7246" dirty="0">
                <a:latin typeface="Arial"/>
                <a:cs typeface="Arial"/>
              </a:rPr>
              <a:t>PLC/Si</a:t>
            </a:r>
            <a:r>
              <a:rPr sz="1200" spc="-14" baseline="-7246" dirty="0">
                <a:latin typeface="Arial"/>
                <a:cs typeface="Arial"/>
              </a:rPr>
              <a:t>m</a:t>
            </a:r>
            <a:r>
              <a:rPr sz="1200" spc="-29" baseline="-7246" dirty="0">
                <a:latin typeface="Arial"/>
                <a:cs typeface="Arial"/>
              </a:rPr>
              <a:t>o</a:t>
            </a:r>
            <a:r>
              <a:rPr sz="1200" baseline="-7246" dirty="0">
                <a:latin typeface="Arial"/>
                <a:cs typeface="Arial"/>
              </a:rPr>
              <a:t>t</a:t>
            </a:r>
            <a:r>
              <a:rPr sz="1200" spc="14" baseline="-7246" dirty="0">
                <a:latin typeface="Arial"/>
                <a:cs typeface="Arial"/>
              </a:rPr>
              <a:t>io</a:t>
            </a:r>
            <a:r>
              <a:rPr sz="1200" baseline="-7246" dirty="0">
                <a:latin typeface="Arial"/>
                <a:cs typeface="Arial"/>
              </a:rPr>
              <a:t>n</a:t>
            </a:r>
            <a:endParaRPr sz="800" dirty="0">
              <a:latin typeface="Arial"/>
              <a:cs typeface="Arial"/>
            </a:endParaRPr>
          </a:p>
        </p:txBody>
      </p:sp>
      <p:sp>
        <p:nvSpPr>
          <p:cNvPr id="366" name="object 283">
            <a:extLst>
              <a:ext uri="{FF2B5EF4-FFF2-40B4-BE49-F238E27FC236}">
                <a16:creationId xmlns:a16="http://schemas.microsoft.com/office/drawing/2014/main" id="{DB770096-3BCF-4E28-AD9D-8FD4BFE89594}"/>
              </a:ext>
            </a:extLst>
          </p:cNvPr>
          <p:cNvSpPr txBox="1">
            <a:spLocks noChangeArrowheads="1"/>
          </p:cNvSpPr>
          <p:nvPr/>
        </p:nvSpPr>
        <p:spPr bwMode="auto">
          <a:xfrm>
            <a:off x="7604643" y="4521490"/>
            <a:ext cx="490538"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463">
              <a:spcBef>
                <a:spcPct val="20000"/>
              </a:spcBef>
              <a:buChar char="•"/>
              <a:tabLst>
                <a:tab pos="800100" algn="l"/>
                <a:tab pos="1384300" algn="l"/>
              </a:tabLst>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tabLst>
                <a:tab pos="800100" algn="l"/>
                <a:tab pos="1384300" algn="l"/>
              </a:tabLst>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tabLst>
                <a:tab pos="800100" algn="l"/>
                <a:tab pos="1384300" algn="l"/>
              </a:tabLst>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tabLst>
                <a:tab pos="800100" algn="l"/>
                <a:tab pos="1384300" algn="l"/>
              </a:tabLst>
              <a:defRPr sz="2000">
                <a:solidFill>
                  <a:schemeClr val="tx1"/>
                </a:solidFill>
                <a:latin typeface="Arial" panose="020B0604020202020204" pitchFamily="34" charset="0"/>
                <a:ea typeface="宋体" panose="02010600030101010101" pitchFamily="2" charset="-122"/>
              </a:defRPr>
            </a:lvl9pPr>
          </a:lstStyle>
          <a:p>
            <a:pPr>
              <a:lnSpc>
                <a:spcPts val="875"/>
              </a:lnSpc>
              <a:spcBef>
                <a:spcPct val="0"/>
              </a:spcBef>
              <a:buFontTx/>
              <a:buNone/>
            </a:pPr>
            <a:r>
              <a:rPr lang="en-US" altLang="zh-CN" sz="1200" baseline="-7000">
                <a:cs typeface="Arial" panose="020B0604020202020204" pitchFamily="34" charset="0"/>
              </a:rPr>
              <a:t>Panel PC</a:t>
            </a:r>
            <a:endParaRPr lang="zh-CN" altLang="zh-CN" sz="800">
              <a:cs typeface="Arial" panose="020B0604020202020204" pitchFamily="34" charset="0"/>
            </a:endParaRPr>
          </a:p>
        </p:txBody>
      </p:sp>
      <p:sp>
        <p:nvSpPr>
          <p:cNvPr id="367" name="流程图: 可选过程 366">
            <a:extLst>
              <a:ext uri="{FF2B5EF4-FFF2-40B4-BE49-F238E27FC236}">
                <a16:creationId xmlns:a16="http://schemas.microsoft.com/office/drawing/2014/main" id="{CAD2F20C-8F26-461E-A94B-878778760003}"/>
              </a:ext>
            </a:extLst>
          </p:cNvPr>
          <p:cNvSpPr/>
          <p:nvPr/>
        </p:nvSpPr>
        <p:spPr>
          <a:xfrm>
            <a:off x="1932506" y="5505544"/>
            <a:ext cx="2243137" cy="504825"/>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b="1" dirty="0">
                <a:solidFill>
                  <a:schemeClr val="bg1"/>
                </a:solidFill>
              </a:rPr>
              <a:t>物料准备阶段</a:t>
            </a:r>
          </a:p>
        </p:txBody>
      </p:sp>
      <p:sp>
        <p:nvSpPr>
          <p:cNvPr id="368" name="流程图: 可选过程 367">
            <a:extLst>
              <a:ext uri="{FF2B5EF4-FFF2-40B4-BE49-F238E27FC236}">
                <a16:creationId xmlns:a16="http://schemas.microsoft.com/office/drawing/2014/main" id="{F512333E-764B-4969-B2A7-839313927EF2}"/>
              </a:ext>
            </a:extLst>
          </p:cNvPr>
          <p:cNvSpPr/>
          <p:nvPr/>
        </p:nvSpPr>
        <p:spPr>
          <a:xfrm>
            <a:off x="4102618" y="5488081"/>
            <a:ext cx="2144713" cy="538163"/>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b="1" dirty="0">
                <a:solidFill>
                  <a:schemeClr val="bg1"/>
                </a:solidFill>
              </a:rPr>
              <a:t>联动线生产阶段</a:t>
            </a:r>
          </a:p>
        </p:txBody>
      </p:sp>
      <p:sp>
        <p:nvSpPr>
          <p:cNvPr id="369" name="流程图: 可选过程 368">
            <a:extLst>
              <a:ext uri="{FF2B5EF4-FFF2-40B4-BE49-F238E27FC236}">
                <a16:creationId xmlns:a16="http://schemas.microsoft.com/office/drawing/2014/main" id="{0F803616-F042-4840-8D8C-BC3E0392DD26}"/>
              </a:ext>
            </a:extLst>
          </p:cNvPr>
          <p:cNvSpPr/>
          <p:nvPr/>
        </p:nvSpPr>
        <p:spPr>
          <a:xfrm>
            <a:off x="6196531" y="5481983"/>
            <a:ext cx="2143125" cy="55245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b="1" dirty="0">
                <a:solidFill>
                  <a:schemeClr val="bg1"/>
                </a:solidFill>
              </a:rPr>
              <a:t>冻干及包装阶段</a:t>
            </a:r>
          </a:p>
        </p:txBody>
      </p:sp>
      <p:sp>
        <p:nvSpPr>
          <p:cNvPr id="370" name="流程图: 可选过程 369">
            <a:extLst>
              <a:ext uri="{FF2B5EF4-FFF2-40B4-BE49-F238E27FC236}">
                <a16:creationId xmlns:a16="http://schemas.microsoft.com/office/drawing/2014/main" id="{0D0D1023-7246-4AED-9FA4-EC9C45AA8136}"/>
              </a:ext>
            </a:extLst>
          </p:cNvPr>
          <p:cNvSpPr/>
          <p:nvPr/>
        </p:nvSpPr>
        <p:spPr>
          <a:xfrm>
            <a:off x="8185668" y="5475633"/>
            <a:ext cx="2143125" cy="557212"/>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b="1" dirty="0">
                <a:solidFill>
                  <a:schemeClr val="bg1"/>
                </a:solidFill>
              </a:rPr>
              <a:t>立体仓储</a:t>
            </a:r>
          </a:p>
        </p:txBody>
      </p:sp>
    </p:spTree>
    <p:extLst>
      <p:ext uri="{BB962C8B-B14F-4D97-AF65-F5344CB8AC3E}">
        <p14:creationId xmlns:p14="http://schemas.microsoft.com/office/powerpoint/2010/main" val="1359255594"/>
      </p:ext>
    </p:extLst>
  </p:cSld>
  <p:clrMapOvr>
    <a:masterClrMapping/>
  </p:clrMapOvr>
  <p:transition spd="slow">
    <p:wip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7" y="114300"/>
            <a:ext cx="6533999"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zh-CN" altLang="en-US" sz="3300" b="1" dirty="0">
                <a:solidFill>
                  <a:srgbClr val="0070C0"/>
                </a:solidFill>
                <a:latin typeface="+mj-ea"/>
                <a:ea typeface="+mj-ea"/>
              </a:rPr>
              <a:t>安瓿水针数字化车间系统方案</a:t>
            </a:r>
          </a:p>
        </p:txBody>
      </p:sp>
      <p:sp>
        <p:nvSpPr>
          <p:cNvPr id="21" name="AutoShape 1027">
            <a:hlinkClick r:id="rId3" action="ppaction://hlinksldjump" highlightClick="1"/>
            <a:extLst>
              <a:ext uri="{FF2B5EF4-FFF2-40B4-BE49-F238E27FC236}">
                <a16:creationId xmlns:a16="http://schemas.microsoft.com/office/drawing/2014/main" id="{0A3D2184-4B8B-4D4E-A6CC-363FAC7015D9}"/>
              </a:ext>
            </a:extLst>
          </p:cNvPr>
          <p:cNvSpPr>
            <a:spLocks noChangeArrowheads="1"/>
          </p:cNvSpPr>
          <p:nvPr/>
        </p:nvSpPr>
        <p:spPr bwMode="auto">
          <a:xfrm>
            <a:off x="1969812" y="691045"/>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2" name="AutoShape 1036">
            <a:hlinkClick r:id="rId3" action="ppaction://hlinksldjump" highlightClick="1"/>
            <a:extLst>
              <a:ext uri="{FF2B5EF4-FFF2-40B4-BE49-F238E27FC236}">
                <a16:creationId xmlns:a16="http://schemas.microsoft.com/office/drawing/2014/main" id="{A3D8E68E-993B-4AA1-9057-0BF98253ED7C}"/>
              </a:ext>
            </a:extLst>
          </p:cNvPr>
          <p:cNvSpPr>
            <a:spLocks noChangeArrowheads="1"/>
          </p:cNvSpPr>
          <p:nvPr/>
        </p:nvSpPr>
        <p:spPr bwMode="auto">
          <a:xfrm>
            <a:off x="5779812" y="691045"/>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grpSp>
        <p:nvGrpSpPr>
          <p:cNvPr id="7" name="组合 6">
            <a:extLst>
              <a:ext uri="{FF2B5EF4-FFF2-40B4-BE49-F238E27FC236}">
                <a16:creationId xmlns:a16="http://schemas.microsoft.com/office/drawing/2014/main" id="{33A844C1-C98A-49AE-A040-17AF67FC2032}"/>
              </a:ext>
            </a:extLst>
          </p:cNvPr>
          <p:cNvGrpSpPr/>
          <p:nvPr/>
        </p:nvGrpSpPr>
        <p:grpSpPr>
          <a:xfrm>
            <a:off x="652195" y="955745"/>
            <a:ext cx="10864714" cy="5404264"/>
            <a:chOff x="652195" y="804594"/>
            <a:chExt cx="10864714" cy="5555415"/>
          </a:xfrm>
        </p:grpSpPr>
        <p:pic>
          <p:nvPicPr>
            <p:cNvPr id="8" name="图片 7">
              <a:extLst>
                <a:ext uri="{FF2B5EF4-FFF2-40B4-BE49-F238E27FC236}">
                  <a16:creationId xmlns:a16="http://schemas.microsoft.com/office/drawing/2014/main" id="{D5F5984B-2596-468D-BE1D-0C9A56D5F9C8}"/>
                </a:ext>
              </a:extLst>
            </p:cNvPr>
            <p:cNvPicPr>
              <a:picLocks noChangeAspect="1"/>
            </p:cNvPicPr>
            <p:nvPr/>
          </p:nvPicPr>
          <p:blipFill>
            <a:blip r:embed="rId4"/>
            <a:stretch>
              <a:fillRect/>
            </a:stretch>
          </p:blipFill>
          <p:spPr>
            <a:xfrm>
              <a:off x="652195" y="804594"/>
              <a:ext cx="10864714" cy="5555415"/>
            </a:xfrm>
            <a:prstGeom prst="rect">
              <a:avLst/>
            </a:prstGeom>
          </p:spPr>
        </p:pic>
        <p:sp>
          <p:nvSpPr>
            <p:cNvPr id="9" name="文本框 8">
              <a:extLst>
                <a:ext uri="{FF2B5EF4-FFF2-40B4-BE49-F238E27FC236}">
                  <a16:creationId xmlns:a16="http://schemas.microsoft.com/office/drawing/2014/main" id="{24687396-8095-4EF2-A72E-DE75B222F6E7}"/>
                </a:ext>
              </a:extLst>
            </p:cNvPr>
            <p:cNvSpPr txBox="1"/>
            <p:nvPr/>
          </p:nvSpPr>
          <p:spPr>
            <a:xfrm>
              <a:off x="10074275" y="5719125"/>
              <a:ext cx="993914" cy="307777"/>
            </a:xfrm>
            <a:prstGeom prst="rect">
              <a:avLst/>
            </a:prstGeom>
            <a:noFill/>
          </p:spPr>
          <p:txBody>
            <a:bodyPr wrap="square" rtlCol="0">
              <a:spAutoFit/>
            </a:bodyPr>
            <a:lstStyle/>
            <a:p>
              <a:r>
                <a:rPr lang="zh-CN" altLang="en-US" sz="1400" dirty="0"/>
                <a:t>立体仓库</a:t>
              </a:r>
            </a:p>
          </p:txBody>
        </p:sp>
        <p:sp>
          <p:nvSpPr>
            <p:cNvPr id="10" name="矩形 9">
              <a:extLst>
                <a:ext uri="{FF2B5EF4-FFF2-40B4-BE49-F238E27FC236}">
                  <a16:creationId xmlns:a16="http://schemas.microsoft.com/office/drawing/2014/main" id="{CAB90A2E-BDCA-4C4B-B69D-54C332835B2E}"/>
                </a:ext>
              </a:extLst>
            </p:cNvPr>
            <p:cNvSpPr/>
            <p:nvPr/>
          </p:nvSpPr>
          <p:spPr>
            <a:xfrm>
              <a:off x="10765837" y="4116378"/>
              <a:ext cx="604703" cy="795130"/>
            </a:xfrm>
            <a:prstGeom prst="rect">
              <a:avLst/>
            </a:prstGeom>
            <a:solidFill>
              <a:schemeClr val="tx1">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r>
                <a:rPr lang="zh-CN" altLang="en-US" sz="1400" dirty="0">
                  <a:solidFill>
                    <a:schemeClr val="tx1"/>
                  </a:solidFill>
                  <a:latin typeface="黑体" panose="02010609060101010101" pitchFamily="49" charset="-122"/>
                  <a:ea typeface="黑体" panose="02010609060101010101" pitchFamily="49" charset="-122"/>
                </a:rPr>
                <a:t>生产</a:t>
              </a:r>
              <a:endParaRPr lang="en-US" altLang="zh-CN" sz="1400" dirty="0">
                <a:solidFill>
                  <a:schemeClr val="tx1"/>
                </a:solidFill>
                <a:latin typeface="黑体" panose="02010609060101010101" pitchFamily="49" charset="-122"/>
                <a:ea typeface="黑体" panose="02010609060101010101" pitchFamily="49" charset="-122"/>
              </a:endParaRPr>
            </a:p>
            <a:p>
              <a:pPr algn="dist"/>
              <a:r>
                <a:rPr lang="zh-CN" altLang="en-US" sz="1400" dirty="0">
                  <a:solidFill>
                    <a:schemeClr val="tx1"/>
                  </a:solidFill>
                  <a:latin typeface="黑体" panose="02010609060101010101" pitchFamily="49" charset="-122"/>
                  <a:ea typeface="黑体" panose="02010609060101010101" pitchFamily="49" charset="-122"/>
                </a:rPr>
                <a:t>智能</a:t>
              </a:r>
              <a:endParaRPr lang="en-US" altLang="zh-CN" sz="1400" dirty="0">
                <a:solidFill>
                  <a:schemeClr val="tx1"/>
                </a:solidFill>
                <a:latin typeface="黑体" panose="02010609060101010101" pitchFamily="49" charset="-122"/>
                <a:ea typeface="黑体" panose="02010609060101010101" pitchFamily="49" charset="-122"/>
              </a:endParaRPr>
            </a:p>
            <a:p>
              <a:pPr algn="dist"/>
              <a:r>
                <a:rPr lang="zh-CN" altLang="en-US" sz="1400" dirty="0">
                  <a:solidFill>
                    <a:schemeClr val="tx1"/>
                  </a:solidFill>
                  <a:latin typeface="黑体" panose="02010609060101010101" pitchFamily="49" charset="-122"/>
                  <a:ea typeface="黑体" panose="02010609060101010101" pitchFamily="49" charset="-122"/>
                </a:rPr>
                <a:t>调度</a:t>
              </a:r>
            </a:p>
          </p:txBody>
        </p:sp>
      </p:grpSp>
    </p:spTree>
    <p:extLst>
      <p:ext uri="{BB962C8B-B14F-4D97-AF65-F5344CB8AC3E}">
        <p14:creationId xmlns:p14="http://schemas.microsoft.com/office/powerpoint/2010/main" val="182421692"/>
      </p:ext>
    </p:extLst>
  </p:cSld>
  <p:clrMapOvr>
    <a:masterClrMapping/>
  </p:clrMapOvr>
  <p:transition spd="slow">
    <p:wip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7" y="114300"/>
            <a:ext cx="6189443"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zh-CN" altLang="en-US" sz="3300" b="1" dirty="0">
                <a:solidFill>
                  <a:srgbClr val="0070C0"/>
                </a:solidFill>
                <a:latin typeface="+mj-ea"/>
                <a:ea typeface="+mj-ea"/>
              </a:rPr>
              <a:t>口服液数字化车间系统方案</a:t>
            </a:r>
          </a:p>
        </p:txBody>
      </p:sp>
      <p:sp>
        <p:nvSpPr>
          <p:cNvPr id="21" name="AutoShape 1027">
            <a:hlinkClick r:id="rId3" action="ppaction://hlinksldjump" highlightClick="1"/>
            <a:extLst>
              <a:ext uri="{FF2B5EF4-FFF2-40B4-BE49-F238E27FC236}">
                <a16:creationId xmlns:a16="http://schemas.microsoft.com/office/drawing/2014/main" id="{0A3D2184-4B8B-4D4E-A6CC-363FAC7015D9}"/>
              </a:ext>
            </a:extLst>
          </p:cNvPr>
          <p:cNvSpPr>
            <a:spLocks noChangeArrowheads="1"/>
          </p:cNvSpPr>
          <p:nvPr/>
        </p:nvSpPr>
        <p:spPr bwMode="auto">
          <a:xfrm>
            <a:off x="1969812" y="691045"/>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2" name="AutoShape 1036">
            <a:hlinkClick r:id="rId3" action="ppaction://hlinksldjump" highlightClick="1"/>
            <a:extLst>
              <a:ext uri="{FF2B5EF4-FFF2-40B4-BE49-F238E27FC236}">
                <a16:creationId xmlns:a16="http://schemas.microsoft.com/office/drawing/2014/main" id="{A3D8E68E-993B-4AA1-9057-0BF98253ED7C}"/>
              </a:ext>
            </a:extLst>
          </p:cNvPr>
          <p:cNvSpPr>
            <a:spLocks noChangeArrowheads="1"/>
          </p:cNvSpPr>
          <p:nvPr/>
        </p:nvSpPr>
        <p:spPr bwMode="auto">
          <a:xfrm>
            <a:off x="5779812" y="691045"/>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pic>
        <p:nvPicPr>
          <p:cNvPr id="2" name="图片 1">
            <a:extLst>
              <a:ext uri="{FF2B5EF4-FFF2-40B4-BE49-F238E27FC236}">
                <a16:creationId xmlns:a16="http://schemas.microsoft.com/office/drawing/2014/main" id="{CB516BDD-47EF-4B8D-A07C-01C39602DEBF}"/>
              </a:ext>
            </a:extLst>
          </p:cNvPr>
          <p:cNvPicPr>
            <a:picLocks noChangeAspect="1"/>
          </p:cNvPicPr>
          <p:nvPr/>
        </p:nvPicPr>
        <p:blipFill>
          <a:blip r:embed="rId4"/>
          <a:stretch>
            <a:fillRect/>
          </a:stretch>
        </p:blipFill>
        <p:spPr>
          <a:xfrm>
            <a:off x="1846261" y="1032623"/>
            <a:ext cx="8736588" cy="5711077"/>
          </a:xfrm>
          <a:prstGeom prst="rect">
            <a:avLst/>
          </a:prstGeom>
        </p:spPr>
      </p:pic>
    </p:spTree>
    <p:extLst>
      <p:ext uri="{BB962C8B-B14F-4D97-AF65-F5344CB8AC3E}">
        <p14:creationId xmlns:p14="http://schemas.microsoft.com/office/powerpoint/2010/main" val="2399522196"/>
      </p:ext>
    </p:extLst>
  </p:cSld>
  <p:clrMapOvr>
    <a:masterClrMapping/>
  </p:clrMapOvr>
  <p:transition spd="slow">
    <p:wip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p:nvPr/>
        </p:nvSpPr>
        <p:spPr bwMode="auto">
          <a:xfrm>
            <a:off x="635427" y="114300"/>
            <a:ext cx="6424666"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zh-CN" altLang="en-US" sz="3300" b="1" dirty="0">
                <a:solidFill>
                  <a:srgbClr val="0070C0"/>
                </a:solidFill>
                <a:latin typeface="+mj-ea"/>
                <a:ea typeface="+mj-ea"/>
              </a:rPr>
              <a:t>依据工艺流程的数字化车间方案</a:t>
            </a:r>
          </a:p>
        </p:txBody>
      </p:sp>
      <p:sp>
        <p:nvSpPr>
          <p:cNvPr id="21" name="AutoShape 1027">
            <a:hlinkClick r:id="rId3" action="ppaction://hlinksldjump" highlightClick="1"/>
            <a:extLst>
              <a:ext uri="{FF2B5EF4-FFF2-40B4-BE49-F238E27FC236}">
                <a16:creationId xmlns:a16="http://schemas.microsoft.com/office/drawing/2014/main" id="{0A3D2184-4B8B-4D4E-A6CC-363FAC7015D9}"/>
              </a:ext>
            </a:extLst>
          </p:cNvPr>
          <p:cNvSpPr>
            <a:spLocks noChangeArrowheads="1"/>
          </p:cNvSpPr>
          <p:nvPr/>
        </p:nvSpPr>
        <p:spPr bwMode="auto">
          <a:xfrm>
            <a:off x="1969812" y="691045"/>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2" name="AutoShape 1036">
            <a:hlinkClick r:id="rId3" action="ppaction://hlinksldjump" highlightClick="1"/>
            <a:extLst>
              <a:ext uri="{FF2B5EF4-FFF2-40B4-BE49-F238E27FC236}">
                <a16:creationId xmlns:a16="http://schemas.microsoft.com/office/drawing/2014/main" id="{A3D8E68E-993B-4AA1-9057-0BF98253ED7C}"/>
              </a:ext>
            </a:extLst>
          </p:cNvPr>
          <p:cNvSpPr>
            <a:spLocks noChangeArrowheads="1"/>
          </p:cNvSpPr>
          <p:nvPr/>
        </p:nvSpPr>
        <p:spPr bwMode="auto">
          <a:xfrm>
            <a:off x="5779812" y="691045"/>
            <a:ext cx="1587" cy="1588"/>
          </a:xfrm>
          <a:prstGeom prst="actionButtonForwardNex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pic>
        <p:nvPicPr>
          <p:cNvPr id="5" name="图片 4">
            <a:extLst>
              <a:ext uri="{FF2B5EF4-FFF2-40B4-BE49-F238E27FC236}">
                <a16:creationId xmlns:a16="http://schemas.microsoft.com/office/drawing/2014/main" id="{F746B4D9-6742-404B-92DC-59D7AEF52AA6}"/>
              </a:ext>
            </a:extLst>
          </p:cNvPr>
          <p:cNvPicPr>
            <a:picLocks noChangeAspect="1"/>
          </p:cNvPicPr>
          <p:nvPr/>
        </p:nvPicPr>
        <p:blipFill>
          <a:blip r:embed="rId4"/>
          <a:stretch>
            <a:fillRect/>
          </a:stretch>
        </p:blipFill>
        <p:spPr>
          <a:xfrm>
            <a:off x="6869527" y="1082812"/>
            <a:ext cx="4922354" cy="3589935"/>
          </a:xfrm>
          <a:prstGeom prst="rect">
            <a:avLst/>
          </a:prstGeom>
        </p:spPr>
      </p:pic>
      <p:grpSp>
        <p:nvGrpSpPr>
          <p:cNvPr id="8" name="组合 57">
            <a:extLst>
              <a:ext uri="{FF2B5EF4-FFF2-40B4-BE49-F238E27FC236}">
                <a16:creationId xmlns:a16="http://schemas.microsoft.com/office/drawing/2014/main" id="{6EDC9F58-5508-4883-9537-927907128096}"/>
              </a:ext>
            </a:extLst>
          </p:cNvPr>
          <p:cNvGrpSpPr>
            <a:grpSpLocks/>
          </p:cNvGrpSpPr>
          <p:nvPr/>
        </p:nvGrpSpPr>
        <p:grpSpPr bwMode="auto">
          <a:xfrm>
            <a:off x="716198" y="4264989"/>
            <a:ext cx="10759604" cy="2341822"/>
            <a:chOff x="701668" y="3400331"/>
            <a:chExt cx="8420767" cy="2968396"/>
          </a:xfrm>
        </p:grpSpPr>
        <p:pic>
          <p:nvPicPr>
            <p:cNvPr id="9" name="图片 46">
              <a:extLst>
                <a:ext uri="{FF2B5EF4-FFF2-40B4-BE49-F238E27FC236}">
                  <a16:creationId xmlns:a16="http://schemas.microsoft.com/office/drawing/2014/main" id="{7F7D1AF0-DB77-44AC-9217-A9D6FA771FAF}"/>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01668" y="3514058"/>
              <a:ext cx="7572364" cy="2854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直接连接符 47">
              <a:extLst>
                <a:ext uri="{FF2B5EF4-FFF2-40B4-BE49-F238E27FC236}">
                  <a16:creationId xmlns:a16="http://schemas.microsoft.com/office/drawing/2014/main" id="{3A7F6C70-39DC-41A4-B9B5-87BD77B7C869}"/>
                </a:ext>
              </a:extLst>
            </p:cNvPr>
            <p:cNvCxnSpPr>
              <a:cxnSpLocks noChangeShapeType="1"/>
            </p:cNvCxnSpPr>
            <p:nvPr/>
          </p:nvCxnSpPr>
          <p:spPr bwMode="auto">
            <a:xfrm flipV="1">
              <a:off x="6952462" y="5409577"/>
              <a:ext cx="1197864" cy="13532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11" name="矩形 10">
              <a:extLst>
                <a:ext uri="{FF2B5EF4-FFF2-40B4-BE49-F238E27FC236}">
                  <a16:creationId xmlns:a16="http://schemas.microsoft.com/office/drawing/2014/main" id="{A84AEDDC-5F77-4D45-B026-E7BA97EAF707}"/>
                </a:ext>
              </a:extLst>
            </p:cNvPr>
            <p:cNvSpPr/>
            <p:nvPr/>
          </p:nvSpPr>
          <p:spPr bwMode="auto">
            <a:xfrm>
              <a:off x="7941788" y="5236018"/>
              <a:ext cx="936104" cy="360040"/>
            </a:xfrm>
            <a:prstGeom prst="rect">
              <a:avLst/>
            </a:prstGeom>
            <a:noFill/>
            <a:ln w="9525" cap="flat" cmpd="sng" algn="ctr">
              <a:noFill/>
              <a:prstDash val="solid"/>
              <a:round/>
              <a:headEnd type="none" w="med" len="med"/>
              <a:tailEnd type="none" w="med" len="med"/>
            </a:ln>
            <a:effectLst/>
          </p:spPr>
          <p:txBody>
            <a:bodyPr/>
            <a:lstStyle/>
            <a:p>
              <a:pPr eaLnBrk="1" hangingPunct="1">
                <a:defRPr/>
              </a:pPr>
              <a:r>
                <a:rPr lang="zh-CN" altLang="en-US" b="1" dirty="0">
                  <a:ln w="12700">
                    <a:solidFill>
                      <a:schemeClr val="tx2">
                        <a:lumMod val="75000"/>
                      </a:schemeClr>
                    </a:solidFill>
                    <a:prstDash val="solid"/>
                  </a:ln>
                  <a:solidFill>
                    <a:srgbClr val="003399"/>
                  </a:solidFill>
                  <a:effectLst>
                    <a:outerShdw dist="38100" dir="2640000" algn="bl" rotWithShape="0">
                      <a:schemeClr val="tx2">
                        <a:lumMod val="75000"/>
                      </a:schemeClr>
                    </a:outerShdw>
                  </a:effectLst>
                  <a:latin typeface="微软雅黑" pitchFamily="34" charset="-122"/>
                  <a:ea typeface="微软雅黑" pitchFamily="34" charset="-122"/>
                </a:rPr>
                <a:t>设备层</a:t>
              </a:r>
            </a:p>
          </p:txBody>
        </p:sp>
        <p:cxnSp>
          <p:nvCxnSpPr>
            <p:cNvPr id="12" name="直接连接符 50">
              <a:extLst>
                <a:ext uri="{FF2B5EF4-FFF2-40B4-BE49-F238E27FC236}">
                  <a16:creationId xmlns:a16="http://schemas.microsoft.com/office/drawing/2014/main" id="{A0979DC1-8C69-4675-8D14-7CDA2B9AD5D1}"/>
                </a:ext>
              </a:extLst>
            </p:cNvPr>
            <p:cNvCxnSpPr>
              <a:cxnSpLocks noChangeShapeType="1"/>
            </p:cNvCxnSpPr>
            <p:nvPr/>
          </p:nvCxnSpPr>
          <p:spPr bwMode="auto">
            <a:xfrm>
              <a:off x="5666578" y="4501364"/>
              <a:ext cx="1571636" cy="1588"/>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3" name="直接连接符 51">
              <a:extLst>
                <a:ext uri="{FF2B5EF4-FFF2-40B4-BE49-F238E27FC236}">
                  <a16:creationId xmlns:a16="http://schemas.microsoft.com/office/drawing/2014/main" id="{15DE9579-715C-4DDA-8060-531122915D5B}"/>
                </a:ext>
              </a:extLst>
            </p:cNvPr>
            <p:cNvCxnSpPr>
              <a:cxnSpLocks noChangeShapeType="1"/>
            </p:cNvCxnSpPr>
            <p:nvPr/>
          </p:nvCxnSpPr>
          <p:spPr bwMode="auto">
            <a:xfrm flipV="1">
              <a:off x="3833936" y="3714694"/>
              <a:ext cx="1071570" cy="22342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14" name="矩形 13">
              <a:extLst>
                <a:ext uri="{FF2B5EF4-FFF2-40B4-BE49-F238E27FC236}">
                  <a16:creationId xmlns:a16="http://schemas.microsoft.com/office/drawing/2014/main" id="{1978494C-B020-49C5-A57C-CA7B5EADDC79}"/>
                </a:ext>
              </a:extLst>
            </p:cNvPr>
            <p:cNvSpPr/>
            <p:nvPr/>
          </p:nvSpPr>
          <p:spPr bwMode="auto">
            <a:xfrm>
              <a:off x="7178219" y="4245508"/>
              <a:ext cx="1944216" cy="360040"/>
            </a:xfrm>
            <a:prstGeom prst="rect">
              <a:avLst/>
            </a:prstGeom>
            <a:noFill/>
            <a:ln w="9525" cap="flat" cmpd="sng" algn="ctr">
              <a:noFill/>
              <a:prstDash val="solid"/>
              <a:round/>
              <a:headEnd type="none" w="med" len="med"/>
              <a:tailEnd type="none" w="med" len="med"/>
            </a:ln>
            <a:effectLst/>
          </p:spPr>
          <p:txBody>
            <a:bodyPr/>
            <a:lstStyle/>
            <a:p>
              <a:pPr eaLnBrk="1" hangingPunct="1">
                <a:defRPr/>
              </a:pPr>
              <a:r>
                <a:rPr lang="zh-CN" altLang="en-US" dirty="0">
                  <a:ln w="6600">
                    <a:solidFill>
                      <a:schemeClr val="accent2"/>
                    </a:solidFill>
                    <a:prstDash val="solid"/>
                  </a:ln>
                  <a:solidFill>
                    <a:srgbClr val="FF0000"/>
                  </a:solidFill>
                  <a:effectLst>
                    <a:outerShdw dist="38100" dir="2700000" algn="tl" rotWithShape="0">
                      <a:schemeClr val="accent2"/>
                    </a:outerShdw>
                  </a:effectLst>
                  <a:latin typeface="Arial" charset="0"/>
                  <a:ea typeface="宋体" charset="-122"/>
                </a:rPr>
                <a:t>监控层：</a:t>
              </a:r>
              <a:r>
                <a:rPr lang="en-US" altLang="zh-CN" dirty="0">
                  <a:ln w="6600">
                    <a:solidFill>
                      <a:schemeClr val="accent2"/>
                    </a:solidFill>
                    <a:prstDash val="solid"/>
                  </a:ln>
                  <a:solidFill>
                    <a:srgbClr val="00FFFF"/>
                  </a:solidFill>
                  <a:effectLst>
                    <a:outerShdw dist="38100" dir="2700000" algn="tl" rotWithShape="0">
                      <a:schemeClr val="accent2"/>
                    </a:outerShdw>
                  </a:effectLst>
                  <a:latin typeface="Arial" charset="0"/>
                  <a:ea typeface="宋体" charset="-122"/>
                </a:rPr>
                <a:t>SCADA</a:t>
              </a:r>
              <a:endParaRPr lang="zh-CN" altLang="en-US" dirty="0">
                <a:ln w="6600">
                  <a:solidFill>
                    <a:schemeClr val="accent2"/>
                  </a:solidFill>
                  <a:prstDash val="solid"/>
                </a:ln>
                <a:solidFill>
                  <a:srgbClr val="00FFFF"/>
                </a:solidFill>
                <a:effectLst>
                  <a:outerShdw dist="38100" dir="2700000" algn="tl" rotWithShape="0">
                    <a:schemeClr val="accent2"/>
                  </a:outerShdw>
                </a:effectLst>
                <a:latin typeface="Arial" charset="0"/>
                <a:ea typeface="宋体" charset="-122"/>
              </a:endParaRPr>
            </a:p>
          </p:txBody>
        </p:sp>
        <p:sp>
          <p:nvSpPr>
            <p:cNvPr id="15" name="矩形 14">
              <a:extLst>
                <a:ext uri="{FF2B5EF4-FFF2-40B4-BE49-F238E27FC236}">
                  <a16:creationId xmlns:a16="http://schemas.microsoft.com/office/drawing/2014/main" id="{C7D2AE81-E77F-4FA7-951D-438FE7C914D6}"/>
                </a:ext>
              </a:extLst>
            </p:cNvPr>
            <p:cNvSpPr/>
            <p:nvPr/>
          </p:nvSpPr>
          <p:spPr bwMode="auto">
            <a:xfrm>
              <a:off x="4981250" y="3400331"/>
              <a:ext cx="3564396" cy="360040"/>
            </a:xfrm>
            <a:prstGeom prst="rect">
              <a:avLst/>
            </a:prstGeom>
            <a:noFill/>
            <a:ln w="9525" cap="flat" cmpd="sng" algn="ctr">
              <a:noFill/>
              <a:prstDash val="solid"/>
              <a:round/>
              <a:headEnd type="none" w="med" len="med"/>
              <a:tailEnd type="none" w="med" len="med"/>
            </a:ln>
            <a:effectLst/>
          </p:spPr>
          <p:txBody>
            <a:bodyPr/>
            <a:lstStyle/>
            <a:p>
              <a:pPr eaLnBrk="1" hangingPunct="1">
                <a:defRPr/>
              </a:pPr>
              <a:r>
                <a:rPr lang="zh-CN" altLang="en-US" b="1" dirty="0">
                  <a:ln w="12700">
                    <a:solidFill>
                      <a:schemeClr val="tx2">
                        <a:lumMod val="75000"/>
                      </a:schemeClr>
                    </a:solidFill>
                    <a:prstDash val="solid"/>
                  </a:ln>
                  <a:solidFill>
                    <a:srgbClr val="0066FF"/>
                  </a:solidFill>
                  <a:effectLst>
                    <a:outerShdw dist="38100" dir="2640000" algn="bl" rotWithShape="0">
                      <a:schemeClr val="tx2">
                        <a:lumMod val="75000"/>
                      </a:schemeClr>
                    </a:outerShdw>
                  </a:effectLst>
                  <a:latin typeface="微软雅黑" pitchFamily="34" charset="-122"/>
                  <a:ea typeface="微软雅黑" pitchFamily="34" charset="-122"/>
                </a:rPr>
                <a:t>管理层：</a:t>
              </a:r>
              <a:r>
                <a:rPr lang="en-US" altLang="zh-CN" b="1" dirty="0">
                  <a:ln w="12700">
                    <a:solidFill>
                      <a:schemeClr val="tx2">
                        <a:lumMod val="75000"/>
                      </a:schemeClr>
                    </a:solidFill>
                    <a:prstDash val="solid"/>
                  </a:ln>
                  <a:solidFill>
                    <a:srgbClr val="0066FF"/>
                  </a:solidFill>
                  <a:effectLst>
                    <a:outerShdw dist="38100" dir="2640000" algn="bl" rotWithShape="0">
                      <a:schemeClr val="tx2">
                        <a:lumMod val="75000"/>
                      </a:schemeClr>
                    </a:outerShdw>
                  </a:effectLst>
                  <a:latin typeface="微软雅黑" pitchFamily="34" charset="-122"/>
                  <a:ea typeface="微软雅黑" pitchFamily="34" charset="-122"/>
                </a:rPr>
                <a:t>MES</a:t>
              </a:r>
              <a:r>
                <a:rPr lang="zh-CN" altLang="en-US" b="1" dirty="0">
                  <a:ln w="12700">
                    <a:solidFill>
                      <a:schemeClr val="tx2">
                        <a:lumMod val="75000"/>
                      </a:schemeClr>
                    </a:solidFill>
                    <a:prstDash val="solid"/>
                  </a:ln>
                  <a:solidFill>
                    <a:srgbClr val="0066FF"/>
                  </a:solidFill>
                  <a:effectLst>
                    <a:outerShdw dist="38100" dir="2640000" algn="bl" rotWithShape="0">
                      <a:schemeClr val="tx2">
                        <a:lumMod val="75000"/>
                      </a:schemeClr>
                    </a:outerShdw>
                  </a:effectLst>
                  <a:latin typeface="微软雅黑" pitchFamily="34" charset="-122"/>
                  <a:ea typeface="微软雅黑" pitchFamily="34" charset="-122"/>
                </a:rPr>
                <a:t>（生产执行系统）</a:t>
              </a:r>
            </a:p>
          </p:txBody>
        </p:sp>
      </p:grpSp>
      <p:pic>
        <p:nvPicPr>
          <p:cNvPr id="7" name="图片 6">
            <a:extLst>
              <a:ext uri="{FF2B5EF4-FFF2-40B4-BE49-F238E27FC236}">
                <a16:creationId xmlns:a16="http://schemas.microsoft.com/office/drawing/2014/main" id="{AF0A0311-3FB6-46A9-A9FF-D5CF31DF2B05}"/>
              </a:ext>
            </a:extLst>
          </p:cNvPr>
          <p:cNvPicPr>
            <a:picLocks noChangeAspect="1"/>
          </p:cNvPicPr>
          <p:nvPr/>
        </p:nvPicPr>
        <p:blipFill>
          <a:blip r:embed="rId6"/>
          <a:stretch>
            <a:fillRect/>
          </a:stretch>
        </p:blipFill>
        <p:spPr>
          <a:xfrm>
            <a:off x="493860" y="1053931"/>
            <a:ext cx="5602140" cy="2995327"/>
          </a:xfrm>
          <a:prstGeom prst="rect">
            <a:avLst/>
          </a:prstGeom>
        </p:spPr>
      </p:pic>
    </p:spTree>
    <p:extLst>
      <p:ext uri="{BB962C8B-B14F-4D97-AF65-F5344CB8AC3E}">
        <p14:creationId xmlns:p14="http://schemas.microsoft.com/office/powerpoint/2010/main" val="3872468272"/>
      </p:ext>
    </p:extLst>
  </p:cSld>
  <p:clrMapOvr>
    <a:masterClrMapping/>
  </p:clrMapOvr>
  <p:transition spd="slow">
    <p:wip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450" name="图片 418"/>
          <p:cNvPicPr>
            <a:picLocks noChangeAspect="1"/>
          </p:cNvPicPr>
          <p:nvPr/>
        </p:nvPicPr>
        <p:blipFill>
          <a:blip r:embed="rId3"/>
          <a:srcRect t="27686" r="5621"/>
          <a:stretch>
            <a:fillRect/>
          </a:stretch>
        </p:blipFill>
        <p:spPr bwMode="auto">
          <a:xfrm>
            <a:off x="765175" y="-9525"/>
            <a:ext cx="10839450" cy="4959350"/>
          </a:xfrm>
          <a:prstGeom prst="rect">
            <a:avLst/>
          </a:prstGeom>
          <a:noFill/>
          <a:ln w="9525">
            <a:noFill/>
            <a:miter lim="800000"/>
            <a:headEnd/>
            <a:tailEnd/>
          </a:ln>
        </p:spPr>
      </p:pic>
      <p:sp>
        <p:nvSpPr>
          <p:cNvPr id="417" name="任意多边形: 形状 416">
            <a:extLst/>
          </p:cNvPr>
          <p:cNvSpPr/>
          <p:nvPr/>
        </p:nvSpPr>
        <p:spPr>
          <a:xfrm>
            <a:off x="0" y="5068888"/>
            <a:ext cx="1789113" cy="1789112"/>
          </a:xfrm>
          <a:custGeom>
            <a:avLst/>
            <a:gdLst>
              <a:gd name="connsiteX0" fmla="*/ 0 w 1789793"/>
              <a:gd name="connsiteY0" fmla="*/ 0 h 1789793"/>
              <a:gd name="connsiteX1" fmla="*/ 1789793 w 1789793"/>
              <a:gd name="connsiteY1" fmla="*/ 1789793 h 1789793"/>
              <a:gd name="connsiteX2" fmla="*/ 0 w 1789793"/>
              <a:gd name="connsiteY2" fmla="*/ 1789793 h 1789793"/>
            </a:gdLst>
            <a:ahLst/>
            <a:cxnLst>
              <a:cxn ang="0">
                <a:pos x="connsiteX0" y="connsiteY0"/>
              </a:cxn>
              <a:cxn ang="0">
                <a:pos x="connsiteX1" y="connsiteY1"/>
              </a:cxn>
              <a:cxn ang="0">
                <a:pos x="connsiteX2" y="connsiteY2"/>
              </a:cxn>
            </a:cxnLst>
            <a:rect l="l" t="t" r="r" b="b"/>
            <a:pathLst>
              <a:path w="1789793" h="1789793">
                <a:moveTo>
                  <a:pt x="0" y="0"/>
                </a:moveTo>
                <a:lnTo>
                  <a:pt x="1789793" y="1789793"/>
                </a:lnTo>
                <a:lnTo>
                  <a:pt x="0" y="1789793"/>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5" name="矩形 14"/>
          <p:cNvSpPr/>
          <p:nvPr/>
        </p:nvSpPr>
        <p:spPr>
          <a:xfrm>
            <a:off x="523875" y="1368425"/>
            <a:ext cx="3070225" cy="960438"/>
          </a:xfrm>
          <a:prstGeom prst="rect">
            <a:avLst/>
          </a:prstGeom>
        </p:spPr>
        <p:txBody>
          <a:bodyPr wrap="none">
            <a:spAutoFit/>
          </a:bodyPr>
          <a:lstStyle/>
          <a:p>
            <a:pPr fontAlgn="auto">
              <a:lnSpc>
                <a:spcPct val="114000"/>
              </a:lnSpc>
              <a:spcBef>
                <a:spcPts val="0"/>
              </a:spcBef>
              <a:spcAft>
                <a:spcPts val="0"/>
              </a:spcAft>
              <a:defRPr/>
            </a:pPr>
            <a:r>
              <a:rPr lang="en-US" altLang="zh-CN" sz="5400" b="1" dirty="0">
                <a:solidFill>
                  <a:schemeClr val="tx2">
                    <a:lumMod val="60000"/>
                    <a:lumOff val="40000"/>
                  </a:schemeClr>
                </a:solidFill>
                <a:ea typeface="微软雅黑" pitchFamily="34" charset="-122"/>
              </a:rPr>
              <a:t>THANKS</a:t>
            </a:r>
          </a:p>
        </p:txBody>
      </p:sp>
      <p:sp>
        <p:nvSpPr>
          <p:cNvPr id="16" name="矩形 15"/>
          <p:cNvSpPr/>
          <p:nvPr/>
        </p:nvSpPr>
        <p:spPr>
          <a:xfrm>
            <a:off x="524046" y="2653804"/>
            <a:ext cx="3877985" cy="830997"/>
          </a:xfrm>
          <a:prstGeom prst="rect">
            <a:avLst/>
          </a:prstGeom>
        </p:spPr>
        <p:txBody>
          <a:bodyPr wrap="none">
            <a:spAutoFit/>
          </a:bodyPr>
          <a:lstStyle/>
          <a:p>
            <a:pPr fontAlgn="auto">
              <a:spcBef>
                <a:spcPts val="0"/>
              </a:spcBef>
              <a:spcAft>
                <a:spcPts val="0"/>
              </a:spcAft>
              <a:defRPr/>
            </a:pPr>
            <a:r>
              <a:rPr lang="zh-CN" altLang="en-US" sz="4800" b="1" dirty="0">
                <a:solidFill>
                  <a:schemeClr val="tx2">
                    <a:lumMod val="60000"/>
                    <a:lumOff val="40000"/>
                  </a:schemeClr>
                </a:solidFill>
                <a:effectLst>
                  <a:reflection blurRad="6350" stA="31000" endPos="50000" dist="76200" dir="5400000" sy="-100000" algn="bl" rotWithShape="0"/>
                </a:effectLst>
                <a:latin typeface="微软雅黑" panose="020B0503020204020204" pitchFamily="34" charset="-122"/>
                <a:ea typeface="微软雅黑" pitchFamily="34" charset="-122"/>
              </a:rPr>
              <a:t>感谢您的参与</a:t>
            </a:r>
          </a:p>
        </p:txBody>
      </p:sp>
      <p:sp>
        <p:nvSpPr>
          <p:cNvPr id="17" name="矩形 16"/>
          <p:cNvSpPr/>
          <p:nvPr/>
        </p:nvSpPr>
        <p:spPr>
          <a:xfrm>
            <a:off x="523875" y="3505200"/>
            <a:ext cx="3759200" cy="384175"/>
          </a:xfrm>
          <a:prstGeom prst="rect">
            <a:avLst/>
          </a:prstGeom>
        </p:spPr>
        <p:txBody>
          <a:bodyPr wrap="none">
            <a:spAutoFit/>
          </a:bodyPr>
          <a:lstStyle/>
          <a:p>
            <a:pPr fontAlgn="auto">
              <a:lnSpc>
                <a:spcPct val="114000"/>
              </a:lnSpc>
              <a:spcBef>
                <a:spcPts val="0"/>
              </a:spcBef>
              <a:spcAft>
                <a:spcPts val="0"/>
              </a:spcAft>
              <a:defRPr/>
            </a:pPr>
            <a:r>
              <a:rPr lang="en-US" altLang="zh-CN" dirty="0">
                <a:solidFill>
                  <a:schemeClr val="bg1">
                    <a:lumMod val="50000"/>
                  </a:schemeClr>
                </a:solidFill>
                <a:latin typeface="+mj-ea"/>
                <a:ea typeface="微软雅黑" pitchFamily="34" charset="-122"/>
              </a:rPr>
              <a:t>Thank you for your participation</a:t>
            </a:r>
          </a:p>
        </p:txBody>
      </p:sp>
      <p:pic>
        <p:nvPicPr>
          <p:cNvPr id="104455" name="图片占位符 2"/>
          <p:cNvPicPr>
            <a:picLocks noGrp="1" noChangeAspect="1"/>
          </p:cNvPicPr>
          <p:nvPr>
            <p:ph type="pic" sz="quarter" idx="10"/>
          </p:nvPr>
        </p:nvPicPr>
        <p:blipFill>
          <a:blip r:embed="rId4"/>
          <a:srcRect/>
          <a:stretch>
            <a:fillRect/>
          </a:stretch>
        </p:blipFill>
        <p:spPr bwMode="auto">
          <a:xfrm>
            <a:off x="4094163" y="-7938"/>
            <a:ext cx="8110537" cy="6865938"/>
          </a:xfrm>
          <a:prstGeom prst="rect">
            <a:avLst/>
          </a:prstGeom>
          <a:noFill/>
          <a:ln>
            <a:miter lim="800000"/>
            <a:headEnd/>
            <a:tailEnd/>
          </a:ln>
        </p:spPr>
      </p:pic>
      <p:pic>
        <p:nvPicPr>
          <p:cNvPr id="104456" name="图片 18"/>
          <p:cNvPicPr>
            <a:picLocks noChangeAspect="1"/>
          </p:cNvPicPr>
          <p:nvPr/>
        </p:nvPicPr>
        <p:blipFill>
          <a:blip r:embed="rId5"/>
          <a:srcRect r="43582"/>
          <a:stretch>
            <a:fillRect/>
          </a:stretch>
        </p:blipFill>
        <p:spPr bwMode="auto">
          <a:xfrm>
            <a:off x="5726113" y="-4763"/>
            <a:ext cx="6478587" cy="6858001"/>
          </a:xfrm>
          <a:prstGeom prst="rect">
            <a:avLst/>
          </a:prstGeom>
          <a:noFill/>
          <a:ln w="9525">
            <a:noFill/>
            <a:miter lim="800000"/>
            <a:headEnd/>
            <a:tailEnd/>
          </a:ln>
        </p:spPr>
      </p:pic>
      <p:sp>
        <p:nvSpPr>
          <p:cNvPr id="20" name="任意多边形: 形状 412">
            <a:extLst/>
          </p:cNvPr>
          <p:cNvSpPr/>
          <p:nvPr/>
        </p:nvSpPr>
        <p:spPr>
          <a:xfrm>
            <a:off x="3260725" y="-7938"/>
            <a:ext cx="4949825" cy="2492376"/>
          </a:xfrm>
          <a:custGeom>
            <a:avLst/>
            <a:gdLst>
              <a:gd name="connsiteX0" fmla="*/ 17770 w 4949371"/>
              <a:gd name="connsiteY0" fmla="*/ 0 h 2492455"/>
              <a:gd name="connsiteX1" fmla="*/ 4931601 w 4949371"/>
              <a:gd name="connsiteY1" fmla="*/ 0 h 2492455"/>
              <a:gd name="connsiteX2" fmla="*/ 4949371 w 4949371"/>
              <a:gd name="connsiteY2" fmla="*/ 17770 h 2492455"/>
              <a:gd name="connsiteX3" fmla="*/ 2474686 w 4949371"/>
              <a:gd name="connsiteY3" fmla="*/ 2492455 h 2492455"/>
              <a:gd name="connsiteX4" fmla="*/ 0 w 4949371"/>
              <a:gd name="connsiteY4" fmla="*/ 17770 h 2492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9371" h="2492455">
                <a:moveTo>
                  <a:pt x="17770" y="0"/>
                </a:moveTo>
                <a:lnTo>
                  <a:pt x="4931601" y="0"/>
                </a:lnTo>
                <a:lnTo>
                  <a:pt x="4949371" y="17770"/>
                </a:lnTo>
                <a:lnTo>
                  <a:pt x="2474686" y="2492455"/>
                </a:lnTo>
                <a:lnTo>
                  <a:pt x="0" y="17770"/>
                </a:lnTo>
                <a:close/>
              </a:path>
            </a:pathLst>
          </a:cu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zh-CN" altLang="en-US"/>
          </a:p>
        </p:txBody>
      </p:sp>
      <p:sp>
        <p:nvSpPr>
          <p:cNvPr id="21" name="菱形 20">
            <a:extLst/>
          </p:cNvPr>
          <p:cNvSpPr/>
          <p:nvPr/>
        </p:nvSpPr>
        <p:spPr>
          <a:xfrm>
            <a:off x="5737225" y="9525"/>
            <a:ext cx="4938713" cy="4937125"/>
          </a:xfrm>
          <a:prstGeom prst="diamond">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zh-CN" altLang="en-US"/>
          </a:p>
        </p:txBody>
      </p:sp>
      <p:sp>
        <p:nvSpPr>
          <p:cNvPr id="22" name="任意多边形: 形状 414">
            <a:extLst/>
          </p:cNvPr>
          <p:cNvSpPr/>
          <p:nvPr/>
        </p:nvSpPr>
        <p:spPr>
          <a:xfrm>
            <a:off x="8210550" y="2482850"/>
            <a:ext cx="3994150" cy="4375150"/>
          </a:xfrm>
          <a:custGeom>
            <a:avLst/>
            <a:gdLst>
              <a:gd name="connsiteX0" fmla="*/ 2474686 w 4014726"/>
              <a:gd name="connsiteY0" fmla="*/ 0 h 4397467"/>
              <a:gd name="connsiteX1" fmla="*/ 4014726 w 4014726"/>
              <a:gd name="connsiteY1" fmla="*/ 1540041 h 4397467"/>
              <a:gd name="connsiteX2" fmla="*/ 4014726 w 4014726"/>
              <a:gd name="connsiteY2" fmla="*/ 3409331 h 4397467"/>
              <a:gd name="connsiteX3" fmla="*/ 3026590 w 4014726"/>
              <a:gd name="connsiteY3" fmla="*/ 4397467 h 4397467"/>
              <a:gd name="connsiteX4" fmla="*/ 1922782 w 4014726"/>
              <a:gd name="connsiteY4" fmla="*/ 4397467 h 4397467"/>
              <a:gd name="connsiteX5" fmla="*/ 0 w 4014726"/>
              <a:gd name="connsiteY5" fmla="*/ 2474686 h 439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4726" h="4397467">
                <a:moveTo>
                  <a:pt x="2474686" y="0"/>
                </a:moveTo>
                <a:lnTo>
                  <a:pt x="4014726" y="1540041"/>
                </a:lnTo>
                <a:lnTo>
                  <a:pt x="4014726" y="3409331"/>
                </a:lnTo>
                <a:lnTo>
                  <a:pt x="3026590" y="4397467"/>
                </a:lnTo>
                <a:lnTo>
                  <a:pt x="1922782" y="4397467"/>
                </a:lnTo>
                <a:lnTo>
                  <a:pt x="0" y="2474686"/>
                </a:lnTo>
                <a:close/>
              </a:path>
            </a:pathLst>
          </a:cu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zh-CN" altLang="en-US"/>
          </a:p>
        </p:txBody>
      </p:sp>
      <p:sp>
        <p:nvSpPr>
          <p:cNvPr id="23" name="任意多边形: 形状 410">
            <a:extLst/>
          </p:cNvPr>
          <p:cNvSpPr/>
          <p:nvPr/>
        </p:nvSpPr>
        <p:spPr>
          <a:xfrm>
            <a:off x="10664825" y="930275"/>
            <a:ext cx="1539875" cy="3079750"/>
          </a:xfrm>
          <a:custGeom>
            <a:avLst/>
            <a:gdLst>
              <a:gd name="connsiteX0" fmla="*/ 1540086 w 1540086"/>
              <a:gd name="connsiteY0" fmla="*/ 0 h 3080171"/>
              <a:gd name="connsiteX1" fmla="*/ 1540086 w 1540086"/>
              <a:gd name="connsiteY1" fmla="*/ 3080171 h 3080171"/>
              <a:gd name="connsiteX2" fmla="*/ 0 w 1540086"/>
              <a:gd name="connsiteY2" fmla="*/ 1540086 h 3080171"/>
            </a:gdLst>
            <a:ahLst/>
            <a:cxnLst>
              <a:cxn ang="0">
                <a:pos x="connsiteX0" y="connsiteY0"/>
              </a:cxn>
              <a:cxn ang="0">
                <a:pos x="connsiteX1" y="connsiteY1"/>
              </a:cxn>
              <a:cxn ang="0">
                <a:pos x="connsiteX2" y="connsiteY2"/>
              </a:cxn>
            </a:cxnLst>
            <a:rect l="l" t="t" r="r" b="b"/>
            <a:pathLst>
              <a:path w="1540086" h="3080171">
                <a:moveTo>
                  <a:pt x="1540086" y="0"/>
                </a:moveTo>
                <a:lnTo>
                  <a:pt x="1540086" y="3080171"/>
                </a:lnTo>
                <a:lnTo>
                  <a:pt x="0" y="1540086"/>
                </a:lnTo>
                <a:close/>
              </a:path>
            </a:pathLst>
          </a:custGeom>
          <a:solidFill>
            <a:schemeClr val="tx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zh-CN" altLang="en-US"/>
          </a:p>
        </p:txBody>
      </p:sp>
      <p:sp>
        <p:nvSpPr>
          <p:cNvPr id="24" name="任意多边形: 形状 413">
            <a:extLst/>
          </p:cNvPr>
          <p:cNvSpPr/>
          <p:nvPr/>
        </p:nvSpPr>
        <p:spPr>
          <a:xfrm>
            <a:off x="8196263" y="-7938"/>
            <a:ext cx="4008437" cy="2487613"/>
          </a:xfrm>
          <a:custGeom>
            <a:avLst/>
            <a:gdLst>
              <a:gd name="connsiteX0" fmla="*/ 12046 w 4009778"/>
              <a:gd name="connsiteY0" fmla="*/ 0 h 2486731"/>
              <a:gd name="connsiteX1" fmla="*/ 4009778 w 4009778"/>
              <a:gd name="connsiteY1" fmla="*/ 0 h 2486731"/>
              <a:gd name="connsiteX2" fmla="*/ 4009778 w 4009778"/>
              <a:gd name="connsiteY2" fmla="*/ 951638 h 2486731"/>
              <a:gd name="connsiteX3" fmla="*/ 2474685 w 4009778"/>
              <a:gd name="connsiteY3" fmla="*/ 2486731 h 2486731"/>
              <a:gd name="connsiteX4" fmla="*/ 0 w 4009778"/>
              <a:gd name="connsiteY4" fmla="*/ 12046 h 2486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9778" h="2486731">
                <a:moveTo>
                  <a:pt x="12046" y="0"/>
                </a:moveTo>
                <a:lnTo>
                  <a:pt x="4009778" y="0"/>
                </a:lnTo>
                <a:lnTo>
                  <a:pt x="4009778" y="951638"/>
                </a:lnTo>
                <a:lnTo>
                  <a:pt x="2474685" y="2486731"/>
                </a:lnTo>
                <a:lnTo>
                  <a:pt x="0" y="12046"/>
                </a:lnTo>
                <a:close/>
              </a:path>
            </a:pathLst>
          </a:cu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zh-CN" altLang="en-US"/>
          </a:p>
        </p:txBody>
      </p:sp>
      <p:pic>
        <p:nvPicPr>
          <p:cNvPr id="104462" name="图片 1"/>
          <p:cNvPicPr>
            <a:picLocks noChangeAspect="1"/>
          </p:cNvPicPr>
          <p:nvPr/>
        </p:nvPicPr>
        <p:blipFill>
          <a:blip r:embed="rId6"/>
          <a:srcRect/>
          <a:stretch>
            <a:fillRect/>
          </a:stretch>
        </p:blipFill>
        <p:spPr bwMode="auto">
          <a:xfrm>
            <a:off x="184150" y="2493963"/>
            <a:ext cx="3879850" cy="3879850"/>
          </a:xfrm>
          <a:prstGeom prst="rect">
            <a:avLst/>
          </a:prstGeom>
          <a:noFill/>
          <a:ln w="9525">
            <a:noFill/>
            <a:miter lim="800000"/>
            <a:headEnd/>
            <a:tailEnd/>
          </a:ln>
        </p:spPr>
      </p:pic>
      <p:sp>
        <p:nvSpPr>
          <p:cNvPr id="26" name="矩形 25"/>
          <p:cNvSpPr/>
          <p:nvPr/>
        </p:nvSpPr>
        <p:spPr>
          <a:xfrm>
            <a:off x="642938" y="2184400"/>
            <a:ext cx="3416300" cy="384175"/>
          </a:xfrm>
          <a:prstGeom prst="rect">
            <a:avLst/>
          </a:prstGeom>
        </p:spPr>
        <p:txBody>
          <a:bodyPr wrap="none">
            <a:spAutoFit/>
          </a:bodyPr>
          <a:lstStyle/>
          <a:p>
            <a:pPr fontAlgn="auto">
              <a:lnSpc>
                <a:spcPct val="114000"/>
              </a:lnSpc>
              <a:spcBef>
                <a:spcPts val="0"/>
              </a:spcBef>
              <a:spcAft>
                <a:spcPts val="0"/>
              </a:spcAft>
              <a:defRPr/>
            </a:pPr>
            <a:r>
              <a:rPr lang="zh-CN" altLang="en-US" dirty="0">
                <a:solidFill>
                  <a:schemeClr val="tx1">
                    <a:lumMod val="85000"/>
                    <a:lumOff val="15000"/>
                  </a:schemeClr>
                </a:solidFill>
                <a:latin typeface="+mj-ea"/>
                <a:ea typeface="微软雅黑" pitchFamily="34" charset="-122"/>
              </a:rPr>
              <a:t>请扫描下方二维码关注楚天官微</a:t>
            </a:r>
            <a:endParaRPr lang="en-US" altLang="zh-CN" dirty="0">
              <a:solidFill>
                <a:schemeClr val="tx1">
                  <a:lumMod val="85000"/>
                  <a:lumOff val="15000"/>
                </a:schemeClr>
              </a:solidFill>
              <a:latin typeface="+mj-ea"/>
              <a:ea typeface="微软雅黑" pitchFamily="34" charset="-122"/>
            </a:endParaRPr>
          </a:p>
        </p:txBody>
      </p:sp>
    </p:spTree>
  </p:cSld>
  <p:clrMapOvr>
    <a:masterClrMapping/>
  </p:clrMapOvr>
  <p:transition spd="slow" advTm="0">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文本框 14"/>
          <p:cNvSpPr txBox="1">
            <a:spLocks noChangeArrowheads="1"/>
          </p:cNvSpPr>
          <p:nvPr/>
        </p:nvSpPr>
        <p:spPr bwMode="auto">
          <a:xfrm>
            <a:off x="1073150" y="-63500"/>
            <a:ext cx="908050" cy="830263"/>
          </a:xfrm>
          <a:prstGeom prst="rect">
            <a:avLst/>
          </a:prstGeom>
          <a:noFill/>
          <a:ln w="9525">
            <a:noFill/>
            <a:miter lim="800000"/>
            <a:headEnd/>
            <a:tailEnd/>
          </a:ln>
        </p:spPr>
        <p:txBody>
          <a:bodyPr>
            <a:spAutoFit/>
          </a:bodyPr>
          <a:lstStyle/>
          <a:p>
            <a:r>
              <a:rPr lang="en-US" altLang="zh-CN" sz="4800" b="1">
                <a:solidFill>
                  <a:schemeClr val="bg1"/>
                </a:solidFill>
                <a:latin typeface="微软雅黑" pitchFamily="34" charset="-122"/>
                <a:ea typeface="微软雅黑" pitchFamily="34" charset="-122"/>
              </a:rPr>
              <a:t>1</a:t>
            </a:r>
            <a:endParaRPr lang="zh-CN" altLang="en-US" sz="4800" b="1">
              <a:solidFill>
                <a:schemeClr val="bg1"/>
              </a:solidFill>
              <a:latin typeface="微软雅黑" pitchFamily="34" charset="-122"/>
              <a:ea typeface="微软雅黑" pitchFamily="34" charset="-122"/>
            </a:endParaRPr>
          </a:p>
        </p:txBody>
      </p:sp>
      <p:sp>
        <p:nvSpPr>
          <p:cNvPr id="10" name="TextBox 13">
            <a:extLst>
              <a:ext uri="{FF2B5EF4-FFF2-40B4-BE49-F238E27FC236}">
                <a16:creationId xmlns:a16="http://schemas.microsoft.com/office/drawing/2014/main" id="{3148199D-256C-4C55-B1E2-42F49BBF65CB}"/>
              </a:ext>
            </a:extLst>
          </p:cNvPr>
          <p:cNvSpPr txBox="1">
            <a:spLocks noChangeArrowheads="1"/>
          </p:cNvSpPr>
          <p:nvPr/>
        </p:nvSpPr>
        <p:spPr bwMode="auto">
          <a:xfrm>
            <a:off x="300065" y="28465"/>
            <a:ext cx="503359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algn="ctr">
              <a:defRPr/>
            </a:pPr>
            <a:r>
              <a:rPr lang="zh-CN" altLang="en-US" sz="3600" dirty="0">
                <a:solidFill>
                  <a:srgbClr val="0070C0"/>
                </a:solidFill>
                <a:latin typeface="+mj-ea"/>
                <a:ea typeface="+mj-ea"/>
              </a:rPr>
              <a:t>柔性化</a:t>
            </a:r>
            <a:r>
              <a:rPr lang="en-US" altLang="zh-CN" sz="3600" dirty="0">
                <a:ln w="22225">
                  <a:solidFill>
                    <a:schemeClr val="accent2"/>
                  </a:solidFill>
                  <a:prstDash val="solid"/>
                </a:ln>
                <a:solidFill>
                  <a:schemeClr val="accent2">
                    <a:lumMod val="40000"/>
                    <a:lumOff val="60000"/>
                  </a:schemeClr>
                </a:solidFill>
                <a:latin typeface="+mj-ea"/>
                <a:ea typeface="+mj-ea"/>
              </a:rPr>
              <a:t>VS</a:t>
            </a:r>
            <a:r>
              <a:rPr lang="zh-CN" altLang="en-US" sz="3600" dirty="0">
                <a:solidFill>
                  <a:srgbClr val="0070C0"/>
                </a:solidFill>
                <a:latin typeface="+mj-ea"/>
                <a:ea typeface="+mj-ea"/>
              </a:rPr>
              <a:t>规模化</a:t>
            </a:r>
          </a:p>
        </p:txBody>
      </p:sp>
      <p:sp>
        <p:nvSpPr>
          <p:cNvPr id="11" name="矩形 7">
            <a:extLst>
              <a:ext uri="{FF2B5EF4-FFF2-40B4-BE49-F238E27FC236}">
                <a16:creationId xmlns:a16="http://schemas.microsoft.com/office/drawing/2014/main" id="{A3A59A2F-4F28-42EE-8D78-DBF432876E03}"/>
              </a:ext>
            </a:extLst>
          </p:cNvPr>
          <p:cNvSpPr>
            <a:spLocks noChangeArrowheads="1"/>
          </p:cNvSpPr>
          <p:nvPr/>
        </p:nvSpPr>
        <p:spPr bwMode="auto">
          <a:xfrm>
            <a:off x="808652" y="1457325"/>
            <a:ext cx="4052888" cy="3943350"/>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30000"/>
              </a:spcBef>
              <a:buFontTx/>
              <a:buNone/>
            </a:pPr>
            <a:endParaRPr lang="zh-CN" altLang="en-US" sz="1200">
              <a:solidFill>
                <a:srgbClr val="000000"/>
              </a:solidFill>
              <a:latin typeface="微软雅黑" panose="020B0503020204020204" pitchFamily="34" charset="-122"/>
              <a:ea typeface="微软雅黑" panose="020B0503020204020204" pitchFamily="34" charset="-122"/>
            </a:endParaRPr>
          </a:p>
        </p:txBody>
      </p:sp>
      <p:sp>
        <p:nvSpPr>
          <p:cNvPr id="12" name="矩形 1">
            <a:extLst>
              <a:ext uri="{FF2B5EF4-FFF2-40B4-BE49-F238E27FC236}">
                <a16:creationId xmlns:a16="http://schemas.microsoft.com/office/drawing/2014/main" id="{712236E4-551B-48C9-854F-62455214BA8E}"/>
              </a:ext>
            </a:extLst>
          </p:cNvPr>
          <p:cNvSpPr>
            <a:spLocks noChangeArrowheads="1"/>
          </p:cNvSpPr>
          <p:nvPr/>
        </p:nvSpPr>
        <p:spPr bwMode="auto">
          <a:xfrm>
            <a:off x="808652" y="2060575"/>
            <a:ext cx="3765550" cy="317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50000"/>
              </a:spcBef>
              <a:buClr>
                <a:srgbClr val="000000"/>
              </a:buClr>
              <a:buFont typeface="Wingdings" panose="05000000000000000000" pitchFamily="2" charset="2"/>
              <a:buChar char="q"/>
            </a:pPr>
            <a:r>
              <a:rPr kumimoji="1" lang="zh-CN" altLang="en-US" sz="2000" b="1">
                <a:solidFill>
                  <a:srgbClr val="0000FF"/>
                </a:solidFill>
                <a:latin typeface="微软雅黑" panose="020B0503020204020204" pitchFamily="34" charset="-122"/>
                <a:ea typeface="微软雅黑" panose="020B0503020204020204" pitchFamily="34" charset="-122"/>
              </a:rPr>
              <a:t>柔性化</a:t>
            </a:r>
            <a:r>
              <a:rPr kumimoji="1" lang="zh-CN" altLang="en-US" sz="2000" b="1">
                <a:solidFill>
                  <a:srgbClr val="000000"/>
                </a:solidFill>
                <a:latin typeface="微软雅黑" panose="020B0503020204020204" pitchFamily="34" charset="-122"/>
                <a:ea typeface="微软雅黑" panose="020B0503020204020204" pitchFamily="34" charset="-122"/>
              </a:rPr>
              <a:t>：生物药、抗肿瘤药等高附加值药品实现多品种、多规格、小批量柔性化生产</a:t>
            </a:r>
            <a:endParaRPr kumimoji="1" lang="en-US" altLang="zh-CN" sz="2000" b="1">
              <a:solidFill>
                <a:srgbClr val="000000"/>
              </a:solidFill>
              <a:latin typeface="微软雅黑" panose="020B0503020204020204" pitchFamily="34" charset="-122"/>
              <a:ea typeface="微软雅黑" panose="020B0503020204020204" pitchFamily="34" charset="-122"/>
            </a:endParaRPr>
          </a:p>
          <a:p>
            <a:pPr eaLnBrk="1" hangingPunct="1">
              <a:spcBef>
                <a:spcPct val="50000"/>
              </a:spcBef>
              <a:buClr>
                <a:srgbClr val="000000"/>
              </a:buClr>
              <a:buFont typeface="Wingdings" panose="05000000000000000000" pitchFamily="2" charset="2"/>
              <a:buChar char="q"/>
            </a:pPr>
            <a:r>
              <a:rPr kumimoji="1" lang="zh-CN" altLang="en-US" sz="2000" b="1">
                <a:solidFill>
                  <a:srgbClr val="0000FF"/>
                </a:solidFill>
                <a:latin typeface="微软雅黑" panose="020B0503020204020204" pitchFamily="34" charset="-122"/>
                <a:ea typeface="微软雅黑" panose="020B0503020204020204" pitchFamily="34" charset="-122"/>
              </a:rPr>
              <a:t>规模化</a:t>
            </a:r>
            <a:r>
              <a:rPr kumimoji="1" lang="zh-CN" altLang="en-US" sz="2000" b="1">
                <a:solidFill>
                  <a:srgbClr val="000000"/>
                </a:solidFill>
                <a:latin typeface="微软雅黑" panose="020B0503020204020204" pitchFamily="34" charset="-122"/>
                <a:ea typeface="微软雅黑" panose="020B0503020204020204" pitchFamily="34" charset="-122"/>
              </a:rPr>
              <a:t>：口服液、保健品等药品追求更高效率、更大规模、多批次连续化共线生产。</a:t>
            </a:r>
            <a:endParaRPr kumimoji="1" lang="en-US" altLang="zh-CN" sz="2000" b="1">
              <a:solidFill>
                <a:srgbClr val="000000"/>
              </a:solidFill>
              <a:latin typeface="微软雅黑" panose="020B0503020204020204" pitchFamily="34" charset="-122"/>
              <a:ea typeface="微软雅黑" panose="020B0503020204020204" pitchFamily="34" charset="-122"/>
            </a:endParaRPr>
          </a:p>
          <a:p>
            <a:pPr eaLnBrk="1" hangingPunct="1">
              <a:spcBef>
                <a:spcPct val="50000"/>
              </a:spcBef>
              <a:buClr>
                <a:srgbClr val="000000"/>
              </a:buClr>
              <a:buFont typeface="Wingdings" panose="05000000000000000000" pitchFamily="2" charset="2"/>
              <a:buChar char="q"/>
            </a:pPr>
            <a:r>
              <a:rPr kumimoji="1" lang="zh-CN" altLang="en-US" sz="2000" b="1">
                <a:solidFill>
                  <a:srgbClr val="0000FF"/>
                </a:solidFill>
                <a:latin typeface="微软雅黑" panose="020B0503020204020204" pitchFamily="34" charset="-122"/>
                <a:ea typeface="微软雅黑" panose="020B0503020204020204" pitchFamily="34" charset="-122"/>
              </a:rPr>
              <a:t>绿色化</a:t>
            </a:r>
            <a:r>
              <a:rPr kumimoji="1" lang="zh-CN" altLang="en-US" sz="2000" b="1">
                <a:solidFill>
                  <a:srgbClr val="000000"/>
                </a:solidFill>
                <a:latin typeface="微软雅黑" panose="020B0503020204020204" pitchFamily="34" charset="-122"/>
                <a:ea typeface="微软雅黑" panose="020B0503020204020204" pitchFamily="34" charset="-122"/>
              </a:rPr>
              <a:t>：生产环境与过程无菌化、设备低能耗、对操作人员无毒害</a:t>
            </a:r>
            <a:endParaRPr kumimoji="1" lang="en-US" altLang="zh-CN" sz="2200" b="1">
              <a:solidFill>
                <a:srgbClr val="000000"/>
              </a:solidFill>
              <a:latin typeface="微软雅黑" panose="020B0503020204020204" pitchFamily="34" charset="-122"/>
              <a:ea typeface="微软雅黑" panose="020B0503020204020204" pitchFamily="34" charset="-122"/>
            </a:endParaRPr>
          </a:p>
        </p:txBody>
      </p:sp>
      <p:sp>
        <p:nvSpPr>
          <p:cNvPr id="13" name="矩形 2">
            <a:extLst>
              <a:ext uri="{FF2B5EF4-FFF2-40B4-BE49-F238E27FC236}">
                <a16:creationId xmlns:a16="http://schemas.microsoft.com/office/drawing/2014/main" id="{80E6FD23-DA07-4C10-B98C-DCF58BB7F3F2}"/>
              </a:ext>
            </a:extLst>
          </p:cNvPr>
          <p:cNvSpPr>
            <a:spLocks noChangeArrowheads="1"/>
          </p:cNvSpPr>
          <p:nvPr/>
        </p:nvSpPr>
        <p:spPr bwMode="auto">
          <a:xfrm>
            <a:off x="1210290" y="1549400"/>
            <a:ext cx="26479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457200" indent="-4572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spcBef>
                <a:spcPct val="50000"/>
              </a:spcBef>
              <a:buClr>
                <a:srgbClr val="000000"/>
              </a:buClr>
              <a:buFontTx/>
              <a:buNone/>
            </a:pPr>
            <a:r>
              <a:rPr kumimoji="1" lang="zh-CN" altLang="en-US" sz="2400" b="1">
                <a:solidFill>
                  <a:srgbClr val="000000"/>
                </a:solidFill>
                <a:latin typeface="微软雅黑" panose="020B0503020204020204" pitchFamily="34" charset="-122"/>
                <a:ea typeface="微软雅黑" panose="020B0503020204020204" pitchFamily="34" charset="-122"/>
              </a:rPr>
              <a:t>生产模式变化趋势</a:t>
            </a:r>
          </a:p>
        </p:txBody>
      </p:sp>
      <p:sp>
        <p:nvSpPr>
          <p:cNvPr id="14" name="Text Box 42">
            <a:extLst>
              <a:ext uri="{FF2B5EF4-FFF2-40B4-BE49-F238E27FC236}">
                <a16:creationId xmlns:a16="http://schemas.microsoft.com/office/drawing/2014/main" id="{5A32E900-DC58-4BA6-8860-461693143B2B}"/>
              </a:ext>
            </a:extLst>
          </p:cNvPr>
          <p:cNvSpPr txBox="1">
            <a:spLocks noChangeArrowheads="1"/>
          </p:cNvSpPr>
          <p:nvPr/>
        </p:nvSpPr>
        <p:spPr bwMode="white">
          <a:xfrm>
            <a:off x="6750565" y="1965764"/>
            <a:ext cx="3552825" cy="3411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spAutoFit/>
          </a:bodyPr>
          <a:lstStyle>
            <a:lvl1pPr marL="457200" indent="-4572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lnSpc>
                <a:spcPts val="2300"/>
              </a:lnSpc>
              <a:spcBef>
                <a:spcPct val="50000"/>
              </a:spcBef>
              <a:buClr>
                <a:srgbClr val="000000"/>
              </a:buClr>
              <a:buFont typeface="Wingdings" panose="05000000000000000000" pitchFamily="2" charset="2"/>
              <a:buChar char="q"/>
            </a:pPr>
            <a:r>
              <a:rPr kumimoji="1" lang="zh-CN" altLang="en-US" sz="2000" b="1">
                <a:solidFill>
                  <a:srgbClr val="0000FF"/>
                </a:solidFill>
                <a:latin typeface="微软雅黑" panose="020B0503020204020204" pitchFamily="34" charset="-122"/>
                <a:ea typeface="微软雅黑" panose="020B0503020204020204" pitchFamily="34" charset="-122"/>
              </a:rPr>
              <a:t>智能装备与机器人</a:t>
            </a:r>
            <a:r>
              <a:rPr kumimoji="1" lang="zh-CN" altLang="en-US" sz="2000" b="1">
                <a:solidFill>
                  <a:srgbClr val="000000"/>
                </a:solidFill>
                <a:latin typeface="微软雅黑" panose="020B0503020204020204" pitchFamily="34" charset="-122"/>
                <a:ea typeface="微软雅黑" panose="020B0503020204020204" pitchFamily="34" charset="-122"/>
              </a:rPr>
              <a:t>：在线检测、智能调控、柔性化操作、互联互通等</a:t>
            </a:r>
            <a:endParaRPr kumimoji="1" lang="en-US" altLang="zh-CN" sz="2000" b="1">
              <a:solidFill>
                <a:srgbClr val="000000"/>
              </a:solidFill>
              <a:latin typeface="微软雅黑" panose="020B0503020204020204" pitchFamily="34" charset="-122"/>
              <a:ea typeface="微软雅黑" panose="020B0503020204020204" pitchFamily="34" charset="-122"/>
            </a:endParaRPr>
          </a:p>
          <a:p>
            <a:pPr eaLnBrk="1" hangingPunct="1">
              <a:lnSpc>
                <a:spcPts val="2300"/>
              </a:lnSpc>
              <a:spcBef>
                <a:spcPct val="50000"/>
              </a:spcBef>
              <a:buClr>
                <a:srgbClr val="000000"/>
              </a:buClr>
              <a:buFont typeface="Wingdings" panose="05000000000000000000" pitchFamily="2" charset="2"/>
              <a:buChar char="q"/>
            </a:pPr>
            <a:r>
              <a:rPr kumimoji="1" lang="zh-CN" altLang="en-US" sz="2000" b="1">
                <a:solidFill>
                  <a:srgbClr val="0000FF"/>
                </a:solidFill>
                <a:latin typeface="微软雅黑" panose="020B0503020204020204" pitchFamily="34" charset="-122"/>
                <a:ea typeface="微软雅黑" panose="020B0503020204020204" pitchFamily="34" charset="-122"/>
              </a:rPr>
              <a:t>自动化产线</a:t>
            </a:r>
            <a:r>
              <a:rPr kumimoji="1" lang="zh-CN" altLang="en-US" sz="2400" b="1">
                <a:solidFill>
                  <a:srgbClr val="000000"/>
                </a:solidFill>
                <a:latin typeface="微软雅黑" panose="020B0503020204020204" pitchFamily="34" charset="-122"/>
                <a:ea typeface="微软雅黑" panose="020B0503020204020204" pitchFamily="34" charset="-122"/>
              </a:rPr>
              <a:t>：</a:t>
            </a:r>
            <a:r>
              <a:rPr kumimoji="1" lang="zh-CN" altLang="en-US" sz="2000" b="1">
                <a:solidFill>
                  <a:srgbClr val="000000"/>
                </a:solidFill>
                <a:latin typeface="微软雅黑" panose="020B0503020204020204" pitchFamily="34" charset="-122"/>
                <a:ea typeface="微软雅黑" panose="020B0503020204020204" pitchFamily="34" charset="-122"/>
              </a:rPr>
              <a:t>构建自动化柔性生产线，单元工艺自动化、产线物流自动化，实现连续化生产</a:t>
            </a:r>
            <a:endParaRPr kumimoji="1" lang="en-US" altLang="zh-CN" sz="2000" b="1">
              <a:solidFill>
                <a:srgbClr val="000000"/>
              </a:solidFill>
              <a:latin typeface="微软雅黑" panose="020B0503020204020204" pitchFamily="34" charset="-122"/>
              <a:ea typeface="微软雅黑" panose="020B0503020204020204" pitchFamily="34" charset="-122"/>
            </a:endParaRPr>
          </a:p>
          <a:p>
            <a:pPr eaLnBrk="1" hangingPunct="1">
              <a:lnSpc>
                <a:spcPts val="2300"/>
              </a:lnSpc>
              <a:spcBef>
                <a:spcPct val="50000"/>
              </a:spcBef>
              <a:buClr>
                <a:srgbClr val="000000"/>
              </a:buClr>
              <a:buFont typeface="Wingdings" panose="05000000000000000000" pitchFamily="2" charset="2"/>
              <a:buChar char="q"/>
            </a:pPr>
            <a:r>
              <a:rPr kumimoji="1" lang="zh-CN" altLang="en-US" sz="2000" b="1">
                <a:solidFill>
                  <a:srgbClr val="0000FF"/>
                </a:solidFill>
                <a:latin typeface="微软雅黑" panose="020B0503020204020204" pitchFamily="34" charset="-122"/>
                <a:ea typeface="微软雅黑" panose="020B0503020204020204" pitchFamily="34" charset="-122"/>
              </a:rPr>
              <a:t>信息化集成</a:t>
            </a:r>
            <a:r>
              <a:rPr kumimoji="1" lang="zh-CN" altLang="en-US" sz="2400" b="1">
                <a:solidFill>
                  <a:srgbClr val="000000"/>
                </a:solidFill>
                <a:latin typeface="微软雅黑" panose="020B0503020204020204" pitchFamily="34" charset="-122"/>
                <a:ea typeface="微软雅黑" panose="020B0503020204020204" pitchFamily="34" charset="-122"/>
              </a:rPr>
              <a:t>：</a:t>
            </a:r>
            <a:r>
              <a:rPr kumimoji="1" lang="zh-CN" altLang="en-US" sz="2000" b="1">
                <a:solidFill>
                  <a:srgbClr val="000000"/>
                </a:solidFill>
                <a:latin typeface="微软雅黑" panose="020B0503020204020204" pitchFamily="34" charset="-122"/>
                <a:ea typeface="微软雅黑" panose="020B0503020204020204" pitchFamily="34" charset="-122"/>
              </a:rPr>
              <a:t>信息化管理、大数据集成、质量管理与追溯等</a:t>
            </a:r>
            <a:endParaRPr kumimoji="1" lang="en-US" altLang="zh-CN" sz="2000" b="1">
              <a:solidFill>
                <a:srgbClr val="000000"/>
              </a:solidFill>
              <a:latin typeface="微软雅黑" panose="020B0503020204020204" pitchFamily="34" charset="-122"/>
              <a:ea typeface="微软雅黑" panose="020B0503020204020204" pitchFamily="34" charset="-122"/>
            </a:endParaRPr>
          </a:p>
        </p:txBody>
      </p:sp>
      <p:sp>
        <p:nvSpPr>
          <p:cNvPr id="18" name="矩形 8">
            <a:extLst>
              <a:ext uri="{FF2B5EF4-FFF2-40B4-BE49-F238E27FC236}">
                <a16:creationId xmlns:a16="http://schemas.microsoft.com/office/drawing/2014/main" id="{8C3478C3-50B7-45D4-B24A-C7B706D9F3D3}"/>
              </a:ext>
            </a:extLst>
          </p:cNvPr>
          <p:cNvSpPr>
            <a:spLocks noChangeArrowheads="1"/>
          </p:cNvSpPr>
          <p:nvPr/>
        </p:nvSpPr>
        <p:spPr bwMode="auto">
          <a:xfrm>
            <a:off x="6547365" y="1429189"/>
            <a:ext cx="4052887" cy="3943350"/>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30000"/>
              </a:spcBef>
              <a:buFontTx/>
              <a:buNone/>
            </a:pPr>
            <a:endParaRPr lang="zh-CN" altLang="en-US" sz="1200">
              <a:solidFill>
                <a:srgbClr val="000000"/>
              </a:solidFill>
              <a:latin typeface="微软雅黑" panose="020B0503020204020204" pitchFamily="34" charset="-122"/>
              <a:ea typeface="微软雅黑" panose="020B0503020204020204" pitchFamily="34" charset="-122"/>
            </a:endParaRPr>
          </a:p>
        </p:txBody>
      </p:sp>
      <p:sp>
        <p:nvSpPr>
          <p:cNvPr id="19" name="右箭头 12">
            <a:extLst>
              <a:ext uri="{FF2B5EF4-FFF2-40B4-BE49-F238E27FC236}">
                <a16:creationId xmlns:a16="http://schemas.microsoft.com/office/drawing/2014/main" id="{4ABF824E-6857-4DC1-A9AB-EF226B39269C}"/>
              </a:ext>
            </a:extLst>
          </p:cNvPr>
          <p:cNvSpPr>
            <a:spLocks noChangeArrowheads="1"/>
          </p:cNvSpPr>
          <p:nvPr/>
        </p:nvSpPr>
        <p:spPr bwMode="auto">
          <a:xfrm>
            <a:off x="5333662" y="2516187"/>
            <a:ext cx="795164" cy="912813"/>
          </a:xfrm>
          <a:prstGeom prst="rightArrow">
            <a:avLst>
              <a:gd name="adj1" fmla="val 50000"/>
              <a:gd name="adj2" fmla="val 50000"/>
            </a:avLst>
          </a:prstGeom>
          <a:solidFill>
            <a:schemeClr val="accent1"/>
          </a:solidFill>
          <a:ln w="9525" algn="ctr">
            <a:solidFill>
              <a:schemeClr val="tx1"/>
            </a:solidFill>
            <a:round/>
            <a:headEnd/>
            <a:tailEnd/>
          </a:ln>
        </p:spPr>
        <p:txBody>
          <a:bodyPr/>
          <a:lstStyle>
            <a:lvl1pPr>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eaLnBrk="1" hangingPunct="1">
              <a:spcBef>
                <a:spcPct val="30000"/>
              </a:spcBef>
              <a:buFontTx/>
              <a:buNone/>
            </a:pPr>
            <a:endParaRPr lang="zh-CN" altLang="en-US" sz="1200">
              <a:solidFill>
                <a:srgbClr val="000000"/>
              </a:solidFill>
              <a:latin typeface="微软雅黑" panose="020B0503020204020204" pitchFamily="34" charset="-122"/>
              <a:ea typeface="微软雅黑" panose="020B0503020204020204" pitchFamily="34" charset="-122"/>
            </a:endParaRPr>
          </a:p>
        </p:txBody>
      </p:sp>
      <p:sp>
        <p:nvSpPr>
          <p:cNvPr id="20" name="Text Box 9">
            <a:extLst>
              <a:ext uri="{FF2B5EF4-FFF2-40B4-BE49-F238E27FC236}">
                <a16:creationId xmlns:a16="http://schemas.microsoft.com/office/drawing/2014/main" id="{48A8287D-78CB-4292-BE04-FA4C86E491A0}"/>
              </a:ext>
            </a:extLst>
          </p:cNvPr>
          <p:cNvSpPr txBox="1">
            <a:spLocks noChangeArrowheads="1"/>
          </p:cNvSpPr>
          <p:nvPr/>
        </p:nvSpPr>
        <p:spPr bwMode="auto">
          <a:xfrm>
            <a:off x="808653" y="5545137"/>
            <a:ext cx="9791086" cy="917575"/>
          </a:xfrm>
          <a:prstGeom prst="rect">
            <a:avLst/>
          </a:prstGeom>
          <a:solidFill>
            <a:srgbClr val="144592">
              <a:alpha val="9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457200" indent="-457200" eaLnBrk="1" hangingPunct="1">
              <a:spcBef>
                <a:spcPts val="0"/>
              </a:spcBef>
              <a:buClr>
                <a:srgbClr val="000000"/>
              </a:buClr>
              <a:buFont typeface="Arial" panose="020B0604020202020204" pitchFamily="34" charset="0"/>
              <a:buNone/>
              <a:defRPr sz="2200" b="1" ker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indent="0">
              <a:lnSpc>
                <a:spcPct val="130000"/>
              </a:lnSpc>
              <a:spcBef>
                <a:spcPts val="600"/>
              </a:spcBef>
              <a:spcAft>
                <a:spcPts val="600"/>
              </a:spcAft>
              <a:defRPr/>
            </a:pPr>
            <a:r>
              <a:rPr lang="zh-CN" altLang="en-US" dirty="0">
                <a:solidFill>
                  <a:prstClr val="white"/>
                </a:solidFill>
              </a:rPr>
              <a:t>制药工业要同时面对大规模与多品种柔性化不同生产模式的挑战</a:t>
            </a:r>
          </a:p>
        </p:txBody>
      </p:sp>
      <p:sp>
        <p:nvSpPr>
          <p:cNvPr id="21" name="矩形 3">
            <a:extLst>
              <a:ext uri="{FF2B5EF4-FFF2-40B4-BE49-F238E27FC236}">
                <a16:creationId xmlns:a16="http://schemas.microsoft.com/office/drawing/2014/main" id="{486BF142-370B-467B-8ED5-E981F9450CE0}"/>
              </a:ext>
            </a:extLst>
          </p:cNvPr>
          <p:cNvSpPr>
            <a:spLocks noChangeArrowheads="1"/>
          </p:cNvSpPr>
          <p:nvPr/>
        </p:nvSpPr>
        <p:spPr bwMode="auto">
          <a:xfrm>
            <a:off x="7733366" y="1484752"/>
            <a:ext cx="141577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457200" indent="-457200">
              <a:spcBef>
                <a:spcPct val="20000"/>
              </a:spcBef>
              <a:buChar char="•"/>
              <a:defRPr sz="3200">
                <a:solidFill>
                  <a:schemeClr val="tx1"/>
                </a:solidFill>
                <a:latin typeface="Arial" panose="020B0604020202020204" pitchFamily="34" charset="0"/>
                <a:ea typeface="宋体" panose="02010600030101010101" pitchFamily="2" charset="-122"/>
              </a:defRPr>
            </a:lvl1pPr>
            <a:lvl2pPr marL="742950" indent="-285750">
              <a:spcBef>
                <a:spcPct val="20000"/>
              </a:spcBef>
              <a:buChar char="–"/>
              <a:defRPr sz="2800">
                <a:solidFill>
                  <a:schemeClr val="tx1"/>
                </a:solidFill>
                <a:latin typeface="Arial" panose="020B0604020202020204" pitchFamily="34" charset="0"/>
                <a:ea typeface="宋体" panose="02010600030101010101" pitchFamily="2" charset="-122"/>
              </a:defRPr>
            </a:lvl2pPr>
            <a:lvl3pPr marL="1143000" indent="-228600">
              <a:spcBef>
                <a:spcPct val="20000"/>
              </a:spcBef>
              <a:buChar char="•"/>
              <a:defRPr sz="2400">
                <a:solidFill>
                  <a:schemeClr val="tx1"/>
                </a:solidFill>
                <a:latin typeface="Arial" panose="020B0604020202020204" pitchFamily="34" charset="0"/>
                <a:ea typeface="宋体" panose="02010600030101010101" pitchFamily="2" charset="-122"/>
              </a:defRPr>
            </a:lvl3pPr>
            <a:lvl4pPr marL="1600200" indent="-228600">
              <a:spcBef>
                <a:spcPct val="20000"/>
              </a:spcBef>
              <a:buChar char="–"/>
              <a:defRPr sz="2000">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宋体" panose="02010600030101010101" pitchFamily="2" charset="-122"/>
              </a:defRPr>
            </a:lvl9pPr>
          </a:lstStyle>
          <a:p>
            <a:pPr algn="ctr" eaLnBrk="1" hangingPunct="1">
              <a:spcBef>
                <a:spcPct val="50000"/>
              </a:spcBef>
              <a:buClr>
                <a:srgbClr val="000000"/>
              </a:buClr>
              <a:buFontTx/>
              <a:buNone/>
            </a:pPr>
            <a:r>
              <a:rPr kumimoji="1" lang="zh-CN" altLang="en-US" sz="2400" b="1" dirty="0">
                <a:solidFill>
                  <a:srgbClr val="000000"/>
                </a:solidFill>
                <a:latin typeface="微软雅黑" panose="020B0503020204020204" pitchFamily="34" charset="-122"/>
                <a:ea typeface="微软雅黑" panose="020B0503020204020204" pitchFamily="34" charset="-122"/>
              </a:rPr>
              <a:t>创新路径</a:t>
            </a:r>
          </a:p>
        </p:txBody>
      </p:sp>
    </p:spTree>
    <p:extLst>
      <p:ext uri="{BB962C8B-B14F-4D97-AF65-F5344CB8AC3E}">
        <p14:creationId xmlns:p14="http://schemas.microsoft.com/office/powerpoint/2010/main" val="727610771"/>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文本框 14"/>
          <p:cNvSpPr txBox="1">
            <a:spLocks noChangeArrowheads="1"/>
          </p:cNvSpPr>
          <p:nvPr/>
        </p:nvSpPr>
        <p:spPr bwMode="auto">
          <a:xfrm>
            <a:off x="1073150" y="-63500"/>
            <a:ext cx="908050" cy="830263"/>
          </a:xfrm>
          <a:prstGeom prst="rect">
            <a:avLst/>
          </a:prstGeom>
          <a:noFill/>
          <a:ln w="9525">
            <a:noFill/>
            <a:miter lim="800000"/>
            <a:headEnd/>
            <a:tailEnd/>
          </a:ln>
        </p:spPr>
        <p:txBody>
          <a:bodyPr>
            <a:spAutoFit/>
          </a:bodyPr>
          <a:lstStyle/>
          <a:p>
            <a:r>
              <a:rPr lang="en-US" altLang="zh-CN" sz="4800" b="1">
                <a:solidFill>
                  <a:schemeClr val="bg1"/>
                </a:solidFill>
                <a:latin typeface="微软雅黑" pitchFamily="34" charset="-122"/>
                <a:ea typeface="微软雅黑" pitchFamily="34" charset="-122"/>
              </a:rPr>
              <a:t>1</a:t>
            </a:r>
            <a:endParaRPr lang="zh-CN" altLang="en-US" sz="4800" b="1">
              <a:solidFill>
                <a:schemeClr val="bg1"/>
              </a:solidFill>
              <a:latin typeface="微软雅黑" pitchFamily="34" charset="-122"/>
              <a:ea typeface="微软雅黑" pitchFamily="34" charset="-122"/>
            </a:endParaRPr>
          </a:p>
        </p:txBody>
      </p:sp>
      <p:sp>
        <p:nvSpPr>
          <p:cNvPr id="10" name="TextBox 13">
            <a:extLst>
              <a:ext uri="{FF2B5EF4-FFF2-40B4-BE49-F238E27FC236}">
                <a16:creationId xmlns:a16="http://schemas.microsoft.com/office/drawing/2014/main" id="{3148199D-256C-4C55-B1E2-42F49BBF65CB}"/>
              </a:ext>
            </a:extLst>
          </p:cNvPr>
          <p:cNvSpPr txBox="1">
            <a:spLocks noChangeArrowheads="1"/>
          </p:cNvSpPr>
          <p:nvPr/>
        </p:nvSpPr>
        <p:spPr bwMode="auto">
          <a:xfrm>
            <a:off x="623622" y="68703"/>
            <a:ext cx="503359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ea typeface="宋体" panose="02010600030101010101" pitchFamily="2" charset="-122"/>
              </a:defRPr>
            </a:lvl1pPr>
            <a:lvl2pPr marL="742950" indent="-285750">
              <a:defRPr b="1">
                <a:solidFill>
                  <a:schemeClr val="tx1"/>
                </a:solidFill>
                <a:latin typeface="Arial" panose="020B0604020202020204" pitchFamily="34" charset="0"/>
                <a:ea typeface="宋体" panose="02010600030101010101" pitchFamily="2" charset="-122"/>
              </a:defRPr>
            </a:lvl2pPr>
            <a:lvl3pPr marL="1143000" indent="-228600">
              <a:defRPr b="1">
                <a:solidFill>
                  <a:schemeClr val="tx1"/>
                </a:solidFill>
                <a:latin typeface="Arial" panose="020B0604020202020204" pitchFamily="34" charset="0"/>
                <a:ea typeface="宋体" panose="02010600030101010101" pitchFamily="2" charset="-122"/>
              </a:defRPr>
            </a:lvl3pPr>
            <a:lvl4pPr marL="1600200" indent="-228600">
              <a:defRPr b="1">
                <a:solidFill>
                  <a:schemeClr val="tx1"/>
                </a:solidFill>
                <a:latin typeface="Arial" panose="020B0604020202020204" pitchFamily="34" charset="0"/>
                <a:ea typeface="宋体" panose="02010600030101010101" pitchFamily="2" charset="-122"/>
              </a:defRPr>
            </a:lvl4pPr>
            <a:lvl5pPr marL="2057400" indent="-228600">
              <a:defRPr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宋体" panose="02010600030101010101" pitchFamily="2" charset="-122"/>
              </a:defRPr>
            </a:lvl9pPr>
          </a:lstStyle>
          <a:p>
            <a:pPr algn="ctr">
              <a:defRPr/>
            </a:pPr>
            <a:r>
              <a:rPr lang="zh-CN" altLang="en-US" sz="3600" dirty="0">
                <a:solidFill>
                  <a:srgbClr val="0070C0"/>
                </a:solidFill>
                <a:latin typeface="+mj-ea"/>
                <a:ea typeface="+mj-ea"/>
              </a:rPr>
              <a:t>薄弱基础</a:t>
            </a:r>
            <a:r>
              <a:rPr lang="en-US" altLang="zh-CN" sz="3600" dirty="0">
                <a:ln w="22225">
                  <a:solidFill>
                    <a:schemeClr val="accent2"/>
                  </a:solidFill>
                  <a:prstDash val="solid"/>
                </a:ln>
                <a:solidFill>
                  <a:schemeClr val="accent2">
                    <a:lumMod val="40000"/>
                    <a:lumOff val="60000"/>
                  </a:schemeClr>
                </a:solidFill>
                <a:latin typeface="+mj-ea"/>
                <a:ea typeface="+mj-ea"/>
              </a:rPr>
              <a:t>VS</a:t>
            </a:r>
            <a:r>
              <a:rPr lang="zh-CN" altLang="en-US" sz="3600" dirty="0">
                <a:solidFill>
                  <a:srgbClr val="0070C0"/>
                </a:solidFill>
                <a:latin typeface="+mj-ea"/>
                <a:ea typeface="+mj-ea"/>
              </a:rPr>
              <a:t>产业升级</a:t>
            </a:r>
          </a:p>
        </p:txBody>
      </p:sp>
      <p:sp>
        <p:nvSpPr>
          <p:cNvPr id="11" name="Text Box 9">
            <a:extLst>
              <a:ext uri="{FF2B5EF4-FFF2-40B4-BE49-F238E27FC236}">
                <a16:creationId xmlns:a16="http://schemas.microsoft.com/office/drawing/2014/main" id="{91E0CB83-09D2-4B43-B9B2-E979C0E0CCE3}"/>
              </a:ext>
            </a:extLst>
          </p:cNvPr>
          <p:cNvSpPr txBox="1">
            <a:spLocks noChangeArrowheads="1"/>
          </p:cNvSpPr>
          <p:nvPr/>
        </p:nvSpPr>
        <p:spPr bwMode="auto">
          <a:xfrm>
            <a:off x="41886" y="4955809"/>
            <a:ext cx="11759511" cy="1412875"/>
          </a:xfrm>
          <a:prstGeom prst="rect">
            <a:avLst/>
          </a:prstGeom>
          <a:solidFill>
            <a:srgbClr val="144592">
              <a:alpha val="9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457200" indent="-457200" eaLnBrk="1" hangingPunct="1">
              <a:spcBef>
                <a:spcPts val="0"/>
              </a:spcBef>
              <a:buClr>
                <a:srgbClr val="000000"/>
              </a:buClr>
              <a:buFont typeface="Arial" panose="020B0604020202020204" pitchFamily="34" charset="0"/>
              <a:buNone/>
              <a:defRPr sz="2200" b="1" ker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marL="0" indent="0">
              <a:lnSpc>
                <a:spcPct val="130000"/>
              </a:lnSpc>
              <a:spcBef>
                <a:spcPts val="600"/>
              </a:spcBef>
              <a:spcAft>
                <a:spcPts val="600"/>
              </a:spcAft>
              <a:defRPr/>
            </a:pPr>
            <a:r>
              <a:rPr lang="zh-CN" altLang="en-US" dirty="0">
                <a:solidFill>
                  <a:prstClr val="white"/>
                </a:solidFill>
              </a:rPr>
              <a:t>目前行业总体自动化水平较低，信息化应用处于起步阶段。例如</a:t>
            </a:r>
            <a:r>
              <a:rPr lang="zh-CN" altLang="zh-CN" dirty="0"/>
              <a:t>制剂生产过程</a:t>
            </a:r>
            <a:r>
              <a:rPr lang="zh-CN" altLang="en-US" dirty="0"/>
              <a:t>工艺间</a:t>
            </a:r>
            <a:r>
              <a:rPr lang="zh-CN" altLang="zh-CN" dirty="0"/>
              <a:t>断</a:t>
            </a:r>
            <a:r>
              <a:rPr lang="zh-CN" altLang="en-US" dirty="0"/>
              <a:t>续，物料流转以人工为主。设备间不具备互联互通，形成多个信息孤单。薄弱基础，产业升级要面对更复杂的技术与管理挑战。</a:t>
            </a:r>
            <a:endParaRPr lang="zh-CN" altLang="en-US" dirty="0">
              <a:solidFill>
                <a:prstClr val="white"/>
              </a:solidFill>
            </a:endParaRPr>
          </a:p>
        </p:txBody>
      </p:sp>
      <p:pic>
        <p:nvPicPr>
          <p:cNvPr id="12" name="图片 4">
            <a:extLst>
              <a:ext uri="{FF2B5EF4-FFF2-40B4-BE49-F238E27FC236}">
                <a16:creationId xmlns:a16="http://schemas.microsoft.com/office/drawing/2014/main" id="{2492EE92-B9D0-4A1D-884B-DD8F423E28B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72160" y="1195753"/>
            <a:ext cx="2428880" cy="3063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图片 6">
            <a:extLst>
              <a:ext uri="{FF2B5EF4-FFF2-40B4-BE49-F238E27FC236}">
                <a16:creationId xmlns:a16="http://schemas.microsoft.com/office/drawing/2014/main" id="{C97861BF-39F8-4AE4-A84D-DA544175504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031458" y="1195753"/>
            <a:ext cx="2574364" cy="3067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图片 20" descr="00300262604_92288bf9.jpg">
            <a:extLst>
              <a:ext uri="{FF2B5EF4-FFF2-40B4-BE49-F238E27FC236}">
                <a16:creationId xmlns:a16="http://schemas.microsoft.com/office/drawing/2014/main" id="{B7A81307-6E7D-4F96-A5B0-90243868A5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4799" y="1195753"/>
            <a:ext cx="5001071" cy="3063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79904746"/>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1"/>
          <p:cNvSpPr/>
          <p:nvPr/>
        </p:nvSpPr>
        <p:spPr bwMode="auto">
          <a:xfrm>
            <a:off x="635427" y="114300"/>
            <a:ext cx="6488703" cy="723900"/>
          </a:xfrm>
          <a:prstGeom prst="rect">
            <a:avLst/>
          </a:prstGeom>
          <a:no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zh-CN" altLang="en-US" sz="3600" b="1" dirty="0">
                <a:solidFill>
                  <a:srgbClr val="0070C0"/>
                </a:solidFill>
                <a:latin typeface="+mj-ea"/>
                <a:ea typeface="+mj-ea"/>
              </a:rPr>
              <a:t>产业升级的路径</a:t>
            </a:r>
          </a:p>
        </p:txBody>
      </p:sp>
      <p:pic>
        <p:nvPicPr>
          <p:cNvPr id="3" name="Picture 3"/>
          <p:cNvPicPr>
            <a:picLocks noChangeAspect="1" noChangeArrowheads="1"/>
          </p:cNvPicPr>
          <p:nvPr/>
        </p:nvPicPr>
        <p:blipFill>
          <a:blip r:embed="rId2" cstate="print"/>
          <a:srcRect/>
          <a:stretch>
            <a:fillRect/>
          </a:stretch>
        </p:blipFill>
        <p:spPr bwMode="auto">
          <a:xfrm>
            <a:off x="477655" y="1441362"/>
            <a:ext cx="4044285" cy="1947145"/>
          </a:xfrm>
          <a:prstGeom prst="rect">
            <a:avLst/>
          </a:prstGeom>
          <a:noFill/>
          <a:ln w="9525">
            <a:noFill/>
            <a:miter lim="800000"/>
            <a:headEnd/>
            <a:tailEnd/>
          </a:ln>
        </p:spPr>
      </p:pic>
      <p:pic>
        <p:nvPicPr>
          <p:cNvPr id="4" name="Picture 2"/>
          <p:cNvPicPr>
            <a:picLocks noChangeAspect="1" noChangeArrowheads="1"/>
          </p:cNvPicPr>
          <p:nvPr/>
        </p:nvPicPr>
        <p:blipFill>
          <a:blip r:embed="rId3" cstate="print"/>
          <a:srcRect/>
          <a:stretch>
            <a:fillRect/>
          </a:stretch>
        </p:blipFill>
        <p:spPr bwMode="auto">
          <a:xfrm>
            <a:off x="4824570" y="4476469"/>
            <a:ext cx="2959741" cy="2286000"/>
          </a:xfrm>
          <a:prstGeom prst="rect">
            <a:avLst/>
          </a:prstGeom>
          <a:noFill/>
          <a:ln w="9525">
            <a:noFill/>
            <a:miter lim="800000"/>
            <a:headEnd/>
            <a:tailEnd/>
          </a:ln>
        </p:spPr>
      </p:pic>
      <p:sp>
        <p:nvSpPr>
          <p:cNvPr id="5" name="Rectangle 11"/>
          <p:cNvSpPr/>
          <p:nvPr/>
        </p:nvSpPr>
        <p:spPr bwMode="auto">
          <a:xfrm>
            <a:off x="470326" y="948142"/>
            <a:ext cx="3351045"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1. </a:t>
            </a:r>
            <a:r>
              <a:rPr lang="zh-CN" altLang="en-US" sz="2400" b="1" dirty="0">
                <a:solidFill>
                  <a:schemeClr val="tx1">
                    <a:lumMod val="65000"/>
                    <a:lumOff val="35000"/>
                  </a:schemeClr>
                </a:solidFill>
              </a:rPr>
              <a:t>设备</a:t>
            </a:r>
          </a:p>
        </p:txBody>
      </p:sp>
      <p:sp>
        <p:nvSpPr>
          <p:cNvPr id="6" name="Rectangle 11"/>
          <p:cNvSpPr/>
          <p:nvPr/>
        </p:nvSpPr>
        <p:spPr bwMode="auto">
          <a:xfrm>
            <a:off x="8592923" y="895832"/>
            <a:ext cx="3351045"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2. </a:t>
            </a:r>
            <a:r>
              <a:rPr lang="zh-CN" altLang="en-US" sz="2400" b="1" dirty="0">
                <a:solidFill>
                  <a:schemeClr val="tx1">
                    <a:lumMod val="65000"/>
                    <a:lumOff val="35000"/>
                  </a:schemeClr>
                </a:solidFill>
              </a:rPr>
              <a:t>工艺</a:t>
            </a:r>
          </a:p>
        </p:txBody>
      </p:sp>
      <p:pic>
        <p:nvPicPr>
          <p:cNvPr id="7" name="Picture 4"/>
          <p:cNvPicPr>
            <a:picLocks noChangeAspect="1" noChangeArrowheads="1"/>
          </p:cNvPicPr>
          <p:nvPr/>
        </p:nvPicPr>
        <p:blipFill>
          <a:blip r:embed="rId4" cstate="print"/>
          <a:srcRect/>
          <a:stretch>
            <a:fillRect/>
          </a:stretch>
        </p:blipFill>
        <p:spPr bwMode="auto">
          <a:xfrm>
            <a:off x="122720" y="4539057"/>
            <a:ext cx="4830454" cy="2199814"/>
          </a:xfrm>
          <a:prstGeom prst="rect">
            <a:avLst/>
          </a:prstGeom>
          <a:noFill/>
          <a:ln w="9525">
            <a:noFill/>
            <a:miter lim="800000"/>
            <a:headEnd/>
            <a:tailEnd/>
          </a:ln>
        </p:spPr>
      </p:pic>
      <p:pic>
        <p:nvPicPr>
          <p:cNvPr id="8" name="Picture 2"/>
          <p:cNvPicPr>
            <a:picLocks noChangeAspect="1" noChangeArrowheads="1"/>
          </p:cNvPicPr>
          <p:nvPr/>
        </p:nvPicPr>
        <p:blipFill>
          <a:blip r:embed="rId5"/>
          <a:srcRect/>
          <a:stretch>
            <a:fillRect/>
          </a:stretch>
        </p:blipFill>
        <p:spPr bwMode="auto">
          <a:xfrm>
            <a:off x="8637302" y="1358947"/>
            <a:ext cx="3459162" cy="4884738"/>
          </a:xfrm>
          <a:prstGeom prst="rect">
            <a:avLst/>
          </a:prstGeom>
          <a:noFill/>
          <a:ln w="9525">
            <a:noFill/>
            <a:miter lim="800000"/>
            <a:headEnd/>
            <a:tailEnd/>
          </a:ln>
        </p:spPr>
      </p:pic>
      <p:sp>
        <p:nvSpPr>
          <p:cNvPr id="9" name="Rectangle 11"/>
          <p:cNvSpPr/>
          <p:nvPr/>
        </p:nvSpPr>
        <p:spPr bwMode="auto">
          <a:xfrm>
            <a:off x="513542" y="4048510"/>
            <a:ext cx="3351045"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3. </a:t>
            </a:r>
            <a:r>
              <a:rPr lang="zh-CN" altLang="en-US" sz="2400" b="1" dirty="0">
                <a:solidFill>
                  <a:schemeClr val="tx1">
                    <a:lumMod val="65000"/>
                    <a:lumOff val="35000"/>
                  </a:schemeClr>
                </a:solidFill>
              </a:rPr>
              <a:t>数据流</a:t>
            </a:r>
          </a:p>
        </p:txBody>
      </p:sp>
      <p:grpSp>
        <p:nvGrpSpPr>
          <p:cNvPr id="28" name="组合 27"/>
          <p:cNvGrpSpPr/>
          <p:nvPr/>
        </p:nvGrpSpPr>
        <p:grpSpPr>
          <a:xfrm>
            <a:off x="5471082" y="1788065"/>
            <a:ext cx="1620957" cy="1382581"/>
            <a:chOff x="4291255" y="1266580"/>
            <a:chExt cx="1587173" cy="1440000"/>
          </a:xfrm>
        </p:grpSpPr>
        <p:pic>
          <p:nvPicPr>
            <p:cNvPr id="29" name="图片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60000" y="1266580"/>
              <a:ext cx="1440000" cy="1440000"/>
            </a:xfrm>
            <a:prstGeom prst="rect">
              <a:avLst/>
            </a:prstGeom>
            <a:effectLst>
              <a:outerShdw blurRad="254000" dist="127000" dir="2700000" algn="tl" rotWithShape="0">
                <a:prstClr val="black">
                  <a:alpha val="30000"/>
                </a:prstClr>
              </a:outerShdw>
            </a:effectLst>
          </p:spPr>
        </p:pic>
        <p:pic>
          <p:nvPicPr>
            <p:cNvPr id="30" name="图片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21861" y="1410580"/>
              <a:ext cx="1116279" cy="1152000"/>
            </a:xfrm>
            <a:prstGeom prst="rect">
              <a:avLst/>
            </a:prstGeom>
            <a:effectLst>
              <a:outerShdw blurRad="88900" dist="76200" dir="2700000" algn="tl" rotWithShape="0">
                <a:prstClr val="black">
                  <a:alpha val="40000"/>
                </a:prstClr>
              </a:outerShdw>
            </a:effectLst>
          </p:spPr>
        </p:pic>
        <p:grpSp>
          <p:nvGrpSpPr>
            <p:cNvPr id="31" name="组合 97"/>
            <p:cNvGrpSpPr/>
            <p:nvPr/>
          </p:nvGrpSpPr>
          <p:grpSpPr>
            <a:xfrm>
              <a:off x="4291255" y="1569147"/>
              <a:ext cx="1587173" cy="730701"/>
              <a:chOff x="2428138" y="2128650"/>
              <a:chExt cx="1587173" cy="730701"/>
            </a:xfrm>
          </p:grpSpPr>
          <p:sp>
            <p:nvSpPr>
              <p:cNvPr id="32" name="文本框 98"/>
              <p:cNvSpPr txBox="1"/>
              <p:nvPr/>
            </p:nvSpPr>
            <p:spPr>
              <a:xfrm>
                <a:off x="3024917" y="2128650"/>
                <a:ext cx="356972" cy="208531"/>
              </a:xfrm>
              <a:prstGeom prst="rect">
                <a:avLst/>
              </a:prstGeom>
              <a:noFill/>
              <a:effectLst/>
            </p:spPr>
            <p:txBody>
              <a:bodyPr wrap="none" rtlCol="0">
                <a:spAutoFit/>
              </a:bodyPr>
              <a:lstStyle/>
              <a:p>
                <a:pPr algn="ctr"/>
                <a:r>
                  <a:rPr lang="zh-CN" altLang="en-US" sz="1600" b="1" dirty="0">
                    <a:solidFill>
                      <a:schemeClr val="bg1"/>
                    </a:solidFill>
                    <a:latin typeface="Dense" panose="02000000000000000000" pitchFamily="50" charset="0"/>
                  </a:rPr>
                  <a:t>核心</a:t>
                </a:r>
              </a:p>
            </p:txBody>
          </p:sp>
          <p:sp>
            <p:nvSpPr>
              <p:cNvPr id="33" name="文本框 99"/>
              <p:cNvSpPr txBox="1"/>
              <p:nvPr/>
            </p:nvSpPr>
            <p:spPr>
              <a:xfrm>
                <a:off x="2428138" y="2314402"/>
                <a:ext cx="1587173" cy="544949"/>
              </a:xfrm>
              <a:prstGeom prst="rect">
                <a:avLst/>
              </a:prstGeom>
              <a:effectLst/>
            </p:spPr>
            <p:txBody>
              <a:bodyPr wrap="none" rtlCol="0">
                <a:spAutoFit/>
              </a:bodyPr>
              <a:lstStyle/>
              <a:p>
                <a:pPr algn="ctr"/>
                <a:r>
                  <a:rPr lang="zh-CN" altLang="en-US" sz="2800" dirty="0">
                    <a:solidFill>
                      <a:schemeClr val="bg1"/>
                    </a:solidFill>
                    <a:effectLst>
                      <a:outerShdw blurRad="50800" dist="38100" dir="2700000" algn="tl" rotWithShape="0">
                        <a:prstClr val="black">
                          <a:alpha val="40000"/>
                        </a:prstClr>
                      </a:outerShdw>
                    </a:effectLst>
                    <a:latin typeface="Impact" panose="020B0806030902050204" pitchFamily="34" charset="0"/>
                  </a:rPr>
                  <a:t>制药工艺</a:t>
                </a:r>
              </a:p>
            </p:txBody>
          </p:sp>
        </p:grpSp>
      </p:grpSp>
      <p:grpSp>
        <p:nvGrpSpPr>
          <p:cNvPr id="34" name="组合 33"/>
          <p:cNvGrpSpPr/>
          <p:nvPr/>
        </p:nvGrpSpPr>
        <p:grpSpPr>
          <a:xfrm>
            <a:off x="4822423" y="3003911"/>
            <a:ext cx="1384634" cy="1393480"/>
            <a:chOff x="6392000" y="1266580"/>
            <a:chExt cx="1440000" cy="1440000"/>
          </a:xfrm>
        </p:grpSpPr>
        <p:pic>
          <p:nvPicPr>
            <p:cNvPr id="35" name="图片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92000" y="1266580"/>
              <a:ext cx="1440000" cy="1440000"/>
            </a:xfrm>
            <a:prstGeom prst="rect">
              <a:avLst/>
            </a:prstGeom>
            <a:effectLst>
              <a:outerShdw blurRad="254000" dist="127000" dir="2700000" algn="tl" rotWithShape="0">
                <a:prstClr val="black">
                  <a:alpha val="30000"/>
                </a:prstClr>
              </a:outerShdw>
            </a:effectLst>
          </p:spPr>
        </p:pic>
        <p:pic>
          <p:nvPicPr>
            <p:cNvPr id="36" name="图片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536000" y="1410580"/>
              <a:ext cx="1152000" cy="1152000"/>
            </a:xfrm>
            <a:prstGeom prst="rect">
              <a:avLst/>
            </a:prstGeom>
            <a:effectLst>
              <a:outerShdw blurRad="88900" dist="76200" dir="2700000" algn="tl" rotWithShape="0">
                <a:prstClr val="black">
                  <a:alpha val="40000"/>
                </a:prstClr>
              </a:outerShdw>
            </a:effectLst>
          </p:spPr>
        </p:pic>
        <p:grpSp>
          <p:nvGrpSpPr>
            <p:cNvPr id="37" name="组合 103"/>
            <p:cNvGrpSpPr/>
            <p:nvPr/>
          </p:nvGrpSpPr>
          <p:grpSpPr>
            <a:xfrm>
              <a:off x="6459354" y="1569147"/>
              <a:ext cx="1312342" cy="717010"/>
              <a:chOff x="2526137" y="2128650"/>
              <a:chExt cx="1312342" cy="717010"/>
            </a:xfrm>
          </p:grpSpPr>
          <p:sp>
            <p:nvSpPr>
              <p:cNvPr id="38" name="文本框 104"/>
              <p:cNvSpPr txBox="1"/>
              <p:nvPr/>
            </p:nvSpPr>
            <p:spPr>
              <a:xfrm>
                <a:off x="3016754" y="2128650"/>
                <a:ext cx="373298" cy="209914"/>
              </a:xfrm>
              <a:prstGeom prst="rect">
                <a:avLst/>
              </a:prstGeom>
              <a:noFill/>
              <a:effectLst/>
            </p:spPr>
            <p:txBody>
              <a:bodyPr wrap="none" rtlCol="0">
                <a:spAutoFit/>
              </a:bodyPr>
              <a:lstStyle/>
              <a:p>
                <a:pPr algn="ctr"/>
                <a:r>
                  <a:rPr lang="zh-CN" altLang="en-US" sz="1600" b="1" dirty="0">
                    <a:solidFill>
                      <a:schemeClr val="bg1"/>
                    </a:solidFill>
                    <a:latin typeface="Dense" panose="02000000000000000000" pitchFamily="50" charset="0"/>
                  </a:rPr>
                  <a:t>基础</a:t>
                </a:r>
              </a:p>
            </p:txBody>
          </p:sp>
          <p:sp>
            <p:nvSpPr>
              <p:cNvPr id="39" name="文本框 105"/>
              <p:cNvSpPr txBox="1"/>
              <p:nvPr/>
            </p:nvSpPr>
            <p:spPr>
              <a:xfrm>
                <a:off x="2526137" y="2304973"/>
                <a:ext cx="1312342" cy="540687"/>
              </a:xfrm>
              <a:prstGeom prst="rect">
                <a:avLst/>
              </a:prstGeom>
              <a:effectLst/>
            </p:spPr>
            <p:txBody>
              <a:bodyPr wrap="none" rtlCol="0">
                <a:spAutoFit/>
              </a:bodyPr>
              <a:lstStyle/>
              <a:p>
                <a:pPr algn="ctr"/>
                <a:r>
                  <a:rPr lang="zh-CN" altLang="en-US" sz="2800" dirty="0">
                    <a:solidFill>
                      <a:schemeClr val="bg1"/>
                    </a:solidFill>
                    <a:effectLst>
                      <a:outerShdw blurRad="50800" dist="38100" dir="2700000" algn="tl" rotWithShape="0">
                        <a:prstClr val="black">
                          <a:alpha val="40000"/>
                        </a:prstClr>
                      </a:outerShdw>
                    </a:effectLst>
                    <a:latin typeface="Impact" panose="020B0806030902050204" pitchFamily="34" charset="0"/>
                  </a:rPr>
                  <a:t>自动化</a:t>
                </a:r>
              </a:p>
            </p:txBody>
          </p:sp>
        </p:grpSp>
      </p:grpSp>
      <p:grpSp>
        <p:nvGrpSpPr>
          <p:cNvPr id="40" name="组合 39"/>
          <p:cNvGrpSpPr/>
          <p:nvPr/>
        </p:nvGrpSpPr>
        <p:grpSpPr>
          <a:xfrm>
            <a:off x="6425251" y="2967517"/>
            <a:ext cx="1455894" cy="1414092"/>
            <a:chOff x="7408000" y="3026344"/>
            <a:chExt cx="1440000" cy="1440000"/>
          </a:xfrm>
        </p:grpSpPr>
        <p:pic>
          <p:nvPicPr>
            <p:cNvPr id="41" name="图片 4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08000" y="3026344"/>
              <a:ext cx="1440000" cy="1440000"/>
            </a:xfrm>
            <a:prstGeom prst="rect">
              <a:avLst/>
            </a:prstGeom>
            <a:effectLst>
              <a:outerShdw blurRad="254000" dist="127000" dir="2700000" algn="tl" rotWithShape="0">
                <a:prstClr val="black">
                  <a:alpha val="30000"/>
                </a:prstClr>
              </a:outerShdw>
            </a:effectLst>
          </p:spPr>
        </p:pic>
        <p:pic>
          <p:nvPicPr>
            <p:cNvPr id="42" name="图片 4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569860" y="3170344"/>
              <a:ext cx="1116279" cy="1152000"/>
            </a:xfrm>
            <a:prstGeom prst="rect">
              <a:avLst/>
            </a:prstGeom>
            <a:effectLst>
              <a:outerShdw blurRad="88900" dist="76200" dir="2700000" algn="tl" rotWithShape="0">
                <a:prstClr val="black">
                  <a:alpha val="40000"/>
                </a:prstClr>
              </a:outerShdw>
            </a:effectLst>
          </p:spPr>
        </p:pic>
        <p:grpSp>
          <p:nvGrpSpPr>
            <p:cNvPr id="43" name="组合 183"/>
            <p:cNvGrpSpPr/>
            <p:nvPr/>
          </p:nvGrpSpPr>
          <p:grpSpPr>
            <a:xfrm>
              <a:off x="7505280" y="3303884"/>
              <a:ext cx="1248108" cy="726675"/>
              <a:chOff x="2547874" y="2128650"/>
              <a:chExt cx="1248108" cy="726675"/>
            </a:xfrm>
          </p:grpSpPr>
          <p:sp>
            <p:nvSpPr>
              <p:cNvPr id="44" name="文本框 184"/>
              <p:cNvSpPr txBox="1"/>
              <p:nvPr/>
            </p:nvSpPr>
            <p:spPr>
              <a:xfrm>
                <a:off x="3025889" y="2128650"/>
                <a:ext cx="355026" cy="206854"/>
              </a:xfrm>
              <a:prstGeom prst="rect">
                <a:avLst/>
              </a:prstGeom>
              <a:noFill/>
              <a:effectLst/>
            </p:spPr>
            <p:txBody>
              <a:bodyPr wrap="none" rtlCol="0">
                <a:spAutoFit/>
              </a:bodyPr>
              <a:lstStyle/>
              <a:p>
                <a:pPr algn="ctr"/>
                <a:r>
                  <a:rPr lang="zh-CN" altLang="en-US" sz="1600" b="1" dirty="0">
                    <a:solidFill>
                      <a:schemeClr val="bg1"/>
                    </a:solidFill>
                    <a:latin typeface="Dense" panose="02000000000000000000" pitchFamily="50" charset="0"/>
                  </a:rPr>
                  <a:t>工具</a:t>
                </a:r>
              </a:p>
            </p:txBody>
          </p:sp>
          <p:sp>
            <p:nvSpPr>
              <p:cNvPr id="45" name="文本框 185"/>
              <p:cNvSpPr txBox="1"/>
              <p:nvPr/>
            </p:nvSpPr>
            <p:spPr>
              <a:xfrm>
                <a:off x="2547874" y="2322519"/>
                <a:ext cx="1248108" cy="532806"/>
              </a:xfrm>
              <a:prstGeom prst="rect">
                <a:avLst/>
              </a:prstGeom>
              <a:effectLst/>
            </p:spPr>
            <p:txBody>
              <a:bodyPr wrap="none" rtlCol="0">
                <a:spAutoFit/>
              </a:bodyPr>
              <a:lstStyle/>
              <a:p>
                <a:pPr algn="ctr"/>
                <a:r>
                  <a:rPr lang="zh-CN" altLang="en-US" sz="2800" dirty="0">
                    <a:solidFill>
                      <a:schemeClr val="bg1"/>
                    </a:solidFill>
                    <a:effectLst>
                      <a:outerShdw blurRad="50800" dist="38100" dir="2700000" algn="tl" rotWithShape="0">
                        <a:prstClr val="black">
                          <a:alpha val="40000"/>
                        </a:prstClr>
                      </a:outerShdw>
                    </a:effectLst>
                    <a:latin typeface="Impact" panose="020B0806030902050204" pitchFamily="34" charset="0"/>
                  </a:rPr>
                  <a:t>信息化</a:t>
                </a:r>
              </a:p>
            </p:txBody>
          </p:sp>
        </p:grpSp>
      </p:grpSp>
      <p:pic>
        <p:nvPicPr>
          <p:cNvPr id="46" name="Picture 2"/>
          <p:cNvPicPr>
            <a:picLocks noChangeAspect="1" noChangeArrowheads="1"/>
          </p:cNvPicPr>
          <p:nvPr/>
        </p:nvPicPr>
        <p:blipFill>
          <a:blip r:embed="rId10" cstate="print"/>
          <a:srcRect/>
          <a:stretch>
            <a:fillRect/>
          </a:stretch>
        </p:blipFill>
        <p:spPr bwMode="auto">
          <a:xfrm>
            <a:off x="8157397" y="4995083"/>
            <a:ext cx="4020955" cy="1767384"/>
          </a:xfrm>
          <a:prstGeom prst="rect">
            <a:avLst/>
          </a:prstGeom>
          <a:noFill/>
          <a:ln w="9525">
            <a:noFill/>
            <a:miter lim="800000"/>
            <a:headEnd/>
            <a:tailEnd/>
          </a:ln>
        </p:spPr>
      </p:pic>
    </p:spTree>
    <p:extLst>
      <p:ext uri="{BB962C8B-B14F-4D97-AF65-F5344CB8AC3E}">
        <p14:creationId xmlns:p14="http://schemas.microsoft.com/office/powerpoint/2010/main" val="2769358110"/>
      </p:ext>
    </p:extLst>
  </p:cSld>
  <p:clrMapOvr>
    <a:masterClrMapping/>
  </p:clrMapOvr>
  <p:transition spd="slow">
    <p:wipe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 calcmode="lin" valueType="num">
                                      <p:cBhvr>
                                        <p:cTn id="7" dur="250" fill="hold"/>
                                        <p:tgtEl>
                                          <p:spTgt spid="28"/>
                                        </p:tgtEl>
                                        <p:attrNameLst>
                                          <p:attrName>ppt_w</p:attrName>
                                        </p:attrNameLst>
                                      </p:cBhvr>
                                      <p:tavLst>
                                        <p:tav tm="0">
                                          <p:val>
                                            <p:fltVal val="0"/>
                                          </p:val>
                                        </p:tav>
                                        <p:tav tm="100000">
                                          <p:val>
                                            <p:strVal val="#ppt_w"/>
                                          </p:val>
                                        </p:tav>
                                      </p:tavLst>
                                    </p:anim>
                                    <p:anim calcmode="lin" valueType="num">
                                      <p:cBhvr>
                                        <p:cTn id="8" dur="250" fill="hold"/>
                                        <p:tgtEl>
                                          <p:spTgt spid="28"/>
                                        </p:tgtEl>
                                        <p:attrNameLst>
                                          <p:attrName>ppt_h</p:attrName>
                                        </p:attrNameLst>
                                      </p:cBhvr>
                                      <p:tavLst>
                                        <p:tav tm="0">
                                          <p:val>
                                            <p:fltVal val="0"/>
                                          </p:val>
                                        </p:tav>
                                        <p:tav tm="100000">
                                          <p:val>
                                            <p:strVal val="#ppt_h"/>
                                          </p:val>
                                        </p:tav>
                                      </p:tavLst>
                                    </p:anim>
                                    <p:animEffect transition="in" filter="fade">
                                      <p:cBhvr>
                                        <p:cTn id="9" dur="250"/>
                                        <p:tgtEl>
                                          <p:spTgt spid="28"/>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34"/>
                                        </p:tgtEl>
                                        <p:attrNameLst>
                                          <p:attrName>style.visibility</p:attrName>
                                        </p:attrNameLst>
                                      </p:cBhvr>
                                      <p:to>
                                        <p:strVal val="visible"/>
                                      </p:to>
                                    </p:set>
                                    <p:anim calcmode="lin" valueType="num">
                                      <p:cBhvr>
                                        <p:cTn id="14" dur="250" fill="hold"/>
                                        <p:tgtEl>
                                          <p:spTgt spid="34"/>
                                        </p:tgtEl>
                                        <p:attrNameLst>
                                          <p:attrName>ppt_w</p:attrName>
                                        </p:attrNameLst>
                                      </p:cBhvr>
                                      <p:tavLst>
                                        <p:tav tm="0">
                                          <p:val>
                                            <p:fltVal val="0"/>
                                          </p:val>
                                        </p:tav>
                                        <p:tav tm="100000">
                                          <p:val>
                                            <p:strVal val="#ppt_w"/>
                                          </p:val>
                                        </p:tav>
                                      </p:tavLst>
                                    </p:anim>
                                    <p:anim calcmode="lin" valueType="num">
                                      <p:cBhvr>
                                        <p:cTn id="15" dur="250" fill="hold"/>
                                        <p:tgtEl>
                                          <p:spTgt spid="34"/>
                                        </p:tgtEl>
                                        <p:attrNameLst>
                                          <p:attrName>ppt_h</p:attrName>
                                        </p:attrNameLst>
                                      </p:cBhvr>
                                      <p:tavLst>
                                        <p:tav tm="0">
                                          <p:val>
                                            <p:fltVal val="0"/>
                                          </p:val>
                                        </p:tav>
                                        <p:tav tm="100000">
                                          <p:val>
                                            <p:strVal val="#ppt_h"/>
                                          </p:val>
                                        </p:tav>
                                      </p:tavLst>
                                    </p:anim>
                                    <p:animEffect transition="in" filter="fade">
                                      <p:cBhvr>
                                        <p:cTn id="16" dur="250"/>
                                        <p:tgtEl>
                                          <p:spTgt spid="34"/>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40"/>
                                        </p:tgtEl>
                                        <p:attrNameLst>
                                          <p:attrName>style.visibility</p:attrName>
                                        </p:attrNameLst>
                                      </p:cBhvr>
                                      <p:to>
                                        <p:strVal val="visible"/>
                                      </p:to>
                                    </p:set>
                                    <p:anim calcmode="lin" valueType="num">
                                      <p:cBhvr>
                                        <p:cTn id="21" dur="250" fill="hold"/>
                                        <p:tgtEl>
                                          <p:spTgt spid="40"/>
                                        </p:tgtEl>
                                        <p:attrNameLst>
                                          <p:attrName>ppt_w</p:attrName>
                                        </p:attrNameLst>
                                      </p:cBhvr>
                                      <p:tavLst>
                                        <p:tav tm="0">
                                          <p:val>
                                            <p:fltVal val="0"/>
                                          </p:val>
                                        </p:tav>
                                        <p:tav tm="100000">
                                          <p:val>
                                            <p:strVal val="#ppt_w"/>
                                          </p:val>
                                        </p:tav>
                                      </p:tavLst>
                                    </p:anim>
                                    <p:anim calcmode="lin" valueType="num">
                                      <p:cBhvr>
                                        <p:cTn id="22" dur="250" fill="hold"/>
                                        <p:tgtEl>
                                          <p:spTgt spid="40"/>
                                        </p:tgtEl>
                                        <p:attrNameLst>
                                          <p:attrName>ppt_h</p:attrName>
                                        </p:attrNameLst>
                                      </p:cBhvr>
                                      <p:tavLst>
                                        <p:tav tm="0">
                                          <p:val>
                                            <p:fltVal val="0"/>
                                          </p:val>
                                        </p:tav>
                                        <p:tav tm="100000">
                                          <p:val>
                                            <p:strVal val="#ppt_h"/>
                                          </p:val>
                                        </p:tav>
                                      </p:tavLst>
                                    </p:anim>
                                    <p:animEffect transition="in" filter="fade">
                                      <p:cBhvr>
                                        <p:cTn id="23" dur="25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等腰三角形 19"/>
          <p:cNvSpPr/>
          <p:nvPr/>
        </p:nvSpPr>
        <p:spPr bwMode="auto">
          <a:xfrm rot="5400000">
            <a:off x="754856" y="-754856"/>
            <a:ext cx="3297238" cy="4806950"/>
          </a:xfrm>
          <a:prstGeom prst="triangle">
            <a:avLst>
              <a:gd name="adj" fmla="val 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5603" name="文本框 6"/>
          <p:cNvSpPr txBox="1">
            <a:spLocks noChangeArrowheads="1"/>
          </p:cNvSpPr>
          <p:nvPr/>
        </p:nvSpPr>
        <p:spPr bwMode="auto">
          <a:xfrm rot="-1997781">
            <a:off x="227013" y="481013"/>
            <a:ext cx="2057400" cy="1016000"/>
          </a:xfrm>
          <a:prstGeom prst="rect">
            <a:avLst/>
          </a:prstGeom>
          <a:noFill/>
          <a:ln w="9525">
            <a:noFill/>
            <a:miter lim="800000"/>
            <a:headEnd/>
            <a:tailEnd/>
          </a:ln>
        </p:spPr>
        <p:txBody>
          <a:bodyPr>
            <a:spAutoFit/>
          </a:bodyPr>
          <a:lstStyle/>
          <a:p>
            <a:r>
              <a:rPr lang="zh-CN" altLang="en-US" sz="6000" b="1">
                <a:solidFill>
                  <a:schemeClr val="bg1"/>
                </a:solidFill>
                <a:latin typeface="微软雅黑" pitchFamily="34" charset="-122"/>
                <a:ea typeface="微软雅黑" pitchFamily="34" charset="-122"/>
              </a:rPr>
              <a:t>目录</a:t>
            </a:r>
          </a:p>
        </p:txBody>
      </p:sp>
      <p:sp>
        <p:nvSpPr>
          <p:cNvPr id="25604" name="文本框 7"/>
          <p:cNvSpPr txBox="1">
            <a:spLocks noChangeArrowheads="1"/>
          </p:cNvSpPr>
          <p:nvPr/>
        </p:nvSpPr>
        <p:spPr bwMode="auto">
          <a:xfrm rot="-2010208">
            <a:off x="-142875" y="979488"/>
            <a:ext cx="4573588" cy="769937"/>
          </a:xfrm>
          <a:prstGeom prst="rect">
            <a:avLst/>
          </a:prstGeom>
          <a:noFill/>
          <a:ln w="9525">
            <a:noFill/>
            <a:miter lim="800000"/>
            <a:headEnd/>
            <a:tailEnd/>
          </a:ln>
        </p:spPr>
        <p:txBody>
          <a:bodyPr>
            <a:spAutoFit/>
          </a:bodyPr>
          <a:lstStyle/>
          <a:p>
            <a:r>
              <a:rPr lang="en-US" altLang="zh-CN" sz="4400">
                <a:solidFill>
                  <a:schemeClr val="bg1"/>
                </a:solidFill>
                <a:latin typeface="微软雅黑" pitchFamily="34" charset="-122"/>
                <a:ea typeface="微软雅黑" pitchFamily="34" charset="-122"/>
              </a:rPr>
              <a:t>CONTENTS</a:t>
            </a:r>
            <a:endParaRPr lang="zh-CN" altLang="en-US" sz="4400">
              <a:solidFill>
                <a:schemeClr val="bg1"/>
              </a:solidFill>
              <a:latin typeface="微软雅黑" pitchFamily="34" charset="-122"/>
              <a:ea typeface="微软雅黑" pitchFamily="34" charset="-122"/>
            </a:endParaRPr>
          </a:p>
        </p:txBody>
      </p:sp>
      <p:pic>
        <p:nvPicPr>
          <p:cNvPr id="25605" name="Picture 2" descr="C:\Documents and Settings\Administrator\桌面\图形10.png"/>
          <p:cNvPicPr>
            <a:picLocks noChangeAspect="1" noChangeArrowheads="1"/>
          </p:cNvPicPr>
          <p:nvPr/>
        </p:nvPicPr>
        <p:blipFill>
          <a:blip r:embed="rId3"/>
          <a:srcRect/>
          <a:stretch>
            <a:fillRect/>
          </a:stretch>
        </p:blipFill>
        <p:spPr bwMode="auto">
          <a:xfrm>
            <a:off x="0" y="6735763"/>
            <a:ext cx="12192000" cy="122237"/>
          </a:xfrm>
          <a:prstGeom prst="rect">
            <a:avLst/>
          </a:prstGeom>
          <a:noFill/>
          <a:ln w="9525">
            <a:noFill/>
            <a:miter lim="800000"/>
            <a:headEnd/>
            <a:tailEnd/>
          </a:ln>
        </p:spPr>
      </p:pic>
      <p:pic>
        <p:nvPicPr>
          <p:cNvPr id="25606" name="Picture 20" descr="辅助条纹"/>
          <p:cNvPicPr>
            <a:picLocks noChangeAspect="1" noChangeArrowheads="1"/>
          </p:cNvPicPr>
          <p:nvPr/>
        </p:nvPicPr>
        <p:blipFill>
          <a:blip r:embed="rId4"/>
          <a:srcRect/>
          <a:stretch>
            <a:fillRect/>
          </a:stretch>
        </p:blipFill>
        <p:spPr bwMode="auto">
          <a:xfrm>
            <a:off x="9326563" y="6735763"/>
            <a:ext cx="2865437" cy="122237"/>
          </a:xfrm>
          <a:prstGeom prst="rect">
            <a:avLst/>
          </a:prstGeom>
          <a:noFill/>
          <a:ln w="9525">
            <a:noFill/>
            <a:miter lim="800000"/>
            <a:headEnd/>
            <a:tailEnd/>
          </a:ln>
        </p:spPr>
      </p:pic>
      <p:sp>
        <p:nvSpPr>
          <p:cNvPr id="28" name="Rectangle 11"/>
          <p:cNvSpPr/>
          <p:nvPr/>
        </p:nvSpPr>
        <p:spPr bwMode="auto">
          <a:xfrm>
            <a:off x="3213528" y="2108200"/>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1. </a:t>
            </a:r>
            <a:r>
              <a:rPr lang="zh-CN" altLang="en-US" sz="2400" b="1" dirty="0">
                <a:solidFill>
                  <a:schemeClr val="tx1">
                    <a:lumMod val="65000"/>
                    <a:lumOff val="35000"/>
                  </a:schemeClr>
                </a:solidFill>
              </a:rPr>
              <a:t>背景</a:t>
            </a:r>
          </a:p>
        </p:txBody>
      </p:sp>
      <p:sp>
        <p:nvSpPr>
          <p:cNvPr id="29" name="Rectangle 8"/>
          <p:cNvSpPr/>
          <p:nvPr/>
        </p:nvSpPr>
        <p:spPr bwMode="auto">
          <a:xfrm>
            <a:off x="3213528" y="2634614"/>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rgbClr val="006EBC"/>
                </a:solidFill>
              </a:rPr>
              <a:t>2.</a:t>
            </a:r>
            <a:r>
              <a:rPr lang="zh-CN" altLang="en-US" sz="2400" b="1" dirty="0">
                <a:solidFill>
                  <a:srgbClr val="006EBC"/>
                </a:solidFill>
              </a:rPr>
              <a:t>自动化广泛应用</a:t>
            </a:r>
            <a:endParaRPr lang="en-US" altLang="zh-CN" sz="2400" b="1" dirty="0">
              <a:solidFill>
                <a:srgbClr val="006EBC"/>
              </a:solidFill>
            </a:endParaRPr>
          </a:p>
        </p:txBody>
      </p:sp>
      <p:sp>
        <p:nvSpPr>
          <p:cNvPr id="31" name="Rectangle 12"/>
          <p:cNvSpPr/>
          <p:nvPr/>
        </p:nvSpPr>
        <p:spPr bwMode="auto">
          <a:xfrm>
            <a:off x="3213528" y="3161028"/>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3. </a:t>
            </a:r>
            <a:r>
              <a:rPr lang="zh-CN" altLang="en-US" sz="2400" b="1" dirty="0">
                <a:solidFill>
                  <a:schemeClr val="tx1">
                    <a:lumMod val="65000"/>
                    <a:lumOff val="35000"/>
                  </a:schemeClr>
                </a:solidFill>
              </a:rPr>
              <a:t>数字化在路上</a:t>
            </a:r>
            <a:endParaRPr lang="en-US" sz="2400" b="1" dirty="0">
              <a:solidFill>
                <a:schemeClr val="tx1">
                  <a:lumMod val="65000"/>
                  <a:lumOff val="35000"/>
                </a:schemeClr>
              </a:solidFill>
            </a:endParaRPr>
          </a:p>
        </p:txBody>
      </p:sp>
      <p:sp>
        <p:nvSpPr>
          <p:cNvPr id="13" name="Rectangle 13"/>
          <p:cNvSpPr/>
          <p:nvPr/>
        </p:nvSpPr>
        <p:spPr bwMode="auto">
          <a:xfrm>
            <a:off x="3213528" y="4213856"/>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5.</a:t>
            </a:r>
            <a:r>
              <a:rPr lang="zh-CN" altLang="en-US" sz="2400" b="1" dirty="0">
                <a:solidFill>
                  <a:schemeClr val="tx1">
                    <a:lumMod val="65000"/>
                    <a:lumOff val="35000"/>
                  </a:schemeClr>
                </a:solidFill>
              </a:rPr>
              <a:t>实例分享</a:t>
            </a:r>
            <a:endParaRPr lang="en-US" sz="2400" b="1" dirty="0">
              <a:solidFill>
                <a:schemeClr val="tx1">
                  <a:lumMod val="65000"/>
                  <a:lumOff val="35000"/>
                </a:schemeClr>
              </a:solidFill>
            </a:endParaRPr>
          </a:p>
        </p:txBody>
      </p:sp>
      <p:sp>
        <p:nvSpPr>
          <p:cNvPr id="17" name="Rectangle 12"/>
          <p:cNvSpPr/>
          <p:nvPr/>
        </p:nvSpPr>
        <p:spPr bwMode="auto">
          <a:xfrm>
            <a:off x="3213528" y="3687442"/>
            <a:ext cx="6019800" cy="468000"/>
          </a:xfrm>
          <a:prstGeom prst="rect">
            <a:avLst/>
          </a:prstGeom>
          <a:gradFill flip="none" rotWithShape="1">
            <a:gsLst>
              <a:gs pos="53000">
                <a:schemeClr val="bg1"/>
              </a:gs>
              <a:gs pos="100000">
                <a:schemeClr val="bg1">
                  <a:alpha val="0"/>
                </a:schemeClr>
              </a:gs>
            </a:gsLst>
            <a:lin ang="0" scaled="1"/>
            <a:tileRect/>
          </a:gradFill>
          <a:ln w="9525" cap="flat" cmpd="sng" algn="ctr">
            <a:noFill/>
            <a:prstDash val="solid"/>
            <a:round/>
            <a:headEnd type="none" w="med" len="med"/>
            <a:tailEnd type="none" w="med" len="med"/>
          </a:ln>
          <a:effectLst>
            <a:outerShdw blurRad="222250" dist="88900" dir="10560000" sx="98000" sy="98000" algn="tl" rotWithShape="0">
              <a:srgbClr val="000000">
                <a:alpha val="17000"/>
              </a:srgbClr>
            </a:outerShdw>
          </a:effectLst>
          <a:scene3d>
            <a:camera prst="orthographicFront"/>
            <a:lightRig rig="threePt" dir="t"/>
          </a:scene3d>
          <a:sp3d>
            <a:bevelT/>
          </a:sp3d>
        </p:spPr>
        <p:txBody>
          <a:bodyPr anchor="ctr">
            <a:normAutofit/>
          </a:bodyPr>
          <a:lstStyle/>
          <a:p>
            <a:pPr marL="177800">
              <a:lnSpc>
                <a:spcPts val="2600"/>
              </a:lnSpc>
              <a:defRPr/>
            </a:pPr>
            <a:r>
              <a:rPr lang="en-US" altLang="zh-CN" sz="2400" b="1" dirty="0">
                <a:solidFill>
                  <a:schemeClr val="tx1">
                    <a:lumMod val="65000"/>
                    <a:lumOff val="35000"/>
                  </a:schemeClr>
                </a:solidFill>
              </a:rPr>
              <a:t>4. </a:t>
            </a:r>
            <a:r>
              <a:rPr lang="zh-CN" altLang="en-US" sz="2400" b="1" dirty="0">
                <a:solidFill>
                  <a:schemeClr val="tx1">
                    <a:lumMod val="65000"/>
                    <a:lumOff val="35000"/>
                  </a:schemeClr>
                </a:solidFill>
              </a:rPr>
              <a:t>智能化在探索</a:t>
            </a:r>
            <a:endParaRPr lang="en-US" sz="2400" b="1" dirty="0">
              <a:solidFill>
                <a:schemeClr val="tx1">
                  <a:lumMod val="65000"/>
                  <a:lumOff val="35000"/>
                </a:schemeClr>
              </a:solidFill>
            </a:endParaRPr>
          </a:p>
        </p:txBody>
      </p:sp>
    </p:spTree>
    <p:extLst>
      <p:ext uri="{BB962C8B-B14F-4D97-AF65-F5344CB8AC3E}">
        <p14:creationId xmlns:p14="http://schemas.microsoft.com/office/powerpoint/2010/main" val="328950318"/>
      </p:ext>
    </p:extLst>
  </p:cSld>
  <p:clrMapOvr>
    <a:masterClrMapping/>
  </p:clrMapOvr>
  <p:transition spd="slow" advTm="0">
    <p:wipe/>
  </p:transition>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PowerPoint 演示文稿"/>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h6FaTekG0WU0Dv6PbYru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h6FaTekG0WU0Dv6PbYr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Ls5pibc.kKxu6PemodL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JZshzRtxkumLd5x.54s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oClJUhMCUCTBqXqNixw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OrrzbPdNk6OaJuYocW9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hc_4vwOEEWHvLyner4m0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h6FaTekG0WU0Dv6PbYr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h6FaTekG0WU0Dv6PbYru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h6FaTekG0WU0Dv6PbYruQ"/>
</p:tagLst>
</file>

<file path=ppt/theme/theme1.xml><?xml version="1.0" encoding="utf-8"?>
<a:theme xmlns:a="http://schemas.openxmlformats.org/drawingml/2006/main" name="Office 主题​​">
  <a:themeElements>
    <a:clrScheme name="蓝色​​">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蓝色​​">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rgbClr val="000000"/>
    </a:dk1>
    <a:lt1>
      <a:srgbClr val="FFFFFF"/>
    </a:lt1>
    <a:dk2>
      <a:srgbClr val="778495"/>
    </a:dk2>
    <a:lt2>
      <a:srgbClr val="F0F0F0"/>
    </a:lt2>
    <a:accent1>
      <a:srgbClr val="41B7D0"/>
    </a:accent1>
    <a:accent2>
      <a:srgbClr val="0187AC"/>
    </a:accent2>
    <a:accent3>
      <a:srgbClr val="1AA4BE"/>
    </a:accent3>
    <a:accent4>
      <a:srgbClr val="52C3CB"/>
    </a:accent4>
    <a:accent5>
      <a:srgbClr val="42BDC6"/>
    </a:accent5>
    <a:accent6>
      <a:srgbClr val="168EA6"/>
    </a:accent6>
    <a:hlink>
      <a:srgbClr val="41B7D0"/>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A000120150119A12KPBG</Template>
  <TotalTime>8339</TotalTime>
  <Words>3375</Words>
  <Application>Microsoft Office PowerPoint</Application>
  <PresentationFormat>宽屏</PresentationFormat>
  <Paragraphs>746</Paragraphs>
  <Slides>56</Slides>
  <Notes>41</Notes>
  <HiddenSlides>0</HiddenSlides>
  <MMClips>1</MMClips>
  <ScaleCrop>false</ScaleCrop>
  <HeadingPairs>
    <vt:vector size="8" baseType="variant">
      <vt:variant>
        <vt:lpstr>已用的字体</vt:lpstr>
      </vt:variant>
      <vt:variant>
        <vt:i4>15</vt:i4>
      </vt:variant>
      <vt:variant>
        <vt:lpstr>主题</vt:lpstr>
      </vt:variant>
      <vt:variant>
        <vt:i4>2</vt:i4>
      </vt:variant>
      <vt:variant>
        <vt:lpstr>嵌入 OLE 服务器</vt:lpstr>
      </vt:variant>
      <vt:variant>
        <vt:i4>1</vt:i4>
      </vt:variant>
      <vt:variant>
        <vt:lpstr>幻灯片标题</vt:lpstr>
      </vt:variant>
      <vt:variant>
        <vt:i4>56</vt:i4>
      </vt:variant>
    </vt:vector>
  </HeadingPairs>
  <TitlesOfParts>
    <vt:vector size="74" baseType="lpstr">
      <vt:lpstr>΢</vt:lpstr>
      <vt:lpstr>Dense</vt:lpstr>
      <vt:lpstr>Gotham Light</vt:lpstr>
      <vt:lpstr>等线</vt:lpstr>
      <vt:lpstr>方正兰亭黑_GBK</vt:lpstr>
      <vt:lpstr>黑体</vt:lpstr>
      <vt:lpstr>STXingkai</vt:lpstr>
      <vt:lpstr>STLiti</vt:lpstr>
      <vt:lpstr>楷体_GB2312</vt:lpstr>
      <vt:lpstr>宋体</vt:lpstr>
      <vt:lpstr>微软雅黑</vt:lpstr>
      <vt:lpstr>Arial</vt:lpstr>
      <vt:lpstr>Impact</vt:lpstr>
      <vt:lpstr>Times New Roman</vt:lpstr>
      <vt:lpstr>Wingdings</vt:lpstr>
      <vt:lpstr>Office 主题​​</vt:lpstr>
      <vt:lpstr>1_Office 主题​​</vt:lpstr>
      <vt:lpstr>Visio</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逆流的小鱼</dc:creator>
  <cp:lastModifiedBy>王 宏伟</cp:lastModifiedBy>
  <cp:revision>729</cp:revision>
  <dcterms:created xsi:type="dcterms:W3CDTF">2017-06-22T13:04:11Z</dcterms:created>
  <dcterms:modified xsi:type="dcterms:W3CDTF">2019-02-25T09:08:44Z</dcterms:modified>
</cp:coreProperties>
</file>